
<file path=[Content_Types].xml><?xml version="1.0" encoding="utf-8"?>
<Types xmlns="http://schemas.openxmlformats.org/package/2006/content-types">
  <Default Extension="xml" ContentType="application/xml"/>
  <Default Extension="wmf" ContentType="image/x-wmf"/>
  <Default Extension="jpeg" ContentType="image/jpeg"/>
  <Default Extension="tiff" ContentType="image/tiff"/>
  <Default Extension="emf" ContentType="image/x-emf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3.xml" ContentType="application/vnd.openxmlformats-officedocument.theme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5.xml" ContentType="application/vnd.openxmlformats-officedocument.theme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theme/theme6.xml" ContentType="application/vnd.openxmlformats-officedocument.theme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0" r:id="rId1"/>
    <p:sldMasterId id="2147484018" r:id="rId2"/>
    <p:sldMasterId id="2147484059" r:id="rId3"/>
    <p:sldMasterId id="2147484092" r:id="rId4"/>
    <p:sldMasterId id="2147484140" r:id="rId5"/>
    <p:sldMasterId id="2147484169" r:id="rId6"/>
    <p:sldMasterId id="2147484199" r:id="rId7"/>
  </p:sldMasterIdLst>
  <p:notesMasterIdLst>
    <p:notesMasterId r:id="rId34"/>
  </p:notesMasterIdLst>
  <p:handoutMasterIdLst>
    <p:handoutMasterId r:id="rId35"/>
  </p:handoutMasterIdLst>
  <p:sldIdLst>
    <p:sldId id="257" r:id="rId8"/>
    <p:sldId id="326" r:id="rId9"/>
    <p:sldId id="310" r:id="rId10"/>
    <p:sldId id="317" r:id="rId11"/>
    <p:sldId id="319" r:id="rId12"/>
    <p:sldId id="318" r:id="rId13"/>
    <p:sldId id="323" r:id="rId14"/>
    <p:sldId id="324" r:id="rId15"/>
    <p:sldId id="325" r:id="rId16"/>
    <p:sldId id="290" r:id="rId17"/>
    <p:sldId id="327" r:id="rId18"/>
    <p:sldId id="328" r:id="rId19"/>
    <p:sldId id="329" r:id="rId20"/>
    <p:sldId id="331" r:id="rId21"/>
    <p:sldId id="334" r:id="rId22"/>
    <p:sldId id="330" r:id="rId23"/>
    <p:sldId id="333" r:id="rId24"/>
    <p:sldId id="332" r:id="rId25"/>
    <p:sldId id="338" r:id="rId26"/>
    <p:sldId id="296" r:id="rId27"/>
    <p:sldId id="339" r:id="rId28"/>
    <p:sldId id="340" r:id="rId29"/>
    <p:sldId id="335" r:id="rId30"/>
    <p:sldId id="282" r:id="rId31"/>
    <p:sldId id="336" r:id="rId32"/>
    <p:sldId id="337" r:id="rId33"/>
  </p:sldIdLst>
  <p:sldSz cx="9144000" cy="5143500" type="screen16x9"/>
  <p:notesSz cx="6858000" cy="9144000"/>
  <p:custDataLst>
    <p:tags r:id="rId36"/>
  </p:custDataLst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tesh Gohil" initials="" lastIdx="3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073"/>
    <a:srgbClr val="E53C3B"/>
    <a:srgbClr val="1AC3EC"/>
    <a:srgbClr val="FBB330"/>
    <a:srgbClr val="7DC55C"/>
    <a:srgbClr val="049FD9"/>
    <a:srgbClr val="86DBF2"/>
    <a:srgbClr val="1FAED4"/>
    <a:srgbClr val="72C059"/>
    <a:srgbClr val="B2D1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838" autoAdjust="0"/>
    <p:restoredTop sz="78235" autoAdjust="0"/>
  </p:normalViewPr>
  <p:slideViewPr>
    <p:cSldViewPr snapToGrid="0" snapToObjects="1" showGuides="1">
      <p:cViewPr>
        <p:scale>
          <a:sx n="123" d="100"/>
          <a:sy n="123" d="100"/>
        </p:scale>
        <p:origin x="936" y="680"/>
      </p:cViewPr>
      <p:guideLst>
        <p:guide orient="horz" pos="1620"/>
        <p:guide pos="2880"/>
      </p:guideLst>
    </p:cSldViewPr>
  </p:slideViewPr>
  <p:notesTextViewPr>
    <p:cViewPr>
      <p:scale>
        <a:sx n="90" d="100"/>
        <a:sy n="90" d="100"/>
      </p:scale>
      <p:origin x="0" y="0"/>
    </p:cViewPr>
  </p:notesTextViewPr>
  <p:sorterViewPr>
    <p:cViewPr varScale="1">
      <p:scale>
        <a:sx n="1" d="1"/>
        <a:sy n="1" d="1"/>
      </p:scale>
      <p:origin x="0" y="-2184"/>
    </p:cViewPr>
  </p:sorterViewPr>
  <p:notesViewPr>
    <p:cSldViewPr snapToGrid="0" snapToObjects="1" showGuides="1">
      <p:cViewPr varScale="1">
        <p:scale>
          <a:sx n="87" d="100"/>
          <a:sy n="87" d="100"/>
        </p:scale>
        <p:origin x="257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3.xml"/><Relationship Id="rId21" Type="http://schemas.openxmlformats.org/officeDocument/2006/relationships/slide" Target="slides/slide14.xml"/><Relationship Id="rId22" Type="http://schemas.openxmlformats.org/officeDocument/2006/relationships/slide" Target="slides/slide15.xml"/><Relationship Id="rId23" Type="http://schemas.openxmlformats.org/officeDocument/2006/relationships/slide" Target="slides/slide16.xml"/><Relationship Id="rId24" Type="http://schemas.openxmlformats.org/officeDocument/2006/relationships/slide" Target="slides/slide17.xml"/><Relationship Id="rId25" Type="http://schemas.openxmlformats.org/officeDocument/2006/relationships/slide" Target="slides/slide18.xml"/><Relationship Id="rId26" Type="http://schemas.openxmlformats.org/officeDocument/2006/relationships/slide" Target="slides/slide19.xml"/><Relationship Id="rId27" Type="http://schemas.openxmlformats.org/officeDocument/2006/relationships/slide" Target="slides/slide20.xml"/><Relationship Id="rId28" Type="http://schemas.openxmlformats.org/officeDocument/2006/relationships/slide" Target="slides/slide21.xml"/><Relationship Id="rId29" Type="http://schemas.openxmlformats.org/officeDocument/2006/relationships/slide" Target="slides/slide22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30" Type="http://schemas.openxmlformats.org/officeDocument/2006/relationships/slide" Target="slides/slide23.xml"/><Relationship Id="rId31" Type="http://schemas.openxmlformats.org/officeDocument/2006/relationships/slide" Target="slides/slide24.xml"/><Relationship Id="rId32" Type="http://schemas.openxmlformats.org/officeDocument/2006/relationships/slide" Target="slides/slide25.xml"/><Relationship Id="rId9" Type="http://schemas.openxmlformats.org/officeDocument/2006/relationships/slide" Target="slides/slide2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" Target="slides/slide1.xml"/><Relationship Id="rId33" Type="http://schemas.openxmlformats.org/officeDocument/2006/relationships/slide" Target="slides/slide26.xml"/><Relationship Id="rId34" Type="http://schemas.openxmlformats.org/officeDocument/2006/relationships/notesMaster" Target="notesMasters/notesMaster1.xml"/><Relationship Id="rId35" Type="http://schemas.openxmlformats.org/officeDocument/2006/relationships/handoutMaster" Target="handoutMasters/handoutMaster1.xml"/><Relationship Id="rId36" Type="http://schemas.openxmlformats.org/officeDocument/2006/relationships/tags" Target="tags/tag1.xml"/><Relationship Id="rId10" Type="http://schemas.openxmlformats.org/officeDocument/2006/relationships/slide" Target="slides/slide3.xml"/><Relationship Id="rId11" Type="http://schemas.openxmlformats.org/officeDocument/2006/relationships/slide" Target="slides/slide4.xml"/><Relationship Id="rId12" Type="http://schemas.openxmlformats.org/officeDocument/2006/relationships/slide" Target="slides/slide5.xml"/><Relationship Id="rId13" Type="http://schemas.openxmlformats.org/officeDocument/2006/relationships/slide" Target="slides/slide6.xml"/><Relationship Id="rId14" Type="http://schemas.openxmlformats.org/officeDocument/2006/relationships/slide" Target="slides/slide7.xml"/><Relationship Id="rId15" Type="http://schemas.openxmlformats.org/officeDocument/2006/relationships/slide" Target="slides/slide8.xml"/><Relationship Id="rId16" Type="http://schemas.openxmlformats.org/officeDocument/2006/relationships/slide" Target="slides/slide9.xml"/><Relationship Id="rId17" Type="http://schemas.openxmlformats.org/officeDocument/2006/relationships/slide" Target="slides/slide10.xml"/><Relationship Id="rId18" Type="http://schemas.openxmlformats.org/officeDocument/2006/relationships/slide" Target="slides/slide11.xml"/><Relationship Id="rId19" Type="http://schemas.openxmlformats.org/officeDocument/2006/relationships/slide" Target="slides/slide12.xml"/><Relationship Id="rId37" Type="http://schemas.openxmlformats.org/officeDocument/2006/relationships/commentAuthors" Target="commentAuthors.xml"/><Relationship Id="rId38" Type="http://schemas.openxmlformats.org/officeDocument/2006/relationships/presProps" Target="presProps.xml"/><Relationship Id="rId39" Type="http://schemas.openxmlformats.org/officeDocument/2006/relationships/viewProps" Target="viewProps.xml"/><Relationship Id="rId40" Type="http://schemas.openxmlformats.org/officeDocument/2006/relationships/theme" Target="theme/theme1.xml"/><Relationship Id="rId41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2FE48B1C-1E6B-744F-8E6C-3836D33BC0D9}" type="datetimeFigureOut">
              <a:rPr lang="en-US"/>
              <a:pPr>
                <a:defRPr/>
              </a:pPr>
              <a:t>10/6/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F5A8EAB7-F1BA-274C-91A9-46214A29E50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84806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2A637A29-4E7E-A24B-BAB1-D48C888F91E4}" type="datetimeFigureOut">
              <a:rPr lang="en-US"/>
              <a:pPr>
                <a:defRPr/>
              </a:pPr>
              <a:t>10/6/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F97A1FA6-25DE-9E4E-A34D-CF67DE7DBDC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4925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2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2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2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EB82E1-4D4F-A04C-B314-7EFCF27177C3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39565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61348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base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38030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433017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900243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924798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27751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84389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377234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2FCB79-2C0C-F84D-A224-30C295992FCE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071195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2FCB79-2C0C-F84D-A224-30C295992FCE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11843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>
              <a:solidFill>
                <a:schemeClr val="tx1"/>
              </a:solidFill>
              <a:effectLst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4B3E29-E3C6-465A-BA15-E131EAE22360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871608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2FCB79-2C0C-F84D-A224-30C295992FCE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219392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537226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2FCB79-2C0C-F84D-A224-30C295992FCE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9102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</a:t>
            </a:r>
            <a:r>
              <a:rPr lang="en-US" dirty="0" err="1" smtClean="0"/>
              <a:t>www.michigan.gov</a:t>
            </a:r>
            <a:r>
              <a:rPr lang="en-US" dirty="0" smtClean="0"/>
              <a:t>/documents/MDOT_ITS_Strategic_Plan_145436_7.pdf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247910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</a:t>
            </a:r>
            <a:r>
              <a:rPr lang="en-US" dirty="0" err="1" smtClean="0"/>
              <a:t>www.michigan.gov</a:t>
            </a:r>
            <a:r>
              <a:rPr lang="en-US" dirty="0" smtClean="0"/>
              <a:t>/documents/MDOT_ITS_Strategic_Plan_145436_7.pdf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744155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7DB086-936E-F346-82FA-AF0CA842161A}" type="slidenum">
              <a:rPr lang="en-US" altLang="en-US" smtClean="0">
                <a:solidFill>
                  <a:prstClr val="black"/>
                </a:solidFill>
              </a:rPr>
              <a:pPr/>
              <a:t>26</a:t>
            </a:fld>
            <a:endParaRPr lang="en-US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4221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9575" y="698500"/>
            <a:ext cx="6203950" cy="34909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154738-FF7E-B044-9ED7-E8665AFE552F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4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755023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90487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2640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38046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8897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endParaRPr lang="en-US" sz="120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86408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solidFill>
                <a:schemeClr val="bg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2FCB79-2C0C-F84D-A224-30C295992FCE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3209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6.emf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6.emf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5.png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7.emf"/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4" Type="http://schemas.openxmlformats.org/officeDocument/2006/relationships/image" Target="../media/image8.png"/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9.jpeg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8.png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8.png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11.png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10.png"/><Relationship Id="rId3" Type="http://schemas.openxmlformats.org/officeDocument/2006/relationships/image" Target="../media/image12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4.png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3.png"/><Relationship Id="rId3" Type="http://schemas.openxmlformats.org/officeDocument/2006/relationships/image" Target="../media/image5.png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86876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10876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34876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 userDrawn="1"/>
        </p:nvSpPr>
        <p:spPr bwMode="auto">
          <a:xfrm>
            <a:off x="469496" y="391308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2942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201738"/>
            <a:ext cx="8277344" cy="3389312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600" indent="-17145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457200" indent="-1651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85800" indent="-10953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6443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437767" y="1349354"/>
            <a:ext cx="4003995" cy="3040875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08110" y="1349375"/>
            <a:ext cx="4075144" cy="3041208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401534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/>
        </p:nvSpPr>
        <p:spPr>
          <a:xfrm>
            <a:off x="6084889" y="1622426"/>
            <a:ext cx="2319337" cy="231775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189">
              <a:defRPr/>
            </a:pPr>
            <a:endParaRPr lang="en-US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0" name="Oval 9"/>
          <p:cNvSpPr/>
          <p:nvPr/>
        </p:nvSpPr>
        <p:spPr>
          <a:xfrm>
            <a:off x="3422650" y="1622426"/>
            <a:ext cx="2319338" cy="231775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189">
              <a:defRPr/>
            </a:pPr>
            <a:endParaRPr lang="en-US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1" name="Oval 10"/>
          <p:cNvSpPr/>
          <p:nvPr/>
        </p:nvSpPr>
        <p:spPr>
          <a:xfrm>
            <a:off x="763589" y="1622426"/>
            <a:ext cx="2319337" cy="231775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189">
              <a:defRPr/>
            </a:pPr>
            <a:endParaRPr lang="en-US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777486" y="2800143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3436445" y="2798196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6098331" y="2798196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520825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4202870" y="215280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841860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6852476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5"/>
          <p:cNvSpPr>
            <a:spLocks noChangeArrowheads="1"/>
          </p:cNvSpPr>
          <p:nvPr/>
        </p:nvSpPr>
        <p:spPr bwMode="auto">
          <a:xfrm>
            <a:off x="774701" y="1622426"/>
            <a:ext cx="2306638" cy="2306638"/>
          </a:xfrm>
          <a:prstGeom prst="ellipse">
            <a:avLst/>
          </a:prstGeom>
          <a:solidFill>
            <a:srgbClr val="000000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77" tIns="34289" rIns="68577" bIns="34289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685800" eaLnBrk="1" hangingPunct="1"/>
            <a:endParaRPr lang="en-US" altLang="en-US">
              <a:solidFill>
                <a:srgbClr val="FFFFFF"/>
              </a:solidFill>
              <a:cs typeface=""/>
            </a:endParaRPr>
          </a:p>
        </p:txBody>
      </p:sp>
      <p:sp>
        <p:nvSpPr>
          <p:cNvPr id="13" name="Oval 7"/>
          <p:cNvSpPr>
            <a:spLocks noChangeArrowheads="1"/>
          </p:cNvSpPr>
          <p:nvPr/>
        </p:nvSpPr>
        <p:spPr bwMode="auto">
          <a:xfrm>
            <a:off x="3422651" y="1622426"/>
            <a:ext cx="2306638" cy="2306638"/>
          </a:xfrm>
          <a:prstGeom prst="ellipse">
            <a:avLst/>
          </a:prstGeom>
          <a:solidFill>
            <a:srgbClr val="000000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77" tIns="34289" rIns="68577" bIns="34289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685800" eaLnBrk="1" hangingPunct="1"/>
            <a:endParaRPr lang="en-US" altLang="en-US">
              <a:solidFill>
                <a:srgbClr val="FFFFFF"/>
              </a:solidFill>
              <a:cs typeface=""/>
            </a:endParaRPr>
          </a:p>
        </p:txBody>
      </p:sp>
      <p:sp>
        <p:nvSpPr>
          <p:cNvPr id="14" name="Oval 8"/>
          <p:cNvSpPr>
            <a:spLocks noChangeArrowheads="1"/>
          </p:cNvSpPr>
          <p:nvPr/>
        </p:nvSpPr>
        <p:spPr bwMode="auto">
          <a:xfrm>
            <a:off x="6088063" y="1622426"/>
            <a:ext cx="2305050" cy="2306638"/>
          </a:xfrm>
          <a:prstGeom prst="ellipse">
            <a:avLst/>
          </a:prstGeom>
          <a:solidFill>
            <a:srgbClr val="000000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77" tIns="34289" rIns="68577" bIns="34289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685800" eaLnBrk="1" hangingPunct="1"/>
            <a:endParaRPr lang="en-US" altLang="en-US">
              <a:solidFill>
                <a:srgbClr val="FFFFFF"/>
              </a:solidFill>
              <a:cs typeface="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774965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422986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087503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788798" y="3873139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3436818" y="3871192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6101336" y="3871192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032910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Oval 11"/>
          <p:cNvSpPr/>
          <p:nvPr/>
        </p:nvSpPr>
        <p:spPr>
          <a:xfrm>
            <a:off x="575611" y="2552551"/>
            <a:ext cx="698624" cy="698624"/>
          </a:xfrm>
          <a:prstGeom prst="ellipse">
            <a:avLst/>
          </a:prstGeom>
          <a:solidFill>
            <a:schemeClr val="accent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575611" y="1426608"/>
            <a:ext cx="698624" cy="698624"/>
          </a:xfrm>
          <a:prstGeom prst="ellips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ln>
                <a:solidFill>
                  <a:srgbClr val="FFFFFF"/>
                </a:solidFill>
              </a:ln>
              <a:solidFill>
                <a:srgbClr val="049FD9"/>
              </a:solidFill>
              <a:cs typeface="Arial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575611" y="3653094"/>
            <a:ext cx="698624" cy="698624"/>
          </a:xfrm>
          <a:prstGeom prst="ellipse">
            <a:avLst/>
          </a:prstGeom>
          <a:solidFill>
            <a:schemeClr val="accent3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365250" y="143252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365250" y="255779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365250" y="365309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75611" y="1425202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1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611" y="2541688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2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75611" y="3658337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3</a:t>
            </a:r>
          </a:p>
        </p:txBody>
      </p:sp>
      <p:sp>
        <p:nvSpPr>
          <p:cNvPr id="16" name="Oval 15"/>
          <p:cNvSpPr/>
          <p:nvPr userDrawn="1"/>
        </p:nvSpPr>
        <p:spPr>
          <a:xfrm>
            <a:off x="575611" y="2552551"/>
            <a:ext cx="698624" cy="698624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  <p:sp>
        <p:nvSpPr>
          <p:cNvPr id="17" name="Oval 16"/>
          <p:cNvSpPr/>
          <p:nvPr userDrawn="1"/>
        </p:nvSpPr>
        <p:spPr>
          <a:xfrm>
            <a:off x="575611" y="1426608"/>
            <a:ext cx="698624" cy="698624"/>
          </a:xfrm>
          <a:prstGeom prst="ellipse">
            <a:avLst/>
          </a:prstGeom>
          <a:noFill/>
          <a:ln w="190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ln>
                <a:solidFill>
                  <a:srgbClr val="FFFFFF"/>
                </a:solidFill>
              </a:ln>
              <a:solidFill>
                <a:srgbClr val="049FD9"/>
              </a:solidFill>
              <a:cs typeface="Arial"/>
            </a:endParaRPr>
          </a:p>
        </p:txBody>
      </p:sp>
      <p:sp>
        <p:nvSpPr>
          <p:cNvPr id="18" name="Oval 17"/>
          <p:cNvSpPr/>
          <p:nvPr userDrawn="1"/>
        </p:nvSpPr>
        <p:spPr>
          <a:xfrm>
            <a:off x="575611" y="3653094"/>
            <a:ext cx="698624" cy="698624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0071475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11"/>
          <p:cNvSpPr/>
          <p:nvPr/>
        </p:nvSpPr>
        <p:spPr>
          <a:xfrm>
            <a:off x="575611" y="2552551"/>
            <a:ext cx="698624" cy="698624"/>
          </a:xfrm>
          <a:prstGeom prst="ellips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575611" y="1426608"/>
            <a:ext cx="698624" cy="698624"/>
          </a:xfrm>
          <a:prstGeom prst="ellips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ln>
                <a:solidFill>
                  <a:srgbClr val="FFFFFF"/>
                </a:solidFill>
              </a:ln>
              <a:solidFill>
                <a:srgbClr val="FFFFFF"/>
              </a:solidFill>
              <a:cs typeface="Arial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575611" y="3653094"/>
            <a:ext cx="698624" cy="698624"/>
          </a:xfrm>
          <a:prstGeom prst="ellips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  <p:sp>
        <p:nvSpPr>
          <p:cNvPr id="2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611" y="2552551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2</a:t>
            </a:r>
          </a:p>
        </p:txBody>
      </p:sp>
      <p:sp>
        <p:nvSpPr>
          <p:cNvPr id="2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75611" y="3651140"/>
            <a:ext cx="698624" cy="693381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3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75611" y="1427249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365250" y="143252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365250" y="255779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365250" y="365309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Oval 13"/>
          <p:cNvSpPr/>
          <p:nvPr userDrawn="1"/>
        </p:nvSpPr>
        <p:spPr>
          <a:xfrm>
            <a:off x="575611" y="2552551"/>
            <a:ext cx="698624" cy="698624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6" name="Oval 15"/>
          <p:cNvSpPr/>
          <p:nvPr userDrawn="1"/>
        </p:nvSpPr>
        <p:spPr>
          <a:xfrm>
            <a:off x="575611" y="1426608"/>
            <a:ext cx="698624" cy="698624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ln>
                <a:solidFill>
                  <a:srgbClr val="FFFFFF"/>
                </a:solidFill>
              </a:ln>
              <a:solidFill>
                <a:srgbClr val="FFFFFF"/>
              </a:solidFill>
              <a:cs typeface="Arial"/>
            </a:endParaRPr>
          </a:p>
        </p:txBody>
      </p:sp>
      <p:sp>
        <p:nvSpPr>
          <p:cNvPr id="17" name="Oval 16"/>
          <p:cNvSpPr/>
          <p:nvPr userDrawn="1"/>
        </p:nvSpPr>
        <p:spPr>
          <a:xfrm>
            <a:off x="575611" y="3653094"/>
            <a:ext cx="698624" cy="698624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9012705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4" y="4629151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500064" y="3476648"/>
            <a:ext cx="8139112" cy="520655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08000" tIns="0" rIns="91440" bIns="45720" numCol="1" anchor="ctr" anchorCtr="0" compatLnSpc="1">
            <a:prstTxWarp prst="textNoShape">
              <a:avLst/>
            </a:prstTxWarp>
            <a:spAutoFit/>
          </a:bodyPr>
          <a:lstStyle>
            <a:lvl1pPr marL="172796" indent="0">
              <a:lnSpc>
                <a:spcPts val="3680"/>
              </a:lnSpc>
              <a:spcBef>
                <a:spcPts val="0"/>
              </a:spcBef>
              <a:buNone/>
              <a:defRPr sz="2400" i="1">
                <a:solidFill>
                  <a:srgbClr val="58585B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1176906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4" y="301038"/>
            <a:ext cx="8563172" cy="2542175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8786" y="3054518"/>
            <a:ext cx="8364236" cy="560153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74645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4" y="4629151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8212006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2"/>
            <a:ext cx="8480388" cy="4266646"/>
          </a:xfrm>
          <a:prstGeom prst="rect">
            <a:avLst/>
          </a:prstGeom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0464490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892301" y="596901"/>
            <a:ext cx="5348288" cy="30035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892301" y="3595689"/>
            <a:ext cx="5346700" cy="74771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39" y="596646"/>
            <a:ext cx="5329238" cy="300380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065872" y="3655079"/>
            <a:ext cx="5074070" cy="628650"/>
          </a:xfrm>
        </p:spPr>
        <p:txBody>
          <a:bodyPr/>
          <a:lstStyle>
            <a:lvl1pPr>
              <a:defRPr sz="2000">
                <a:solidFill>
                  <a:srgbClr val="58585B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15572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3399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55866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8030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49276" y="233364"/>
            <a:ext cx="3273425" cy="18446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549991" y="233172"/>
            <a:ext cx="3273552" cy="184480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68577" tIns="34289" rIns="68577" bIns="34289" rtlCol="0" anchor="ctr" anchorCtr="0">
            <a:normAutofit/>
          </a:bodyPr>
          <a:lstStyle>
            <a:lvl1pPr marL="0" indent="0" algn="ctr" defTabSz="685760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30936" y="2480694"/>
            <a:ext cx="6729865" cy="1614419"/>
          </a:xfrm>
        </p:spPr>
        <p:txBody>
          <a:bodyPr>
            <a:noAutofit/>
          </a:bodyPr>
          <a:lstStyle>
            <a:lvl1pPr marL="0" marR="0" indent="0" algn="l" defTabSz="68576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5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7185139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992688" y="546101"/>
            <a:ext cx="3630612" cy="38703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546735"/>
            <a:ext cx="3630168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37670" y="546735"/>
            <a:ext cx="4349918" cy="813985"/>
          </a:xfrm>
        </p:spPr>
        <p:txBody>
          <a:bodyPr wrap="none" anchor="t">
            <a:noAutofit/>
          </a:bodyPr>
          <a:lstStyle>
            <a:lvl1pPr>
              <a:lnSpc>
                <a:spcPct val="90000"/>
              </a:lnSpc>
              <a:defRPr sz="25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63088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668713" y="233364"/>
            <a:ext cx="326866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4963" y="233364"/>
            <a:ext cx="328771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980239" y="233363"/>
            <a:ext cx="1838325" cy="9810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34964" y="2271714"/>
            <a:ext cx="2522537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911476" y="2271714"/>
            <a:ext cx="4025900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980239" y="1262063"/>
            <a:ext cx="1838325" cy="25828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980239" y="3887788"/>
            <a:ext cx="1838325" cy="9779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8996" y="233363"/>
            <a:ext cx="326786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baseline="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28" y="233363"/>
            <a:ext cx="330200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979833" y="233363"/>
            <a:ext cx="1838730" cy="98107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2271719"/>
            <a:ext cx="2537420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5" y="2271719"/>
            <a:ext cx="4028516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6979833" y="1257301"/>
            <a:ext cx="1838730" cy="258705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6979833" y="3887223"/>
            <a:ext cx="1838730" cy="97869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237522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58672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528639" y="582930"/>
            <a:ext cx="8164931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312510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179339" y="584002"/>
            <a:ext cx="4424562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393742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6"/>
          <p:cNvSpPr>
            <a:spLocks noChangeAspect="1" noEditPoints="1"/>
          </p:cNvSpPr>
          <p:nvPr/>
        </p:nvSpPr>
        <p:spPr bwMode="auto">
          <a:xfrm>
            <a:off x="3527454" y="2016834"/>
            <a:ext cx="2089092" cy="1109832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en-US">
              <a:solidFill>
                <a:srgbClr val="005073"/>
              </a:solidFill>
              <a:ea typeface="ＭＳ Ｐゴシック" pitchFamily="34" charset="-128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05262504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Title Slide-animated gradi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7" y="3868769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342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7" y="4108766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7" y="4348763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3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304774" indent="0">
              <a:buNone/>
              <a:defRPr/>
            </a:lvl2pPr>
            <a:lvl3pPr marL="427391" indent="0">
              <a:buNone/>
              <a:defRPr/>
            </a:lvl3pPr>
            <a:lvl4pPr marL="516681" indent="0">
              <a:buNone/>
              <a:defRPr/>
            </a:lvl4pPr>
            <a:lvl5pPr marL="601206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/>
        </p:nvSpPr>
        <p:spPr bwMode="auto">
          <a:xfrm>
            <a:off x="469496" y="391309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en-US" dirty="0">
              <a:solidFill>
                <a:srgbClr val="005073"/>
              </a:solidFill>
              <a:ea typeface="ＭＳ Ｐゴシック" pitchFamily="34" charset="-128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368483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016876" y="4930381"/>
            <a:ext cx="1079500" cy="202406"/>
          </a:xfrm>
          <a:prstGeom prst="rect">
            <a:avLst/>
          </a:prstGeom>
          <a:ln/>
        </p:spPr>
        <p:txBody>
          <a:bodyPr lIns="68589" tIns="34295" rIns="68589" bIns="34295"/>
          <a:lstStyle>
            <a:lvl1pPr>
              <a:defRPr/>
            </a:lvl1pPr>
          </a:lstStyle>
          <a:p>
            <a:pPr defTabSz="457189"/>
            <a:fld id="{347A26B5-E056-4925-8669-4D801F95C235}" type="slidenum">
              <a:rPr lang="en-US" smtClean="0">
                <a:solidFill>
                  <a:srgbClr val="39393B"/>
                </a:solidFill>
                <a:ea typeface="ＭＳ Ｐゴシック" pitchFamily="34" charset="-128"/>
                <a:cs typeface=""/>
              </a:rPr>
              <a:pPr defTabSz="457189"/>
              <a:t>‹#›</a:t>
            </a:fld>
            <a:endParaRPr lang="en-US">
              <a:solidFill>
                <a:srgbClr val="39393B"/>
              </a:solidFill>
              <a:ea typeface="ＭＳ Ｐゴシック" pitchFamily="34" charset="-128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976922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3532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6724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Segue">
    <p:bg>
      <p:bgPr>
        <a:solidFill>
          <a:srgbClr val="3939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8518375" y="4921124"/>
            <a:ext cx="215747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latin typeface="CiscoSans ExtraLight"/>
              <a:ea typeface="ＭＳ Ｐゴシック" pitchFamily="34" charset="-128"/>
              <a:cs typeface="CiscoSans Thin"/>
            </a:endParaRPr>
          </a:p>
        </p:txBody>
      </p:sp>
      <p:pic>
        <p:nvPicPr>
          <p:cNvPr id="11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803989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4"/>
          <p:cNvSpPr>
            <a:spLocks noChangeArrowheads="1"/>
          </p:cNvSpPr>
          <p:nvPr userDrawn="1"/>
        </p:nvSpPr>
        <p:spPr bwMode="ltGray">
          <a:xfrm>
            <a:off x="5286376" y="4825407"/>
            <a:ext cx="3167715" cy="2468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t>C97-737517-01 © 2016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91690599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8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8767960"/>
      </p:ext>
    </p:extLst>
  </p:cSld>
  <p:clrMapOvr>
    <a:masterClrMapping/>
  </p:clrMapOvr>
  <p:transition spd="med"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2303" y="1347788"/>
            <a:ext cx="8277344" cy="3168210"/>
          </a:xfrm>
          <a:prstGeom prst="rect">
            <a:avLst/>
          </a:prstGeom>
        </p:spPr>
        <p:txBody>
          <a:bodyPr lIns="91404" tIns="45702" rIns="91404" bIns="45702">
            <a:noAutofit/>
          </a:bodyPr>
          <a:lstStyle>
            <a:lvl1pPr marL="280873" indent="-223751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798" indent="-215813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416" indent="-171383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860" indent="-171383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243" indent="-168208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8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7443452"/>
      </p:ext>
    </p:extLst>
  </p:cSld>
  <p:clrMapOvr>
    <a:masterClrMapping/>
  </p:clrMapOvr>
  <p:transition spd="med"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1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7" y="928882"/>
            <a:ext cx="8277606" cy="2885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Sub header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7767" y="485585"/>
            <a:ext cx="8277608" cy="44329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1407279"/>
      </p:ext>
    </p:extLst>
  </p:cSld>
  <p:clrMapOvr>
    <a:masterClrMapping/>
  </p:clrMapOvr>
  <p:transition spd="med"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cept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28599" y="1"/>
            <a:ext cx="8689975" cy="688181"/>
          </a:xfrm>
        </p:spPr>
        <p:txBody>
          <a:bodyPr anchor="b"/>
          <a:lstStyle>
            <a:lvl1pPr>
              <a:defRPr sz="2400">
                <a:solidFill>
                  <a:srgbClr val="525252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8602" y="4900761"/>
            <a:ext cx="8731737" cy="158662"/>
          </a:xfrm>
        </p:spPr>
        <p:txBody>
          <a:bodyPr anchor="b"/>
          <a:lstStyle>
            <a:lvl1pPr marL="0" indent="0" algn="r">
              <a:buNone/>
              <a:defRPr sz="825" baseline="0">
                <a:solidFill>
                  <a:srgbClr val="9B9B9B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61507134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gu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723984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alf_Page_Blu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1659732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5"/>
            <a:ext cx="2946839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5073">
                    <a:alpha val="60000"/>
                  </a:srgbClr>
                </a:solidFill>
                <a:latin typeface="CiscoSans ExtraLight"/>
                <a:ea typeface=""/>
                <a:cs typeface="CiscoSans Thin"/>
              </a:rPr>
              <a:t>© 2017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269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orient="horz" pos="2193">
          <p15:clr>
            <a:srgbClr val="FBAE40"/>
          </p15:clr>
        </p15:guide>
        <p15:guide id="3" pos="2675">
          <p15:clr>
            <a:srgbClr val="FBAE40"/>
          </p15:clr>
        </p15:guide>
        <p15:guide id="4" pos="3206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69497" y="3868769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2"/>
                </a:solidFill>
                <a:latin typeface="+mn-lt"/>
                <a:cs typeface="CiscoSansTT ExtraLight"/>
              </a:defRPr>
            </a:lvl1pPr>
            <a:lvl2pPr marL="342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69497" y="4108766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2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69497" y="4348763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2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63293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="0" i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  <a:lvl2pPr marL="304774" indent="0">
              <a:buNone/>
              <a:defRPr/>
            </a:lvl2pPr>
            <a:lvl3pPr marL="427391" indent="0">
              <a:buNone/>
              <a:defRPr/>
            </a:lvl3pPr>
            <a:lvl4pPr marL="516681" indent="0">
              <a:buNone/>
              <a:defRPr/>
            </a:lvl4pPr>
            <a:lvl5pPr marL="601206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 userDrawn="1"/>
        </p:nvSpPr>
        <p:spPr bwMode="auto">
          <a:xfrm>
            <a:off x="469496" y="391309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en-US">
              <a:solidFill>
                <a:srgbClr val="005073"/>
              </a:solidFill>
              <a:cs typeface=""/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-1444417" y="389303"/>
            <a:ext cx="10588417" cy="2117268"/>
            <a:chOff x="-1444417" y="389303"/>
            <a:chExt cx="10588417" cy="2117268"/>
          </a:xfrm>
        </p:grpSpPr>
        <p:sp>
          <p:nvSpPr>
            <p:cNvPr id="9" name="Freeform: Shape 2"/>
            <p:cNvSpPr/>
            <p:nvPr/>
          </p:nvSpPr>
          <p:spPr>
            <a:xfrm>
              <a:off x="4672025" y="1717771"/>
              <a:ext cx="341330" cy="34133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95" h="895">
                  <a:moveTo>
                    <a:pt x="895" y="448"/>
                  </a:moveTo>
                  <a:cubicBezTo>
                    <a:pt x="895" y="530"/>
                    <a:pt x="876" y="600"/>
                    <a:pt x="835" y="672"/>
                  </a:cubicBezTo>
                  <a:cubicBezTo>
                    <a:pt x="794" y="743"/>
                    <a:pt x="742" y="793"/>
                    <a:pt x="671" y="835"/>
                  </a:cubicBezTo>
                  <a:cubicBezTo>
                    <a:pt x="599" y="876"/>
                    <a:pt x="529" y="895"/>
                    <a:pt x="447" y="895"/>
                  </a:cubicBezTo>
                  <a:cubicBezTo>
                    <a:pt x="364" y="895"/>
                    <a:pt x="294" y="876"/>
                    <a:pt x="223" y="835"/>
                  </a:cubicBezTo>
                  <a:cubicBezTo>
                    <a:pt x="151" y="793"/>
                    <a:pt x="101" y="743"/>
                    <a:pt x="60" y="672"/>
                  </a:cubicBezTo>
                  <a:cubicBezTo>
                    <a:pt x="18" y="600"/>
                    <a:pt x="0" y="530"/>
                    <a:pt x="0" y="448"/>
                  </a:cubicBezTo>
                  <a:cubicBezTo>
                    <a:pt x="0" y="365"/>
                    <a:pt x="18" y="295"/>
                    <a:pt x="60" y="224"/>
                  </a:cubicBezTo>
                  <a:cubicBezTo>
                    <a:pt x="101" y="153"/>
                    <a:pt x="151" y="101"/>
                    <a:pt x="223" y="60"/>
                  </a:cubicBezTo>
                  <a:cubicBezTo>
                    <a:pt x="294" y="19"/>
                    <a:pt x="365" y="0"/>
                    <a:pt x="447" y="0"/>
                  </a:cubicBezTo>
                  <a:cubicBezTo>
                    <a:pt x="530" y="0"/>
                    <a:pt x="599" y="19"/>
                    <a:pt x="671" y="60"/>
                  </a:cubicBezTo>
                  <a:cubicBezTo>
                    <a:pt x="742" y="101"/>
                    <a:pt x="794" y="153"/>
                    <a:pt x="835" y="224"/>
                  </a:cubicBezTo>
                  <a:cubicBezTo>
                    <a:pt x="876" y="295"/>
                    <a:pt x="895" y="365"/>
                    <a:pt x="895" y="44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Straight Connector 9"/>
            <p:cNvSpPr/>
            <p:nvPr/>
          </p:nvSpPr>
          <p:spPr>
            <a:xfrm>
              <a:off x="4842689" y="1710517"/>
              <a:ext cx="0" cy="2252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Straight Connector 10"/>
            <p:cNvSpPr/>
            <p:nvPr/>
          </p:nvSpPr>
          <p:spPr>
            <a:xfrm>
              <a:off x="4842689" y="2051083"/>
              <a:ext cx="0" cy="2252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Straight Connector 11"/>
            <p:cNvSpPr/>
            <p:nvPr/>
          </p:nvSpPr>
          <p:spPr>
            <a:xfrm flipH="1">
              <a:off x="4903395" y="1724262"/>
              <a:ext cx="840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Straight Connector 12"/>
            <p:cNvSpPr/>
            <p:nvPr/>
          </p:nvSpPr>
          <p:spPr>
            <a:xfrm flipH="1">
              <a:off x="4773965" y="2039247"/>
              <a:ext cx="840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Straight Connector 13"/>
            <p:cNvSpPr/>
            <p:nvPr/>
          </p:nvSpPr>
          <p:spPr>
            <a:xfrm flipH="1">
              <a:off x="4956085" y="1764733"/>
              <a:ext cx="15653" cy="1565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Straight Connector 14"/>
            <p:cNvSpPr/>
            <p:nvPr/>
          </p:nvSpPr>
          <p:spPr>
            <a:xfrm flipH="1">
              <a:off x="4713641" y="2004122"/>
              <a:ext cx="16035" cy="1527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Straight Connector 20"/>
            <p:cNvSpPr/>
            <p:nvPr/>
          </p:nvSpPr>
          <p:spPr>
            <a:xfrm flipH="1">
              <a:off x="4990064" y="1823530"/>
              <a:ext cx="20617" cy="8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Straight Connector 21"/>
            <p:cNvSpPr/>
            <p:nvPr/>
          </p:nvSpPr>
          <p:spPr>
            <a:xfrm flipH="1">
              <a:off x="4674315" y="1951815"/>
              <a:ext cx="20999" cy="8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Straight Connector 22"/>
            <p:cNvSpPr/>
            <p:nvPr/>
          </p:nvSpPr>
          <p:spPr>
            <a:xfrm flipH="1">
              <a:off x="5001518" y="1891491"/>
              <a:ext cx="2252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Straight Connector 23"/>
            <p:cNvSpPr/>
            <p:nvPr/>
          </p:nvSpPr>
          <p:spPr>
            <a:xfrm flipH="1">
              <a:off x="4661334" y="1892254"/>
              <a:ext cx="22144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Straight Connector 24"/>
            <p:cNvSpPr/>
            <p:nvPr/>
          </p:nvSpPr>
          <p:spPr>
            <a:xfrm flipH="1" flipV="1">
              <a:off x="4990064" y="1951815"/>
              <a:ext cx="21000" cy="80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Straight Connector 25"/>
            <p:cNvSpPr/>
            <p:nvPr/>
          </p:nvSpPr>
          <p:spPr>
            <a:xfrm flipH="1" flipV="1">
              <a:off x="4674315" y="1823912"/>
              <a:ext cx="20999" cy="8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Straight Connector 26"/>
            <p:cNvSpPr/>
            <p:nvPr/>
          </p:nvSpPr>
          <p:spPr>
            <a:xfrm>
              <a:off x="4715169" y="1763206"/>
              <a:ext cx="15653" cy="1565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Straight Connector 27"/>
            <p:cNvSpPr/>
            <p:nvPr/>
          </p:nvSpPr>
          <p:spPr>
            <a:xfrm>
              <a:off x="4954558" y="2005267"/>
              <a:ext cx="15653" cy="1565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Straight Connector 28"/>
            <p:cNvSpPr/>
            <p:nvPr/>
          </p:nvSpPr>
          <p:spPr>
            <a:xfrm>
              <a:off x="4769766" y="1725788"/>
              <a:ext cx="9162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Straight Connector 29"/>
            <p:cNvSpPr/>
            <p:nvPr/>
          </p:nvSpPr>
          <p:spPr>
            <a:xfrm>
              <a:off x="4906831" y="2037719"/>
              <a:ext cx="8781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Freeform: Shape 19"/>
            <p:cNvSpPr/>
            <p:nvPr/>
          </p:nvSpPr>
          <p:spPr>
            <a:xfrm>
              <a:off x="4788855" y="1885382"/>
              <a:ext cx="106904" cy="318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81" h="834" fill="none">
                  <a:moveTo>
                    <a:pt x="0" y="834"/>
                  </a:moveTo>
                  <a:lnTo>
                    <a:pt x="159" y="0"/>
                  </a:lnTo>
                  <a:lnTo>
                    <a:pt x="281" y="65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Straight Connector 31"/>
            <p:cNvSpPr/>
            <p:nvPr/>
          </p:nvSpPr>
          <p:spPr>
            <a:xfrm>
              <a:off x="4685005" y="2182422"/>
              <a:ext cx="0" cy="11644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Freeform: Shape 21"/>
            <p:cNvSpPr/>
            <p:nvPr/>
          </p:nvSpPr>
          <p:spPr>
            <a:xfrm>
              <a:off x="5098113" y="1929671"/>
              <a:ext cx="158447" cy="3562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Freeform: Shape 22"/>
            <p:cNvSpPr/>
            <p:nvPr/>
          </p:nvSpPr>
          <p:spPr>
            <a:xfrm>
              <a:off x="5131330" y="2140424"/>
              <a:ext cx="92396" cy="15195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60" y="0"/>
                  </a:lnTo>
                  <a:cubicBezTo>
                    <a:pt x="206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Straight Connector 34"/>
            <p:cNvSpPr/>
            <p:nvPr/>
          </p:nvSpPr>
          <p:spPr>
            <a:xfrm>
              <a:off x="5121021" y="2025502"/>
              <a:ext cx="11339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Freeform: Shape 24"/>
            <p:cNvSpPr/>
            <p:nvPr/>
          </p:nvSpPr>
          <p:spPr>
            <a:xfrm>
              <a:off x="4714404" y="1929671"/>
              <a:ext cx="376837" cy="32796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8" h="860">
                  <a:moveTo>
                    <a:pt x="988" y="0"/>
                  </a:moveTo>
                  <a:cubicBezTo>
                    <a:pt x="909" y="478"/>
                    <a:pt x="499" y="846"/>
                    <a:pt x="0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Straight Connector 36"/>
            <p:cNvSpPr/>
            <p:nvPr/>
          </p:nvSpPr>
          <p:spPr>
            <a:xfrm>
              <a:off x="4898814" y="2211439"/>
              <a:ext cx="18097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Freeform: Shape 26"/>
            <p:cNvSpPr/>
            <p:nvPr/>
          </p:nvSpPr>
          <p:spPr>
            <a:xfrm>
              <a:off x="5829643" y="1929671"/>
              <a:ext cx="376455" cy="32796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7" h="860">
                  <a:moveTo>
                    <a:pt x="0" y="0"/>
                  </a:moveTo>
                  <a:cubicBezTo>
                    <a:pt x="79" y="478"/>
                    <a:pt x="489" y="846"/>
                    <a:pt x="987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Straight Connector 38"/>
            <p:cNvSpPr/>
            <p:nvPr/>
          </p:nvSpPr>
          <p:spPr>
            <a:xfrm flipH="1">
              <a:off x="5841097" y="2211439"/>
              <a:ext cx="18135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Straight Connector 39"/>
            <p:cNvSpPr/>
            <p:nvPr/>
          </p:nvSpPr>
          <p:spPr>
            <a:xfrm>
              <a:off x="4728532" y="2304217"/>
              <a:ext cx="21380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Straight Connector 40"/>
            <p:cNvSpPr/>
            <p:nvPr/>
          </p:nvSpPr>
          <p:spPr>
            <a:xfrm>
              <a:off x="5256942" y="1939979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Straight Connector 41"/>
            <p:cNvSpPr/>
            <p:nvPr/>
          </p:nvSpPr>
          <p:spPr>
            <a:xfrm>
              <a:off x="5256942" y="1966705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Straight Connector 42"/>
            <p:cNvSpPr/>
            <p:nvPr/>
          </p:nvSpPr>
          <p:spPr>
            <a:xfrm>
              <a:off x="5256942" y="2017485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Straight Connector 43"/>
            <p:cNvSpPr/>
            <p:nvPr/>
          </p:nvSpPr>
          <p:spPr>
            <a:xfrm>
              <a:off x="5256942" y="2198458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Straight Connector 44"/>
            <p:cNvSpPr/>
            <p:nvPr/>
          </p:nvSpPr>
          <p:spPr>
            <a:xfrm>
              <a:off x="5256942" y="2250383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Freeform: Shape 34"/>
            <p:cNvSpPr/>
            <p:nvPr/>
          </p:nvSpPr>
          <p:spPr>
            <a:xfrm>
              <a:off x="5094677" y="1829257"/>
              <a:ext cx="38944" cy="6948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2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Freeform: Shape 35"/>
            <p:cNvSpPr/>
            <p:nvPr/>
          </p:nvSpPr>
          <p:spPr>
            <a:xfrm>
              <a:off x="5222962" y="1829257"/>
              <a:ext cx="38562" cy="6948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0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Freeform: Shape 36"/>
            <p:cNvSpPr/>
            <p:nvPr/>
          </p:nvSpPr>
          <p:spPr>
            <a:xfrm>
              <a:off x="5120258" y="1753279"/>
              <a:ext cx="114158" cy="14546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49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Freeform: Shape 37"/>
            <p:cNvSpPr/>
            <p:nvPr/>
          </p:nvSpPr>
          <p:spPr>
            <a:xfrm>
              <a:off x="5162638" y="1956015"/>
              <a:ext cx="29399" cy="3512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Freeform: Shape 38"/>
            <p:cNvSpPr/>
            <p:nvPr/>
          </p:nvSpPr>
          <p:spPr>
            <a:xfrm>
              <a:off x="5663942" y="1929671"/>
              <a:ext cx="158447" cy="3562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Freeform: Shape 39"/>
            <p:cNvSpPr/>
            <p:nvPr/>
          </p:nvSpPr>
          <p:spPr>
            <a:xfrm>
              <a:off x="5697158" y="2140424"/>
              <a:ext cx="92396" cy="15195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59" y="0"/>
                  </a:lnTo>
                  <a:cubicBezTo>
                    <a:pt x="205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" name="Straight Connector 51"/>
            <p:cNvSpPr/>
            <p:nvPr/>
          </p:nvSpPr>
          <p:spPr>
            <a:xfrm>
              <a:off x="5686468" y="2025502"/>
              <a:ext cx="11377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" name="Freeform: Shape 41"/>
            <p:cNvSpPr/>
            <p:nvPr/>
          </p:nvSpPr>
          <p:spPr>
            <a:xfrm>
              <a:off x="5660505" y="1829257"/>
              <a:ext cx="38562" cy="6948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2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" name="Freeform: Shape 42"/>
            <p:cNvSpPr/>
            <p:nvPr/>
          </p:nvSpPr>
          <p:spPr>
            <a:xfrm>
              <a:off x="5788409" y="1829257"/>
              <a:ext cx="38944" cy="6948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1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" name="Freeform: Shape 43"/>
            <p:cNvSpPr/>
            <p:nvPr/>
          </p:nvSpPr>
          <p:spPr>
            <a:xfrm>
              <a:off x="5685704" y="1753279"/>
              <a:ext cx="114158" cy="14546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51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" name="Freeform: Shape 44"/>
            <p:cNvSpPr/>
            <p:nvPr/>
          </p:nvSpPr>
          <p:spPr>
            <a:xfrm>
              <a:off x="7548126" y="2107208"/>
              <a:ext cx="272224" cy="4047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14" h="107">
                  <a:moveTo>
                    <a:pt x="357" y="0"/>
                  </a:moveTo>
                  <a:lnTo>
                    <a:pt x="0" y="107"/>
                  </a:lnTo>
                  <a:lnTo>
                    <a:pt x="714" y="10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" name="Freeform: Shape 45"/>
            <p:cNvSpPr/>
            <p:nvPr/>
          </p:nvSpPr>
          <p:spPr>
            <a:xfrm>
              <a:off x="5728466" y="1956015"/>
              <a:ext cx="29399" cy="3512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" name="Straight Connector 57"/>
            <p:cNvSpPr/>
            <p:nvPr/>
          </p:nvSpPr>
          <p:spPr>
            <a:xfrm>
              <a:off x="5051152" y="2304217"/>
              <a:ext cx="7937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" name="Straight Connector 58"/>
            <p:cNvSpPr/>
            <p:nvPr/>
          </p:nvSpPr>
          <p:spPr>
            <a:xfrm>
              <a:off x="5167601" y="2337815"/>
              <a:ext cx="0" cy="5421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0" name="Straight Connector 59"/>
            <p:cNvSpPr/>
            <p:nvPr/>
          </p:nvSpPr>
          <p:spPr>
            <a:xfrm>
              <a:off x="5229071" y="2335143"/>
              <a:ext cx="45548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1" name="Straight Connector 60"/>
            <p:cNvSpPr/>
            <p:nvPr/>
          </p:nvSpPr>
          <p:spPr>
            <a:xfrm>
              <a:off x="5366519" y="2379431"/>
              <a:ext cx="16646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2" name="Straight Connector 61"/>
            <p:cNvSpPr/>
            <p:nvPr/>
          </p:nvSpPr>
          <p:spPr>
            <a:xfrm>
              <a:off x="5413099" y="2407685"/>
              <a:ext cx="8017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3" name="Straight Connector 62"/>
            <p:cNvSpPr/>
            <p:nvPr/>
          </p:nvSpPr>
          <p:spPr>
            <a:xfrm>
              <a:off x="7335463" y="2432502"/>
              <a:ext cx="16646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4" name="Straight Connector 63"/>
            <p:cNvSpPr/>
            <p:nvPr/>
          </p:nvSpPr>
          <p:spPr>
            <a:xfrm>
              <a:off x="7382044" y="2461137"/>
              <a:ext cx="8017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5" name="Straight Connector 64"/>
            <p:cNvSpPr/>
            <p:nvPr/>
          </p:nvSpPr>
          <p:spPr>
            <a:xfrm>
              <a:off x="7582107" y="2402721"/>
              <a:ext cx="4008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6" name="Straight Connector 65"/>
            <p:cNvSpPr/>
            <p:nvPr/>
          </p:nvSpPr>
          <p:spPr>
            <a:xfrm>
              <a:off x="5837279" y="2329797"/>
              <a:ext cx="0" cy="805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7" name="Straight Connector 66"/>
            <p:cNvSpPr/>
            <p:nvPr/>
          </p:nvSpPr>
          <p:spPr>
            <a:xfrm flipH="1">
              <a:off x="5862096" y="2340106"/>
              <a:ext cx="36347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8" name="Straight Connector 67"/>
            <p:cNvSpPr/>
            <p:nvPr/>
          </p:nvSpPr>
          <p:spPr>
            <a:xfrm flipV="1">
              <a:off x="5862096" y="2218312"/>
              <a:ext cx="0" cy="4581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9" name="Freeform: Shape 57"/>
            <p:cNvSpPr/>
            <p:nvPr/>
          </p:nvSpPr>
          <p:spPr>
            <a:xfrm>
              <a:off x="5902185" y="2277109"/>
              <a:ext cx="303913" cy="423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7" h="112">
                  <a:moveTo>
                    <a:pt x="399" y="112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797" y="0"/>
                  </a:lnTo>
                  <a:lnTo>
                    <a:pt x="797" y="11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0" name="Freeform: Shape 58"/>
            <p:cNvSpPr/>
            <p:nvPr/>
          </p:nvSpPr>
          <p:spPr>
            <a:xfrm>
              <a:off x="5998781" y="1627666"/>
              <a:ext cx="83996" cy="59064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1" h="1548" fill="none">
                  <a:moveTo>
                    <a:pt x="0" y="1421"/>
                  </a:moveTo>
                  <a:lnTo>
                    <a:pt x="0" y="0"/>
                  </a:lnTo>
                  <a:lnTo>
                    <a:pt x="221" y="0"/>
                  </a:lnTo>
                  <a:lnTo>
                    <a:pt x="221" y="154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1" name="Freeform: Shape 59"/>
            <p:cNvSpPr/>
            <p:nvPr/>
          </p:nvSpPr>
          <p:spPr>
            <a:xfrm>
              <a:off x="6051086" y="1503962"/>
              <a:ext cx="285969" cy="73343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50" h="1922" fill="none">
                  <a:moveTo>
                    <a:pt x="0" y="1839"/>
                  </a:moveTo>
                  <a:lnTo>
                    <a:pt x="0" y="0"/>
                  </a:lnTo>
                  <a:lnTo>
                    <a:pt x="276" y="0"/>
                  </a:lnTo>
                  <a:lnTo>
                    <a:pt x="276" y="1922"/>
                  </a:lnTo>
                  <a:lnTo>
                    <a:pt x="750" y="1922"/>
                  </a:lnTo>
                  <a:lnTo>
                    <a:pt x="550" y="1831"/>
                  </a:lnTo>
                  <a:lnTo>
                    <a:pt x="407" y="183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2" name="Freeform: Shape 60"/>
            <p:cNvSpPr/>
            <p:nvPr/>
          </p:nvSpPr>
          <p:spPr>
            <a:xfrm>
              <a:off x="6083159" y="1555888"/>
              <a:ext cx="104995" cy="66242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6" h="1736" fill="none">
                  <a:moveTo>
                    <a:pt x="276" y="1736"/>
                  </a:moveTo>
                  <a:lnTo>
                    <a:pt x="276" y="0"/>
                  </a:lnTo>
                  <a:lnTo>
                    <a:pt x="0" y="0"/>
                  </a:lnTo>
                  <a:lnTo>
                    <a:pt x="0" y="19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3" name="Straight Connector 72"/>
            <p:cNvSpPr/>
            <p:nvPr/>
          </p:nvSpPr>
          <p:spPr>
            <a:xfrm>
              <a:off x="6210680" y="1979305"/>
              <a:ext cx="3054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4" name="Straight Connector 73"/>
            <p:cNvSpPr/>
            <p:nvPr/>
          </p:nvSpPr>
          <p:spPr>
            <a:xfrm>
              <a:off x="6224043" y="2021303"/>
              <a:ext cx="0" cy="2138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5" name="Freeform: Shape 63"/>
            <p:cNvSpPr/>
            <p:nvPr/>
          </p:nvSpPr>
          <p:spPr>
            <a:xfrm>
              <a:off x="6261078" y="1471892"/>
              <a:ext cx="76360" cy="73076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1" h="1915" fill="none">
                  <a:moveTo>
                    <a:pt x="0" y="1915"/>
                  </a:moveTo>
                  <a:lnTo>
                    <a:pt x="0" y="617"/>
                  </a:lnTo>
                  <a:lnTo>
                    <a:pt x="201" y="474"/>
                  </a:lnTo>
                  <a:lnTo>
                    <a:pt x="95" y="474"/>
                  </a:lnTo>
                  <a:lnTo>
                    <a:pt x="95" y="0"/>
                  </a:lnTo>
                  <a:lnTo>
                    <a:pt x="20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6" name="Freeform: Shape 64"/>
            <p:cNvSpPr/>
            <p:nvPr/>
          </p:nvSpPr>
          <p:spPr>
            <a:xfrm>
              <a:off x="6337819" y="1130562"/>
              <a:ext cx="112249" cy="115380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5" h="3023" fill="none">
                  <a:moveTo>
                    <a:pt x="0" y="3023"/>
                  </a:moveTo>
                  <a:lnTo>
                    <a:pt x="0" y="503"/>
                  </a:lnTo>
                  <a:lnTo>
                    <a:pt x="198" y="306"/>
                  </a:lnTo>
                  <a:lnTo>
                    <a:pt x="198" y="0"/>
                  </a:lnTo>
                  <a:lnTo>
                    <a:pt x="295" y="190"/>
                  </a:lnTo>
                  <a:lnTo>
                    <a:pt x="295" y="89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7" name="Straight Connector 76"/>
            <p:cNvSpPr/>
            <p:nvPr/>
          </p:nvSpPr>
          <p:spPr>
            <a:xfrm>
              <a:off x="6359582" y="1332153"/>
              <a:ext cx="0" cy="95335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8" name="Freeform: Shape 66"/>
            <p:cNvSpPr/>
            <p:nvPr/>
          </p:nvSpPr>
          <p:spPr>
            <a:xfrm>
              <a:off x="6337819" y="1413858"/>
              <a:ext cx="161883" cy="87126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5" h="2283" fill="none">
                  <a:moveTo>
                    <a:pt x="0" y="2283"/>
                  </a:moveTo>
                  <a:lnTo>
                    <a:pt x="138" y="2283"/>
                  </a:lnTo>
                  <a:lnTo>
                    <a:pt x="138" y="356"/>
                  </a:lnTo>
                  <a:lnTo>
                    <a:pt x="425" y="70"/>
                  </a:lnTo>
                  <a:lnTo>
                    <a:pt x="295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9" name="Freeform: Shape 67"/>
            <p:cNvSpPr/>
            <p:nvPr/>
          </p:nvSpPr>
          <p:spPr>
            <a:xfrm>
              <a:off x="6450449" y="1387132"/>
              <a:ext cx="113395" cy="73114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916" fill="none">
                  <a:moveTo>
                    <a:pt x="0" y="0"/>
                  </a:moveTo>
                  <a:lnTo>
                    <a:pt x="200" y="106"/>
                  </a:lnTo>
                  <a:lnTo>
                    <a:pt x="200" y="1916"/>
                  </a:lnTo>
                  <a:lnTo>
                    <a:pt x="298" y="1916"/>
                  </a:lnTo>
                  <a:lnTo>
                    <a:pt x="298" y="654"/>
                  </a:lnTo>
                  <a:lnTo>
                    <a:pt x="207" y="58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0" name="Straight Connector 79"/>
            <p:cNvSpPr/>
            <p:nvPr/>
          </p:nvSpPr>
          <p:spPr>
            <a:xfrm>
              <a:off x="6492449" y="1513126"/>
              <a:ext cx="0" cy="5853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1" name="Freeform: Shape 69"/>
            <p:cNvSpPr/>
            <p:nvPr/>
          </p:nvSpPr>
          <p:spPr>
            <a:xfrm>
              <a:off x="6447777" y="2136225"/>
              <a:ext cx="400127" cy="14661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49" h="385" fill="none">
                  <a:moveTo>
                    <a:pt x="0" y="385"/>
                  </a:moveTo>
                  <a:lnTo>
                    <a:pt x="0" y="0"/>
                  </a:lnTo>
                  <a:lnTo>
                    <a:pt x="437" y="0"/>
                  </a:lnTo>
                  <a:lnTo>
                    <a:pt x="437" y="335"/>
                  </a:lnTo>
                  <a:lnTo>
                    <a:pt x="512" y="335"/>
                  </a:lnTo>
                  <a:lnTo>
                    <a:pt x="512" y="0"/>
                  </a:lnTo>
                  <a:lnTo>
                    <a:pt x="793" y="0"/>
                  </a:lnTo>
                  <a:lnTo>
                    <a:pt x="793" y="344"/>
                  </a:lnTo>
                  <a:lnTo>
                    <a:pt x="1049" y="34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2" name="Straight Connector 81"/>
            <p:cNvSpPr/>
            <p:nvPr/>
          </p:nvSpPr>
          <p:spPr>
            <a:xfrm>
              <a:off x="6323311" y="2317198"/>
              <a:ext cx="19662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3" name="Straight Connector 82"/>
            <p:cNvSpPr/>
            <p:nvPr/>
          </p:nvSpPr>
          <p:spPr>
            <a:xfrm>
              <a:off x="6304985" y="2329797"/>
              <a:ext cx="0" cy="5994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4" name="Straight Connector 83"/>
            <p:cNvSpPr/>
            <p:nvPr/>
          </p:nvSpPr>
          <p:spPr>
            <a:xfrm>
              <a:off x="6579880" y="1944179"/>
              <a:ext cx="794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5" name="Straight Connector 84"/>
            <p:cNvSpPr/>
            <p:nvPr/>
          </p:nvSpPr>
          <p:spPr>
            <a:xfrm>
              <a:off x="6602406" y="1886909"/>
              <a:ext cx="0" cy="5727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6" name="Straight Connector 85"/>
            <p:cNvSpPr/>
            <p:nvPr/>
          </p:nvSpPr>
          <p:spPr>
            <a:xfrm>
              <a:off x="6626461" y="1886909"/>
              <a:ext cx="0" cy="5727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" name="Freeform: Shape 75"/>
            <p:cNvSpPr/>
            <p:nvPr/>
          </p:nvSpPr>
          <p:spPr>
            <a:xfrm>
              <a:off x="6602406" y="2021303"/>
              <a:ext cx="40471" cy="9125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7" h="240">
                  <a:moveTo>
                    <a:pt x="54" y="240"/>
                  </a:moveTo>
                  <a:lnTo>
                    <a:pt x="0" y="240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2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8" name="Freeform: Shape 76"/>
            <p:cNvSpPr/>
            <p:nvPr/>
          </p:nvSpPr>
          <p:spPr>
            <a:xfrm>
              <a:off x="6487102" y="2255346"/>
              <a:ext cx="77124" cy="3168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3" h="84">
                  <a:moveTo>
                    <a:pt x="101" y="84"/>
                  </a:moveTo>
                  <a:lnTo>
                    <a:pt x="0" y="84"/>
                  </a:lnTo>
                  <a:lnTo>
                    <a:pt x="0" y="0"/>
                  </a:lnTo>
                  <a:lnTo>
                    <a:pt x="203" y="0"/>
                  </a:lnTo>
                  <a:lnTo>
                    <a:pt x="203" y="8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9" name="Freeform: Shape 77"/>
            <p:cNvSpPr/>
            <p:nvPr/>
          </p:nvSpPr>
          <p:spPr>
            <a:xfrm>
              <a:off x="6636006" y="2283218"/>
              <a:ext cx="179064" cy="4428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70" h="117">
                  <a:moveTo>
                    <a:pt x="235" y="117"/>
                  </a:moveTo>
                  <a:lnTo>
                    <a:pt x="0" y="117"/>
                  </a:lnTo>
                  <a:lnTo>
                    <a:pt x="0" y="0"/>
                  </a:lnTo>
                  <a:lnTo>
                    <a:pt x="470" y="0"/>
                  </a:lnTo>
                  <a:lnTo>
                    <a:pt x="470" y="11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0" name="Freeform: Shape 78"/>
            <p:cNvSpPr/>
            <p:nvPr/>
          </p:nvSpPr>
          <p:spPr>
            <a:xfrm>
              <a:off x="6282840" y="2106062"/>
              <a:ext cx="54597" cy="9048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4" h="238" fill="none">
                  <a:moveTo>
                    <a:pt x="144" y="238"/>
                  </a:moveTo>
                  <a:lnTo>
                    <a:pt x="0" y="238"/>
                  </a:lnTo>
                  <a:lnTo>
                    <a:pt x="0" y="0"/>
                  </a:lnTo>
                  <a:lnTo>
                    <a:pt x="144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1" name="Straight Connector 90"/>
            <p:cNvSpPr/>
            <p:nvPr/>
          </p:nvSpPr>
          <p:spPr>
            <a:xfrm>
              <a:off x="6277113" y="1714717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2" name="Straight Connector 91"/>
            <p:cNvSpPr/>
            <p:nvPr/>
          </p:nvSpPr>
          <p:spPr>
            <a:xfrm>
              <a:off x="6277113" y="1745261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3" name="Straight Connector 92"/>
            <p:cNvSpPr/>
            <p:nvPr/>
          </p:nvSpPr>
          <p:spPr>
            <a:xfrm>
              <a:off x="6277113" y="1775805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4" name="Straight Connector 93"/>
            <p:cNvSpPr/>
            <p:nvPr/>
          </p:nvSpPr>
          <p:spPr>
            <a:xfrm>
              <a:off x="6277113" y="1805967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5" name="Straight Connector 94"/>
            <p:cNvSpPr/>
            <p:nvPr/>
          </p:nvSpPr>
          <p:spPr>
            <a:xfrm>
              <a:off x="6277113" y="1836511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6" name="Straight Connector 95"/>
            <p:cNvSpPr/>
            <p:nvPr/>
          </p:nvSpPr>
          <p:spPr>
            <a:xfrm>
              <a:off x="6277113" y="1867055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7" name="Straight Connector 96"/>
            <p:cNvSpPr/>
            <p:nvPr/>
          </p:nvSpPr>
          <p:spPr>
            <a:xfrm>
              <a:off x="6277113" y="1897599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8" name="Straight Connector 97"/>
            <p:cNvSpPr/>
            <p:nvPr/>
          </p:nvSpPr>
          <p:spPr>
            <a:xfrm>
              <a:off x="6277113" y="1928143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9" name="Straight Connector 98"/>
            <p:cNvSpPr/>
            <p:nvPr/>
          </p:nvSpPr>
          <p:spPr>
            <a:xfrm>
              <a:off x="6277113" y="1958687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0" name="Straight Connector 99"/>
            <p:cNvSpPr/>
            <p:nvPr/>
          </p:nvSpPr>
          <p:spPr>
            <a:xfrm>
              <a:off x="6277113" y="1989613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1" name="Straight Connector 100"/>
            <p:cNvSpPr/>
            <p:nvPr/>
          </p:nvSpPr>
          <p:spPr>
            <a:xfrm>
              <a:off x="6277113" y="2019775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2" name="Straight Connector 101"/>
            <p:cNvSpPr/>
            <p:nvPr/>
          </p:nvSpPr>
          <p:spPr>
            <a:xfrm>
              <a:off x="6277113" y="2050319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3" name="Straight Connector 102"/>
            <p:cNvSpPr/>
            <p:nvPr/>
          </p:nvSpPr>
          <p:spPr>
            <a:xfrm>
              <a:off x="6529483" y="1636830"/>
              <a:ext cx="3474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4" name="Straight Connector 103"/>
            <p:cNvSpPr/>
            <p:nvPr/>
          </p:nvSpPr>
          <p:spPr>
            <a:xfrm>
              <a:off x="6736801" y="2353469"/>
              <a:ext cx="22029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5" name="Straight Connector 104"/>
            <p:cNvSpPr/>
            <p:nvPr/>
          </p:nvSpPr>
          <p:spPr>
            <a:xfrm>
              <a:off x="6880358" y="2279400"/>
              <a:ext cx="26573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6" name="Freeform: Shape 94"/>
            <p:cNvSpPr/>
            <p:nvPr/>
          </p:nvSpPr>
          <p:spPr>
            <a:xfrm>
              <a:off x="6659295" y="1445929"/>
              <a:ext cx="302768" cy="78536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4" h="2058">
                  <a:moveTo>
                    <a:pt x="0" y="1774"/>
                  </a:moveTo>
                  <a:lnTo>
                    <a:pt x="0" y="0"/>
                  </a:lnTo>
                  <a:lnTo>
                    <a:pt x="541" y="0"/>
                  </a:lnTo>
                  <a:lnTo>
                    <a:pt x="794" y="1518"/>
                  </a:lnTo>
                  <a:lnTo>
                    <a:pt x="655" y="1518"/>
                  </a:lnTo>
                  <a:lnTo>
                    <a:pt x="655" y="1746"/>
                  </a:lnTo>
                  <a:lnTo>
                    <a:pt x="541" y="1746"/>
                  </a:lnTo>
                  <a:lnTo>
                    <a:pt x="541" y="2058"/>
                  </a:lnTo>
                  <a:lnTo>
                    <a:pt x="456" y="2058"/>
                  </a:lnTo>
                  <a:lnTo>
                    <a:pt x="158" y="78"/>
                  </a:lnTo>
                  <a:lnTo>
                    <a:pt x="77" y="78"/>
                  </a:lnTo>
                  <a:lnTo>
                    <a:pt x="77" y="177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7" name="Freeform: Shape 95"/>
            <p:cNvSpPr/>
            <p:nvPr/>
          </p:nvSpPr>
          <p:spPr>
            <a:xfrm>
              <a:off x="6926937" y="2010994"/>
              <a:ext cx="335603" cy="2256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0" h="592" fill="none">
                  <a:moveTo>
                    <a:pt x="0" y="85"/>
                  </a:moveTo>
                  <a:lnTo>
                    <a:pt x="275" y="85"/>
                  </a:lnTo>
                  <a:lnTo>
                    <a:pt x="275" y="0"/>
                  </a:lnTo>
                  <a:lnTo>
                    <a:pt x="412" y="0"/>
                  </a:lnTo>
                  <a:lnTo>
                    <a:pt x="412" y="209"/>
                  </a:lnTo>
                  <a:lnTo>
                    <a:pt x="582" y="209"/>
                  </a:lnTo>
                  <a:lnTo>
                    <a:pt x="582" y="592"/>
                  </a:lnTo>
                  <a:lnTo>
                    <a:pt x="880" y="59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8" name="Straight Connector 107"/>
            <p:cNvSpPr/>
            <p:nvPr/>
          </p:nvSpPr>
          <p:spPr>
            <a:xfrm>
              <a:off x="7010934" y="2337815"/>
              <a:ext cx="54826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9" name="Freeform: Shape 97"/>
            <p:cNvSpPr/>
            <p:nvPr/>
          </p:nvSpPr>
          <p:spPr>
            <a:xfrm>
              <a:off x="6930755" y="2066355"/>
              <a:ext cx="57270" cy="1867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490">
                  <a:moveTo>
                    <a:pt x="76" y="490"/>
                  </a:moveTo>
                  <a:lnTo>
                    <a:pt x="0" y="490"/>
                  </a:lnTo>
                  <a:lnTo>
                    <a:pt x="0" y="0"/>
                  </a:lnTo>
                  <a:lnTo>
                    <a:pt x="151" y="0"/>
                  </a:lnTo>
                  <a:lnTo>
                    <a:pt x="151" y="49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0" name="Freeform: Shape 98"/>
            <p:cNvSpPr/>
            <p:nvPr/>
          </p:nvSpPr>
          <p:spPr>
            <a:xfrm>
              <a:off x="7018570" y="2194640"/>
              <a:ext cx="111104" cy="2596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2" h="69">
                  <a:moveTo>
                    <a:pt x="146" y="69"/>
                  </a:moveTo>
                  <a:lnTo>
                    <a:pt x="0" y="69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292" y="6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1" name="Straight Connector 110"/>
            <p:cNvSpPr/>
            <p:nvPr/>
          </p:nvSpPr>
          <p:spPr>
            <a:xfrm>
              <a:off x="6957099" y="1882326"/>
              <a:ext cx="0" cy="332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2" name="Freeform: Shape 100"/>
            <p:cNvSpPr/>
            <p:nvPr/>
          </p:nvSpPr>
          <p:spPr>
            <a:xfrm>
              <a:off x="6977334" y="1437912"/>
              <a:ext cx="255043" cy="73611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69" h="1929">
                  <a:moveTo>
                    <a:pt x="4" y="1419"/>
                  </a:moveTo>
                  <a:cubicBezTo>
                    <a:pt x="4" y="1419"/>
                    <a:pt x="-63" y="664"/>
                    <a:pt x="337" y="0"/>
                  </a:cubicBezTo>
                  <a:cubicBezTo>
                    <a:pt x="337" y="0"/>
                    <a:pt x="845" y="812"/>
                    <a:pt x="603" y="192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3" name="Freeform: Shape 101"/>
            <p:cNvSpPr/>
            <p:nvPr/>
          </p:nvSpPr>
          <p:spPr>
            <a:xfrm>
              <a:off x="7071639" y="1514654"/>
              <a:ext cx="105377" cy="12179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7" h="320">
                  <a:moveTo>
                    <a:pt x="0" y="0"/>
                  </a:moveTo>
                  <a:cubicBezTo>
                    <a:pt x="0" y="0"/>
                    <a:pt x="103" y="215"/>
                    <a:pt x="277" y="32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4" name="Freeform: Shape 102"/>
            <p:cNvSpPr/>
            <p:nvPr/>
          </p:nvSpPr>
          <p:spPr>
            <a:xfrm>
              <a:off x="7054077" y="1597504"/>
              <a:ext cx="134776" cy="152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0" y="0"/>
                  </a:moveTo>
                  <a:cubicBezTo>
                    <a:pt x="0" y="0"/>
                    <a:pt x="132" y="269"/>
                    <a:pt x="354" y="40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5" name="Freeform: Shape 103"/>
            <p:cNvSpPr/>
            <p:nvPr/>
          </p:nvSpPr>
          <p:spPr>
            <a:xfrm>
              <a:off x="7036514" y="1681118"/>
              <a:ext cx="158447" cy="17868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0" y="0"/>
                  </a:moveTo>
                  <a:cubicBezTo>
                    <a:pt x="0" y="0"/>
                    <a:pt x="155" y="315"/>
                    <a:pt x="416" y="46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6" name="Freeform: Shape 104"/>
            <p:cNvSpPr/>
            <p:nvPr/>
          </p:nvSpPr>
          <p:spPr>
            <a:xfrm>
              <a:off x="7018570" y="1763206"/>
              <a:ext cx="185937" cy="20693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8" h="543">
                  <a:moveTo>
                    <a:pt x="0" y="0"/>
                  </a:moveTo>
                  <a:cubicBezTo>
                    <a:pt x="0" y="0"/>
                    <a:pt x="181" y="365"/>
                    <a:pt x="488" y="5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7" name="Freeform: Shape 105"/>
            <p:cNvSpPr/>
            <p:nvPr/>
          </p:nvSpPr>
          <p:spPr>
            <a:xfrm>
              <a:off x="7001007" y="1847583"/>
              <a:ext cx="206172" cy="23098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41" h="606">
                  <a:moveTo>
                    <a:pt x="0" y="0"/>
                  </a:moveTo>
                  <a:cubicBezTo>
                    <a:pt x="0" y="0"/>
                    <a:pt x="202" y="407"/>
                    <a:pt x="541" y="606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8" name="Freeform: Shape 106"/>
            <p:cNvSpPr/>
            <p:nvPr/>
          </p:nvSpPr>
          <p:spPr>
            <a:xfrm>
              <a:off x="7033841" y="1522290"/>
              <a:ext cx="105759" cy="12217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321">
                  <a:moveTo>
                    <a:pt x="278" y="0"/>
                  </a:moveTo>
                  <a:cubicBezTo>
                    <a:pt x="278" y="0"/>
                    <a:pt x="174" y="216"/>
                    <a:pt x="0" y="32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9" name="Freeform: Shape 107"/>
            <p:cNvSpPr/>
            <p:nvPr/>
          </p:nvSpPr>
          <p:spPr>
            <a:xfrm>
              <a:off x="7022005" y="1605140"/>
              <a:ext cx="134776" cy="152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354" y="0"/>
                  </a:moveTo>
                  <a:cubicBezTo>
                    <a:pt x="354" y="0"/>
                    <a:pt x="222" y="270"/>
                    <a:pt x="0" y="40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0" name="Freeform: Shape 108"/>
            <p:cNvSpPr/>
            <p:nvPr/>
          </p:nvSpPr>
          <p:spPr>
            <a:xfrm>
              <a:off x="7015897" y="1689135"/>
              <a:ext cx="158447" cy="17868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416" y="0"/>
                  </a:moveTo>
                  <a:cubicBezTo>
                    <a:pt x="416" y="0"/>
                    <a:pt x="261" y="315"/>
                    <a:pt x="0" y="46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1" name="Freeform: Shape 109"/>
            <p:cNvSpPr/>
            <p:nvPr/>
          </p:nvSpPr>
          <p:spPr>
            <a:xfrm>
              <a:off x="7006733" y="1770842"/>
              <a:ext cx="185555" cy="20693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7" h="543">
                  <a:moveTo>
                    <a:pt x="487" y="0"/>
                  </a:moveTo>
                  <a:cubicBezTo>
                    <a:pt x="487" y="0"/>
                    <a:pt x="306" y="365"/>
                    <a:pt x="0" y="5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2" name="Freeform: Shape 110"/>
            <p:cNvSpPr/>
            <p:nvPr/>
          </p:nvSpPr>
          <p:spPr>
            <a:xfrm>
              <a:off x="7097983" y="1855601"/>
              <a:ext cx="111868" cy="15577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4" h="409">
                  <a:moveTo>
                    <a:pt x="294" y="0"/>
                  </a:moveTo>
                  <a:cubicBezTo>
                    <a:pt x="294" y="0"/>
                    <a:pt x="188" y="215"/>
                    <a:pt x="0" y="40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3" name="Freeform: Shape 111"/>
            <p:cNvSpPr/>
            <p:nvPr/>
          </p:nvSpPr>
          <p:spPr>
            <a:xfrm>
              <a:off x="7289647" y="1637211"/>
              <a:ext cx="247407" cy="59102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49" h="1549">
                  <a:moveTo>
                    <a:pt x="67" y="1549"/>
                  </a:moveTo>
                  <a:cubicBezTo>
                    <a:pt x="67" y="1549"/>
                    <a:pt x="-71" y="262"/>
                    <a:pt x="48" y="48"/>
                  </a:cubicBezTo>
                  <a:cubicBezTo>
                    <a:pt x="48" y="48"/>
                    <a:pt x="366" y="-69"/>
                    <a:pt x="605" y="61"/>
                  </a:cubicBezTo>
                  <a:cubicBezTo>
                    <a:pt x="605" y="61"/>
                    <a:pt x="723" y="431"/>
                    <a:pt x="573" y="1548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4" name="Freeform: Shape 112"/>
            <p:cNvSpPr/>
            <p:nvPr/>
          </p:nvSpPr>
          <p:spPr>
            <a:xfrm>
              <a:off x="7251467" y="1601322"/>
              <a:ext cx="57270" cy="62042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1626">
                  <a:moveTo>
                    <a:pt x="79" y="1626"/>
                  </a:moveTo>
                  <a:cubicBezTo>
                    <a:pt x="79" y="1626"/>
                    <a:pt x="-95" y="347"/>
                    <a:pt x="73" y="0"/>
                  </a:cubicBezTo>
                  <a:lnTo>
                    <a:pt x="151" y="11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5" name="Freeform: Shape 113"/>
            <p:cNvSpPr/>
            <p:nvPr/>
          </p:nvSpPr>
          <p:spPr>
            <a:xfrm>
              <a:off x="7288120" y="1574214"/>
              <a:ext cx="267642" cy="54253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2" h="1422">
                  <a:moveTo>
                    <a:pt x="0" y="47"/>
                  </a:moveTo>
                  <a:cubicBezTo>
                    <a:pt x="0" y="47"/>
                    <a:pt x="380" y="-73"/>
                    <a:pt x="608" y="71"/>
                  </a:cubicBezTo>
                  <a:cubicBezTo>
                    <a:pt x="608" y="71"/>
                    <a:pt x="782" y="185"/>
                    <a:pt x="657" y="142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6" name="Straight Connector 125"/>
            <p:cNvSpPr/>
            <p:nvPr/>
          </p:nvSpPr>
          <p:spPr>
            <a:xfrm flipV="1">
              <a:off x="7315227" y="1687991"/>
              <a:ext cx="200064" cy="114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7" name="Straight Connector 126"/>
            <p:cNvSpPr/>
            <p:nvPr/>
          </p:nvSpPr>
          <p:spPr>
            <a:xfrm flipV="1">
              <a:off x="7316756" y="1717390"/>
              <a:ext cx="197009" cy="76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8" name="Straight Connector 127"/>
            <p:cNvSpPr/>
            <p:nvPr/>
          </p:nvSpPr>
          <p:spPr>
            <a:xfrm flipV="1">
              <a:off x="7318665" y="1746788"/>
              <a:ext cx="193573" cy="76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9" name="Straight Connector 128"/>
            <p:cNvSpPr/>
            <p:nvPr/>
          </p:nvSpPr>
          <p:spPr>
            <a:xfrm flipV="1">
              <a:off x="7320574" y="1776187"/>
              <a:ext cx="190137" cy="76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0" name="Straight Connector 129"/>
            <p:cNvSpPr/>
            <p:nvPr/>
          </p:nvSpPr>
          <p:spPr>
            <a:xfrm flipV="1">
              <a:off x="7322483" y="1805204"/>
              <a:ext cx="187082" cy="76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1" name="Straight Connector 130"/>
            <p:cNvSpPr/>
            <p:nvPr/>
          </p:nvSpPr>
          <p:spPr>
            <a:xfrm flipV="1">
              <a:off x="7324392" y="1834602"/>
              <a:ext cx="183646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2" name="Straight Connector 131"/>
            <p:cNvSpPr/>
            <p:nvPr/>
          </p:nvSpPr>
          <p:spPr>
            <a:xfrm flipV="1">
              <a:off x="7326301" y="1864001"/>
              <a:ext cx="180592" cy="76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3" name="Straight Connector 132"/>
            <p:cNvSpPr/>
            <p:nvPr/>
          </p:nvSpPr>
          <p:spPr>
            <a:xfrm flipV="1">
              <a:off x="7328210" y="1893400"/>
              <a:ext cx="176774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4" name="Straight Connector 133"/>
            <p:cNvSpPr/>
            <p:nvPr/>
          </p:nvSpPr>
          <p:spPr>
            <a:xfrm flipV="1">
              <a:off x="7329736" y="1922797"/>
              <a:ext cx="173719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5" name="Straight Connector 134"/>
            <p:cNvSpPr/>
            <p:nvPr/>
          </p:nvSpPr>
          <p:spPr>
            <a:xfrm flipV="1">
              <a:off x="7331645" y="1952197"/>
              <a:ext cx="170665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6" name="Straight Connector 135"/>
            <p:cNvSpPr/>
            <p:nvPr/>
          </p:nvSpPr>
          <p:spPr>
            <a:xfrm flipV="1">
              <a:off x="7333554" y="1981595"/>
              <a:ext cx="167230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7" name="Straight Connector 136"/>
            <p:cNvSpPr/>
            <p:nvPr/>
          </p:nvSpPr>
          <p:spPr>
            <a:xfrm>
              <a:off x="7335463" y="2010994"/>
              <a:ext cx="16417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8" name="Straight Connector 137"/>
            <p:cNvSpPr/>
            <p:nvPr/>
          </p:nvSpPr>
          <p:spPr>
            <a:xfrm flipV="1">
              <a:off x="7337372" y="2040392"/>
              <a:ext cx="160739" cy="38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9" name="Straight Connector 138"/>
            <p:cNvSpPr/>
            <p:nvPr/>
          </p:nvSpPr>
          <p:spPr>
            <a:xfrm>
              <a:off x="7339281" y="2069791"/>
              <a:ext cx="15730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0" name="Straight Connector 139"/>
            <p:cNvSpPr/>
            <p:nvPr/>
          </p:nvSpPr>
          <p:spPr>
            <a:xfrm>
              <a:off x="7340809" y="2099190"/>
              <a:ext cx="15424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1" name="Straight Connector 140"/>
            <p:cNvSpPr/>
            <p:nvPr/>
          </p:nvSpPr>
          <p:spPr>
            <a:xfrm>
              <a:off x="7342718" y="2128589"/>
              <a:ext cx="15119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2" name="Straight Connector 141"/>
            <p:cNvSpPr/>
            <p:nvPr/>
          </p:nvSpPr>
          <p:spPr>
            <a:xfrm>
              <a:off x="7344627" y="2157987"/>
              <a:ext cx="14775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3" name="Straight Connector 142"/>
            <p:cNvSpPr/>
            <p:nvPr/>
          </p:nvSpPr>
          <p:spPr>
            <a:xfrm>
              <a:off x="7346536" y="2187386"/>
              <a:ext cx="144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4" name="Straight Connector 143"/>
            <p:cNvSpPr/>
            <p:nvPr/>
          </p:nvSpPr>
          <p:spPr>
            <a:xfrm>
              <a:off x="7348062" y="2216784"/>
              <a:ext cx="14126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5" name="Straight Connector 144"/>
            <p:cNvSpPr/>
            <p:nvPr/>
          </p:nvSpPr>
          <p:spPr>
            <a:xfrm>
              <a:off x="7223977" y="2077809"/>
              <a:ext cx="416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6" name="Straight Connector 145"/>
            <p:cNvSpPr/>
            <p:nvPr/>
          </p:nvSpPr>
          <p:spPr>
            <a:xfrm>
              <a:off x="7242686" y="2133552"/>
              <a:ext cx="0" cy="6108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7" name="Straight Connector 146"/>
            <p:cNvSpPr/>
            <p:nvPr/>
          </p:nvSpPr>
          <p:spPr>
            <a:xfrm>
              <a:off x="7303775" y="2253437"/>
              <a:ext cx="1630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8" name="Straight Connector 147"/>
            <p:cNvSpPr/>
            <p:nvPr/>
          </p:nvSpPr>
          <p:spPr>
            <a:xfrm>
              <a:off x="7519110" y="2275964"/>
              <a:ext cx="496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9" name="Straight Connector 148"/>
            <p:cNvSpPr/>
            <p:nvPr/>
          </p:nvSpPr>
          <p:spPr>
            <a:xfrm>
              <a:off x="7666103" y="2284745"/>
              <a:ext cx="0" cy="8743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0" name="Straight Connector 149"/>
            <p:cNvSpPr/>
            <p:nvPr/>
          </p:nvSpPr>
          <p:spPr>
            <a:xfrm>
              <a:off x="7735973" y="2322543"/>
              <a:ext cx="6948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1" name="Straight Connector 150"/>
            <p:cNvSpPr/>
            <p:nvPr/>
          </p:nvSpPr>
          <p:spPr>
            <a:xfrm>
              <a:off x="7741318" y="2358432"/>
              <a:ext cx="5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2" name="Straight Connector 151"/>
            <p:cNvSpPr/>
            <p:nvPr/>
          </p:nvSpPr>
          <p:spPr>
            <a:xfrm>
              <a:off x="7529036" y="2119044"/>
              <a:ext cx="931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3" name="Straight Connector 152"/>
            <p:cNvSpPr/>
            <p:nvPr/>
          </p:nvSpPr>
          <p:spPr>
            <a:xfrm>
              <a:off x="7761935" y="2115225"/>
              <a:ext cx="542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4" name="Straight Connector 153"/>
            <p:cNvSpPr/>
            <p:nvPr/>
          </p:nvSpPr>
          <p:spPr>
            <a:xfrm>
              <a:off x="7795533" y="2074372"/>
              <a:ext cx="0" cy="4085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5" name="Straight Connector 154"/>
            <p:cNvSpPr/>
            <p:nvPr/>
          </p:nvSpPr>
          <p:spPr>
            <a:xfrm>
              <a:off x="7808515" y="2194640"/>
              <a:ext cx="0" cy="7368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6" name="Straight Connector 155"/>
            <p:cNvSpPr/>
            <p:nvPr/>
          </p:nvSpPr>
          <p:spPr>
            <a:xfrm>
              <a:off x="7606923" y="2040392"/>
              <a:ext cx="0" cy="5154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7" name="Straight Connector 156"/>
            <p:cNvSpPr/>
            <p:nvPr/>
          </p:nvSpPr>
          <p:spPr>
            <a:xfrm>
              <a:off x="7632505" y="2040774"/>
              <a:ext cx="0" cy="511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8" name="Straight Connector 157"/>
            <p:cNvSpPr/>
            <p:nvPr/>
          </p:nvSpPr>
          <p:spPr>
            <a:xfrm>
              <a:off x="7658466" y="2040774"/>
              <a:ext cx="0" cy="511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9" name="Straight Connector 158"/>
            <p:cNvSpPr/>
            <p:nvPr/>
          </p:nvSpPr>
          <p:spPr>
            <a:xfrm>
              <a:off x="7684430" y="2040774"/>
              <a:ext cx="0" cy="511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0" name="Straight Connector 159"/>
            <p:cNvSpPr/>
            <p:nvPr/>
          </p:nvSpPr>
          <p:spPr>
            <a:xfrm>
              <a:off x="7710392" y="2041156"/>
              <a:ext cx="0" cy="5077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1" name="Straight Connector 160"/>
            <p:cNvSpPr/>
            <p:nvPr/>
          </p:nvSpPr>
          <p:spPr>
            <a:xfrm>
              <a:off x="7735973" y="2041156"/>
              <a:ext cx="0" cy="5077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2" name="Straight Connector 161"/>
            <p:cNvSpPr/>
            <p:nvPr/>
          </p:nvSpPr>
          <p:spPr>
            <a:xfrm>
              <a:off x="7761935" y="2041538"/>
              <a:ext cx="0" cy="5039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3" name="Straight Connector 162"/>
            <p:cNvSpPr/>
            <p:nvPr/>
          </p:nvSpPr>
          <p:spPr>
            <a:xfrm>
              <a:off x="7587070" y="2148060"/>
              <a:ext cx="0" cy="10003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4" name="Straight Connector 163"/>
            <p:cNvSpPr/>
            <p:nvPr/>
          </p:nvSpPr>
          <p:spPr>
            <a:xfrm>
              <a:off x="7783698" y="2148060"/>
              <a:ext cx="0" cy="10003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5" name="Straight Connector 164"/>
            <p:cNvSpPr/>
            <p:nvPr/>
          </p:nvSpPr>
          <p:spPr>
            <a:xfrm>
              <a:off x="7595852" y="2014430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6" name="Freeform: Shape 154"/>
            <p:cNvSpPr/>
            <p:nvPr/>
          </p:nvSpPr>
          <p:spPr>
            <a:xfrm>
              <a:off x="7598524" y="1885764"/>
              <a:ext cx="170665" cy="10194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48" h="268">
                  <a:moveTo>
                    <a:pt x="448" y="268"/>
                  </a:moveTo>
                  <a:lnTo>
                    <a:pt x="0" y="268"/>
                  </a:lnTo>
                  <a:cubicBezTo>
                    <a:pt x="0" y="268"/>
                    <a:pt x="60" y="0"/>
                    <a:pt x="225" y="0"/>
                  </a:cubicBezTo>
                  <a:cubicBezTo>
                    <a:pt x="390" y="0"/>
                    <a:pt x="448" y="268"/>
                    <a:pt x="448" y="26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7" name="Straight Connector 166"/>
            <p:cNvSpPr/>
            <p:nvPr/>
          </p:nvSpPr>
          <p:spPr>
            <a:xfrm>
              <a:off x="7666103" y="1861328"/>
              <a:ext cx="3703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8" name="Straight Connector 167"/>
            <p:cNvSpPr/>
            <p:nvPr/>
          </p:nvSpPr>
          <p:spPr>
            <a:xfrm>
              <a:off x="7672594" y="1837275"/>
              <a:ext cx="255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9" name="Straight Connector 168"/>
            <p:cNvSpPr/>
            <p:nvPr/>
          </p:nvSpPr>
          <p:spPr>
            <a:xfrm>
              <a:off x="7685575" y="1759006"/>
              <a:ext cx="0" cy="465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0" name="Straight Connector 169"/>
            <p:cNvSpPr/>
            <p:nvPr/>
          </p:nvSpPr>
          <p:spPr>
            <a:xfrm>
              <a:off x="7650831" y="2232820"/>
              <a:ext cx="683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1" name="Straight Connector 170"/>
            <p:cNvSpPr/>
            <p:nvPr/>
          </p:nvSpPr>
          <p:spPr>
            <a:xfrm>
              <a:off x="7854331" y="2068263"/>
              <a:ext cx="763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2" name="Straight Connector 171"/>
            <p:cNvSpPr/>
            <p:nvPr/>
          </p:nvSpPr>
          <p:spPr>
            <a:xfrm>
              <a:off x="7840204" y="1966323"/>
              <a:ext cx="0" cy="9010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3" name="Straight Connector 172"/>
            <p:cNvSpPr/>
            <p:nvPr/>
          </p:nvSpPr>
          <p:spPr>
            <a:xfrm>
              <a:off x="7940999" y="1966323"/>
              <a:ext cx="0" cy="9010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4" name="Straight Connector 173"/>
            <p:cNvSpPr/>
            <p:nvPr/>
          </p:nvSpPr>
          <p:spPr>
            <a:xfrm>
              <a:off x="7845166" y="2079718"/>
              <a:ext cx="0" cy="229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5" name="Straight Connector 174"/>
            <p:cNvSpPr/>
            <p:nvPr/>
          </p:nvSpPr>
          <p:spPr>
            <a:xfrm>
              <a:off x="7868839" y="2079718"/>
              <a:ext cx="0" cy="229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6" name="Straight Connector 175"/>
            <p:cNvSpPr/>
            <p:nvPr/>
          </p:nvSpPr>
          <p:spPr>
            <a:xfrm>
              <a:off x="7892129" y="2079718"/>
              <a:ext cx="0" cy="229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7" name="Straight Connector 176"/>
            <p:cNvSpPr/>
            <p:nvPr/>
          </p:nvSpPr>
          <p:spPr>
            <a:xfrm>
              <a:off x="7915419" y="2079718"/>
              <a:ext cx="0" cy="229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8" name="Straight Connector 177"/>
            <p:cNvSpPr/>
            <p:nvPr/>
          </p:nvSpPr>
          <p:spPr>
            <a:xfrm>
              <a:off x="7938709" y="2079718"/>
              <a:ext cx="0" cy="229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9" name="Freeform: Shape 167"/>
            <p:cNvSpPr/>
            <p:nvPr/>
          </p:nvSpPr>
          <p:spPr>
            <a:xfrm>
              <a:off x="7836386" y="1858274"/>
              <a:ext cx="105759" cy="9086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239" fill="none">
                  <a:moveTo>
                    <a:pt x="0" y="239"/>
                  </a:moveTo>
                  <a:lnTo>
                    <a:pt x="72" y="123"/>
                  </a:lnTo>
                  <a:lnTo>
                    <a:pt x="72" y="0"/>
                  </a:lnTo>
                  <a:lnTo>
                    <a:pt x="204" y="0"/>
                  </a:lnTo>
                  <a:lnTo>
                    <a:pt x="204" y="119"/>
                  </a:lnTo>
                  <a:lnTo>
                    <a:pt x="278" y="2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0" name="Freeform: Shape 168"/>
            <p:cNvSpPr/>
            <p:nvPr/>
          </p:nvSpPr>
          <p:spPr>
            <a:xfrm>
              <a:off x="7867694" y="1990377"/>
              <a:ext cx="46580" cy="465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3" h="123">
                  <a:moveTo>
                    <a:pt x="123" y="61"/>
                  </a:moveTo>
                  <a:cubicBezTo>
                    <a:pt x="123" y="73"/>
                    <a:pt x="121" y="82"/>
                    <a:pt x="115" y="92"/>
                  </a:cubicBezTo>
                  <a:cubicBezTo>
                    <a:pt x="109" y="102"/>
                    <a:pt x="101" y="109"/>
                    <a:pt x="92" y="115"/>
                  </a:cubicBezTo>
                  <a:cubicBezTo>
                    <a:pt x="82" y="120"/>
                    <a:pt x="73" y="123"/>
                    <a:pt x="62" y="123"/>
                  </a:cubicBezTo>
                  <a:cubicBezTo>
                    <a:pt x="50" y="123"/>
                    <a:pt x="41" y="120"/>
                    <a:pt x="31" y="115"/>
                  </a:cubicBezTo>
                  <a:cubicBezTo>
                    <a:pt x="21" y="109"/>
                    <a:pt x="14" y="102"/>
                    <a:pt x="8" y="92"/>
                  </a:cubicBezTo>
                  <a:cubicBezTo>
                    <a:pt x="2" y="82"/>
                    <a:pt x="0" y="72"/>
                    <a:pt x="0" y="61"/>
                  </a:cubicBezTo>
                  <a:cubicBezTo>
                    <a:pt x="0" y="49"/>
                    <a:pt x="2" y="40"/>
                    <a:pt x="8" y="30"/>
                  </a:cubicBezTo>
                  <a:cubicBezTo>
                    <a:pt x="14" y="20"/>
                    <a:pt x="21" y="14"/>
                    <a:pt x="31" y="8"/>
                  </a:cubicBezTo>
                  <a:cubicBezTo>
                    <a:pt x="41" y="2"/>
                    <a:pt x="50" y="0"/>
                    <a:pt x="62" y="0"/>
                  </a:cubicBezTo>
                  <a:cubicBezTo>
                    <a:pt x="73" y="0"/>
                    <a:pt x="82" y="2"/>
                    <a:pt x="92" y="8"/>
                  </a:cubicBezTo>
                  <a:cubicBezTo>
                    <a:pt x="101" y="14"/>
                    <a:pt x="109" y="20"/>
                    <a:pt x="115" y="30"/>
                  </a:cubicBezTo>
                  <a:cubicBezTo>
                    <a:pt x="121" y="39"/>
                    <a:pt x="123" y="50"/>
                    <a:pt x="123" y="61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1" name="Straight Connector 180"/>
            <p:cNvSpPr/>
            <p:nvPr/>
          </p:nvSpPr>
          <p:spPr>
            <a:xfrm>
              <a:off x="7863112" y="1940743"/>
              <a:ext cx="538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2" name="Straight Connector 181"/>
            <p:cNvSpPr/>
            <p:nvPr/>
          </p:nvSpPr>
          <p:spPr>
            <a:xfrm>
              <a:off x="7863112" y="1959069"/>
              <a:ext cx="538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3" name="Straight Connector 182"/>
            <p:cNvSpPr/>
            <p:nvPr/>
          </p:nvSpPr>
          <p:spPr>
            <a:xfrm>
              <a:off x="7863876" y="1905235"/>
              <a:ext cx="507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4" name="Freeform: Shape 172"/>
            <p:cNvSpPr/>
            <p:nvPr/>
          </p:nvSpPr>
          <p:spPr>
            <a:xfrm>
              <a:off x="7863876" y="1818185"/>
              <a:ext cx="50016" cy="3970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2" h="105" fill="none">
                  <a:moveTo>
                    <a:pt x="0" y="105"/>
                  </a:moveTo>
                  <a:lnTo>
                    <a:pt x="67" y="0"/>
                  </a:lnTo>
                  <a:lnTo>
                    <a:pt x="132" y="10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5" name="Straight Connector 184"/>
            <p:cNvSpPr/>
            <p:nvPr/>
          </p:nvSpPr>
          <p:spPr>
            <a:xfrm>
              <a:off x="7890220" y="1873164"/>
              <a:ext cx="0" cy="217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6" name="Straight Connector 185"/>
            <p:cNvSpPr/>
            <p:nvPr/>
          </p:nvSpPr>
          <p:spPr>
            <a:xfrm flipV="1">
              <a:off x="7889456" y="1780005"/>
              <a:ext cx="0" cy="3856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7" name="Straight Connector 186"/>
            <p:cNvSpPr/>
            <p:nvPr/>
          </p:nvSpPr>
          <p:spPr>
            <a:xfrm>
              <a:off x="7983378" y="2125534"/>
              <a:ext cx="0" cy="8628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8" name="Straight Connector 187"/>
            <p:cNvSpPr/>
            <p:nvPr/>
          </p:nvSpPr>
          <p:spPr>
            <a:xfrm>
              <a:off x="7955890" y="2211821"/>
              <a:ext cx="538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9" name="Straight Connector 188"/>
            <p:cNvSpPr/>
            <p:nvPr/>
          </p:nvSpPr>
          <p:spPr>
            <a:xfrm>
              <a:off x="7879911" y="2358432"/>
              <a:ext cx="4394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0" name="Freeform: Shape 178"/>
            <p:cNvSpPr/>
            <p:nvPr/>
          </p:nvSpPr>
          <p:spPr>
            <a:xfrm>
              <a:off x="7996361" y="1052675"/>
              <a:ext cx="322621" cy="128704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46" h="3372" fill="none">
                  <a:moveTo>
                    <a:pt x="0" y="3372"/>
                  </a:moveTo>
                  <a:lnTo>
                    <a:pt x="348" y="0"/>
                  </a:lnTo>
                  <a:lnTo>
                    <a:pt x="408" y="169"/>
                  </a:lnTo>
                  <a:lnTo>
                    <a:pt x="468" y="0"/>
                  </a:lnTo>
                  <a:lnTo>
                    <a:pt x="846" y="336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1" name="Straight Connector 190"/>
            <p:cNvSpPr/>
            <p:nvPr/>
          </p:nvSpPr>
          <p:spPr>
            <a:xfrm>
              <a:off x="8157100" y="1147741"/>
              <a:ext cx="130534" cy="118358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2" name="Straight Connector 191"/>
            <p:cNvSpPr/>
            <p:nvPr/>
          </p:nvSpPr>
          <p:spPr>
            <a:xfrm>
              <a:off x="8301037" y="2174023"/>
              <a:ext cx="12866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3" name="Straight Connector 192"/>
            <p:cNvSpPr/>
            <p:nvPr/>
          </p:nvSpPr>
          <p:spPr>
            <a:xfrm>
              <a:off x="8352962" y="2248474"/>
              <a:ext cx="0" cy="11797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4" name="Straight Connector 193"/>
            <p:cNvSpPr/>
            <p:nvPr/>
          </p:nvSpPr>
          <p:spPr>
            <a:xfrm>
              <a:off x="9072656" y="2248474"/>
              <a:ext cx="0" cy="11797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5" name="Straight Connector 194"/>
            <p:cNvSpPr/>
            <p:nvPr/>
          </p:nvSpPr>
          <p:spPr>
            <a:xfrm>
              <a:off x="8526300" y="2358432"/>
              <a:ext cx="26611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6" name="Straight Connector 195"/>
            <p:cNvSpPr/>
            <p:nvPr/>
          </p:nvSpPr>
          <p:spPr>
            <a:xfrm>
              <a:off x="8577843" y="2389740"/>
              <a:ext cx="771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7" name="Straight Connector 196"/>
            <p:cNvSpPr/>
            <p:nvPr/>
          </p:nvSpPr>
          <p:spPr>
            <a:xfrm>
              <a:off x="8315164" y="2014812"/>
              <a:ext cx="67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8" name="Straight Connector 197"/>
            <p:cNvSpPr/>
            <p:nvPr/>
          </p:nvSpPr>
          <p:spPr>
            <a:xfrm>
              <a:off x="8476284" y="2014812"/>
              <a:ext cx="14966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9" name="Straight Connector 198"/>
            <p:cNvSpPr/>
            <p:nvPr/>
          </p:nvSpPr>
          <p:spPr>
            <a:xfrm>
              <a:off x="8385797" y="1918598"/>
              <a:ext cx="0" cy="20044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0" name="Freeform: Shape 188"/>
            <p:cNvSpPr/>
            <p:nvPr/>
          </p:nvSpPr>
          <p:spPr>
            <a:xfrm>
              <a:off x="8476284" y="1918598"/>
              <a:ext cx="353929" cy="32605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8" h="855" fill="none">
                  <a:moveTo>
                    <a:pt x="0" y="0"/>
                  </a:moveTo>
                  <a:lnTo>
                    <a:pt x="0" y="855"/>
                  </a:lnTo>
                  <a:lnTo>
                    <a:pt x="928" y="855"/>
                  </a:lnTo>
                  <a:lnTo>
                    <a:pt x="883" y="782"/>
                  </a:lnTo>
                  <a:lnTo>
                    <a:pt x="77" y="78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1" name="Straight Connector 200"/>
            <p:cNvSpPr/>
            <p:nvPr/>
          </p:nvSpPr>
          <p:spPr>
            <a:xfrm>
              <a:off x="8429704" y="1918598"/>
              <a:ext cx="0" cy="4467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2" name="Straight Connector 201"/>
            <p:cNvSpPr/>
            <p:nvPr/>
          </p:nvSpPr>
          <p:spPr>
            <a:xfrm>
              <a:off x="8429704" y="2011376"/>
              <a:ext cx="0" cy="1909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3" name="Straight Connector 202"/>
            <p:cNvSpPr/>
            <p:nvPr/>
          </p:nvSpPr>
          <p:spPr>
            <a:xfrm>
              <a:off x="8359835" y="1900272"/>
              <a:ext cx="14203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4" name="Freeform: Shape 192"/>
            <p:cNvSpPr/>
            <p:nvPr/>
          </p:nvSpPr>
          <p:spPr>
            <a:xfrm>
              <a:off x="8371289" y="1838420"/>
              <a:ext cx="113395" cy="4696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5" name="Straight Connector 204"/>
            <p:cNvSpPr/>
            <p:nvPr/>
          </p:nvSpPr>
          <p:spPr>
            <a:xfrm>
              <a:off x="8430849" y="1750606"/>
              <a:ext cx="0" cy="8819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7" name="Straight Connector 206"/>
            <p:cNvSpPr/>
            <p:nvPr/>
          </p:nvSpPr>
          <p:spPr>
            <a:xfrm>
              <a:off x="8629004" y="1918598"/>
              <a:ext cx="0" cy="20044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8" name="Straight Connector 207"/>
            <p:cNvSpPr/>
            <p:nvPr/>
          </p:nvSpPr>
          <p:spPr>
            <a:xfrm>
              <a:off x="8719491" y="1918598"/>
              <a:ext cx="0" cy="20044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9" name="Straight Connector 208"/>
            <p:cNvSpPr/>
            <p:nvPr/>
          </p:nvSpPr>
          <p:spPr>
            <a:xfrm>
              <a:off x="8673293" y="1918598"/>
              <a:ext cx="0" cy="4467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0" name="Straight Connector 209"/>
            <p:cNvSpPr/>
            <p:nvPr/>
          </p:nvSpPr>
          <p:spPr>
            <a:xfrm>
              <a:off x="8673293" y="2011376"/>
              <a:ext cx="0" cy="1909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1" name="Straight Connector 210"/>
            <p:cNvSpPr/>
            <p:nvPr/>
          </p:nvSpPr>
          <p:spPr>
            <a:xfrm>
              <a:off x="8603422" y="1900272"/>
              <a:ext cx="14203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2" name="Freeform: Shape 200"/>
            <p:cNvSpPr/>
            <p:nvPr/>
          </p:nvSpPr>
          <p:spPr>
            <a:xfrm>
              <a:off x="8614876" y="1838420"/>
              <a:ext cx="113395" cy="4696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3" name="Straight Connector 212"/>
            <p:cNvSpPr/>
            <p:nvPr/>
          </p:nvSpPr>
          <p:spPr>
            <a:xfrm>
              <a:off x="8674438" y="1750606"/>
              <a:ext cx="0" cy="8819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4" name="Freeform: Shape 202"/>
            <p:cNvSpPr/>
            <p:nvPr/>
          </p:nvSpPr>
          <p:spPr>
            <a:xfrm>
              <a:off x="8746217" y="2136606"/>
              <a:ext cx="45816" cy="3932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5" name="Freeform: Shape 203"/>
            <p:cNvSpPr/>
            <p:nvPr/>
          </p:nvSpPr>
          <p:spPr>
            <a:xfrm>
              <a:off x="8838612" y="2136606"/>
              <a:ext cx="45816" cy="3932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6" name="Freeform: Shape 204"/>
            <p:cNvSpPr/>
            <p:nvPr/>
          </p:nvSpPr>
          <p:spPr>
            <a:xfrm>
              <a:off x="8931008" y="2136606"/>
              <a:ext cx="45816" cy="3932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7" name="Freeform: Shape 205"/>
            <p:cNvSpPr/>
            <p:nvPr/>
          </p:nvSpPr>
          <p:spPr>
            <a:xfrm>
              <a:off x="9023403" y="2136606"/>
              <a:ext cx="45816" cy="3932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8" name="Freeform: Shape 206"/>
            <p:cNvSpPr/>
            <p:nvPr/>
          </p:nvSpPr>
          <p:spPr>
            <a:xfrm>
              <a:off x="8374725" y="2287418"/>
              <a:ext cx="200445" cy="500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9" name="Freeform: Shape 207"/>
            <p:cNvSpPr/>
            <p:nvPr/>
          </p:nvSpPr>
          <p:spPr>
            <a:xfrm>
              <a:off x="8614495" y="2287418"/>
              <a:ext cx="200063" cy="500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5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5" y="132"/>
                    <a:pt x="525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0" name="Freeform: Shape 208"/>
            <p:cNvSpPr/>
            <p:nvPr/>
          </p:nvSpPr>
          <p:spPr>
            <a:xfrm>
              <a:off x="8854266" y="2287418"/>
              <a:ext cx="200445" cy="500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3" y="0"/>
                    <a:pt x="277" y="0"/>
                  </a:cubicBezTo>
                  <a:cubicBezTo>
                    <a:pt x="491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1" name="Straight Connector 220"/>
            <p:cNvSpPr/>
            <p:nvPr/>
          </p:nvSpPr>
          <p:spPr>
            <a:xfrm>
              <a:off x="9112745" y="1956778"/>
              <a:ext cx="0" cy="5841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2" name="Straight Connector 221"/>
            <p:cNvSpPr/>
            <p:nvPr/>
          </p:nvSpPr>
          <p:spPr>
            <a:xfrm>
              <a:off x="0" y="2215257"/>
              <a:ext cx="1656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3" name="Straight Connector 222"/>
            <p:cNvSpPr/>
            <p:nvPr/>
          </p:nvSpPr>
          <p:spPr>
            <a:xfrm>
              <a:off x="53002" y="2248474"/>
              <a:ext cx="0" cy="1233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4" name="Straight Connector 223"/>
            <p:cNvSpPr/>
            <p:nvPr/>
          </p:nvSpPr>
          <p:spPr>
            <a:xfrm>
              <a:off x="201523" y="2145770"/>
              <a:ext cx="5681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5" name="Straight Connector 224"/>
            <p:cNvSpPr/>
            <p:nvPr/>
          </p:nvSpPr>
          <p:spPr>
            <a:xfrm>
              <a:off x="327899" y="2190822"/>
              <a:ext cx="30734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6" name="Straight Connector 225"/>
            <p:cNvSpPr/>
            <p:nvPr/>
          </p:nvSpPr>
          <p:spPr>
            <a:xfrm>
              <a:off x="425258" y="2233584"/>
              <a:ext cx="11301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7" name="Straight Connector 226"/>
            <p:cNvSpPr/>
            <p:nvPr/>
          </p:nvSpPr>
          <p:spPr>
            <a:xfrm>
              <a:off x="831112" y="2115988"/>
              <a:ext cx="0" cy="3474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8" name="Straight Connector 227"/>
            <p:cNvSpPr/>
            <p:nvPr/>
          </p:nvSpPr>
          <p:spPr>
            <a:xfrm>
              <a:off x="871201" y="2150733"/>
              <a:ext cx="3798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9" name="Freeform: Shape 226"/>
            <p:cNvSpPr/>
            <p:nvPr/>
          </p:nvSpPr>
          <p:spPr>
            <a:xfrm>
              <a:off x="918926" y="1782296"/>
              <a:ext cx="547883" cy="35011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36" h="918" fill="none">
                  <a:moveTo>
                    <a:pt x="0" y="918"/>
                  </a:moveTo>
                  <a:lnTo>
                    <a:pt x="718" y="0"/>
                  </a:lnTo>
                  <a:lnTo>
                    <a:pt x="1436" y="918"/>
                  </a:lnTo>
                  <a:lnTo>
                    <a:pt x="1436" y="75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0" name="Freeform: Shape 227"/>
            <p:cNvSpPr/>
            <p:nvPr/>
          </p:nvSpPr>
          <p:spPr>
            <a:xfrm>
              <a:off x="1501935" y="1459292"/>
              <a:ext cx="339039" cy="71434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9" h="1872" fill="none">
                  <a:moveTo>
                    <a:pt x="0" y="1872"/>
                  </a:moveTo>
                  <a:lnTo>
                    <a:pt x="0" y="0"/>
                  </a:lnTo>
                  <a:lnTo>
                    <a:pt x="889" y="0"/>
                  </a:lnTo>
                  <a:lnTo>
                    <a:pt x="889" y="142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1" name="Freeform: Shape 228"/>
            <p:cNvSpPr/>
            <p:nvPr/>
          </p:nvSpPr>
          <p:spPr>
            <a:xfrm>
              <a:off x="1702380" y="2028939"/>
              <a:ext cx="277951" cy="2172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29" h="570" fill="none">
                  <a:moveTo>
                    <a:pt x="0" y="570"/>
                  </a:moveTo>
                  <a:lnTo>
                    <a:pt x="0" y="0"/>
                  </a:lnTo>
                  <a:lnTo>
                    <a:pt x="729" y="0"/>
                  </a:lnTo>
                  <a:lnTo>
                    <a:pt x="729" y="56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2" name="Straight Connector 231"/>
            <p:cNvSpPr/>
            <p:nvPr/>
          </p:nvSpPr>
          <p:spPr>
            <a:xfrm>
              <a:off x="1879918" y="1983123"/>
              <a:ext cx="8437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3" name="Straight Connector 232"/>
            <p:cNvSpPr/>
            <p:nvPr/>
          </p:nvSpPr>
          <p:spPr>
            <a:xfrm>
              <a:off x="1905880" y="1931961"/>
              <a:ext cx="0" cy="2863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4" name="Straight Connector 233"/>
            <p:cNvSpPr/>
            <p:nvPr/>
          </p:nvSpPr>
          <p:spPr>
            <a:xfrm>
              <a:off x="1651219" y="1338262"/>
              <a:ext cx="423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5" name="Straight Connector 234"/>
            <p:cNvSpPr/>
            <p:nvPr/>
          </p:nvSpPr>
          <p:spPr>
            <a:xfrm>
              <a:off x="1620675" y="1375296"/>
              <a:ext cx="10308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6" name="Freeform: Shape 233"/>
            <p:cNvSpPr/>
            <p:nvPr/>
          </p:nvSpPr>
          <p:spPr>
            <a:xfrm>
              <a:off x="1597768" y="1403931"/>
              <a:ext cx="151575" cy="5497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98" h="145" fill="none">
                  <a:moveTo>
                    <a:pt x="0" y="145"/>
                  </a:moveTo>
                  <a:lnTo>
                    <a:pt x="0" y="0"/>
                  </a:lnTo>
                  <a:lnTo>
                    <a:pt x="398" y="0"/>
                  </a:lnTo>
                  <a:lnTo>
                    <a:pt x="398" y="14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7" name="Straight Connector 236"/>
            <p:cNvSpPr/>
            <p:nvPr/>
          </p:nvSpPr>
          <p:spPr>
            <a:xfrm>
              <a:off x="1588604" y="2263364"/>
              <a:ext cx="19777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8" name="Straight Connector 237"/>
            <p:cNvSpPr/>
            <p:nvPr/>
          </p:nvSpPr>
          <p:spPr>
            <a:xfrm flipV="1">
              <a:off x="1895190" y="2072081"/>
              <a:ext cx="0" cy="16799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9" name="Straight Connector 238"/>
            <p:cNvSpPr/>
            <p:nvPr/>
          </p:nvSpPr>
          <p:spPr>
            <a:xfrm flipV="1">
              <a:off x="2037983" y="1520762"/>
              <a:ext cx="0" cy="52803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0" name="Straight Connector 239"/>
            <p:cNvSpPr/>
            <p:nvPr/>
          </p:nvSpPr>
          <p:spPr>
            <a:xfrm flipV="1">
              <a:off x="2169323" y="1520762"/>
              <a:ext cx="0" cy="52803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1" name="Freeform: Shape 238"/>
            <p:cNvSpPr/>
            <p:nvPr/>
          </p:nvSpPr>
          <p:spPr>
            <a:xfrm>
              <a:off x="2044475" y="1496708"/>
              <a:ext cx="116831" cy="3588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95" fill="none">
                  <a:moveTo>
                    <a:pt x="0" y="95"/>
                  </a:moveTo>
                  <a:lnTo>
                    <a:pt x="155" y="0"/>
                  </a:lnTo>
                  <a:lnTo>
                    <a:pt x="307" y="9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2" name="Straight Connector 241"/>
            <p:cNvSpPr/>
            <p:nvPr/>
          </p:nvSpPr>
          <p:spPr>
            <a:xfrm flipV="1">
              <a:off x="2103653" y="1382169"/>
              <a:ext cx="0" cy="1145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3" name="Freeform: Shape 240"/>
            <p:cNvSpPr/>
            <p:nvPr/>
          </p:nvSpPr>
          <p:spPr>
            <a:xfrm>
              <a:off x="2074254" y="1557033"/>
              <a:ext cx="58034" cy="3207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3" h="85">
                  <a:moveTo>
                    <a:pt x="76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153" y="0"/>
                  </a:lnTo>
                  <a:lnTo>
                    <a:pt x="153" y="8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4" name="Freeform: Shape 241"/>
            <p:cNvSpPr/>
            <p:nvPr/>
          </p:nvSpPr>
          <p:spPr>
            <a:xfrm>
              <a:off x="2058982" y="1619649"/>
              <a:ext cx="87050" cy="1641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9" h="44">
                  <a:moveTo>
                    <a:pt x="115" y="44"/>
                  </a:moveTo>
                  <a:lnTo>
                    <a:pt x="0" y="44"/>
                  </a:lnTo>
                  <a:lnTo>
                    <a:pt x="0" y="0"/>
                  </a:lnTo>
                  <a:lnTo>
                    <a:pt x="229" y="0"/>
                  </a:lnTo>
                  <a:lnTo>
                    <a:pt x="229" y="4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5" name="Freeform: Shape 242"/>
            <p:cNvSpPr/>
            <p:nvPr/>
          </p:nvSpPr>
          <p:spPr>
            <a:xfrm>
              <a:off x="2055546" y="1659738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6" name="Freeform: Shape 243"/>
            <p:cNvSpPr/>
            <p:nvPr/>
          </p:nvSpPr>
          <p:spPr>
            <a:xfrm>
              <a:off x="2055546" y="1691426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7" name="Freeform: Shape 244"/>
            <p:cNvSpPr/>
            <p:nvPr/>
          </p:nvSpPr>
          <p:spPr>
            <a:xfrm>
              <a:off x="2055546" y="1722735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8" name="Freeform: Shape 245"/>
            <p:cNvSpPr/>
            <p:nvPr/>
          </p:nvSpPr>
          <p:spPr>
            <a:xfrm>
              <a:off x="2055546" y="1754041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9" name="Freeform: Shape 246"/>
            <p:cNvSpPr/>
            <p:nvPr/>
          </p:nvSpPr>
          <p:spPr>
            <a:xfrm>
              <a:off x="2055546" y="1785350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0" name="Freeform: Shape 247"/>
            <p:cNvSpPr/>
            <p:nvPr/>
          </p:nvSpPr>
          <p:spPr>
            <a:xfrm>
              <a:off x="2055546" y="1816658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1" name="Freeform: Shape 248"/>
            <p:cNvSpPr/>
            <p:nvPr/>
          </p:nvSpPr>
          <p:spPr>
            <a:xfrm>
              <a:off x="2055546" y="1847965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2" name="Freeform: Shape 249"/>
            <p:cNvSpPr/>
            <p:nvPr/>
          </p:nvSpPr>
          <p:spPr>
            <a:xfrm>
              <a:off x="2055546" y="1879655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3" name="Freeform: Shape 250"/>
            <p:cNvSpPr/>
            <p:nvPr/>
          </p:nvSpPr>
          <p:spPr>
            <a:xfrm>
              <a:off x="2055546" y="1910962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4" name="Freeform: Shape 251"/>
            <p:cNvSpPr/>
            <p:nvPr/>
          </p:nvSpPr>
          <p:spPr>
            <a:xfrm>
              <a:off x="2055546" y="1942269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5" name="Freeform: Shape 252"/>
            <p:cNvSpPr/>
            <p:nvPr/>
          </p:nvSpPr>
          <p:spPr>
            <a:xfrm>
              <a:off x="2055546" y="1973959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6" name="Freeform: Shape 253"/>
            <p:cNvSpPr/>
            <p:nvPr/>
          </p:nvSpPr>
          <p:spPr>
            <a:xfrm>
              <a:off x="2055546" y="2005649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7" name="Freeform: Shape 254"/>
            <p:cNvSpPr/>
            <p:nvPr/>
          </p:nvSpPr>
          <p:spPr>
            <a:xfrm>
              <a:off x="2055546" y="2036956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8" name="Freeform: Shape 255"/>
            <p:cNvSpPr/>
            <p:nvPr/>
          </p:nvSpPr>
          <p:spPr>
            <a:xfrm>
              <a:off x="2186122" y="1738389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9" name="Freeform: Shape 256"/>
            <p:cNvSpPr/>
            <p:nvPr/>
          </p:nvSpPr>
          <p:spPr>
            <a:xfrm>
              <a:off x="2186122" y="1759769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0" name="Freeform: Shape 257"/>
            <p:cNvSpPr/>
            <p:nvPr/>
          </p:nvSpPr>
          <p:spPr>
            <a:xfrm>
              <a:off x="2186122" y="1780768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1" name="Freeform: Shape 258"/>
            <p:cNvSpPr/>
            <p:nvPr/>
          </p:nvSpPr>
          <p:spPr>
            <a:xfrm>
              <a:off x="2186122" y="1802149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2" name="Freeform: Shape 259"/>
            <p:cNvSpPr/>
            <p:nvPr/>
          </p:nvSpPr>
          <p:spPr>
            <a:xfrm>
              <a:off x="2186122" y="1823530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3" name="Freeform: Shape 260"/>
            <p:cNvSpPr/>
            <p:nvPr/>
          </p:nvSpPr>
          <p:spPr>
            <a:xfrm>
              <a:off x="2186122" y="1844911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4" name="Freeform: Shape 261"/>
            <p:cNvSpPr/>
            <p:nvPr/>
          </p:nvSpPr>
          <p:spPr>
            <a:xfrm>
              <a:off x="2186122" y="1866292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5" name="Freeform: Shape 262"/>
            <p:cNvSpPr/>
            <p:nvPr/>
          </p:nvSpPr>
          <p:spPr>
            <a:xfrm>
              <a:off x="2186122" y="1888054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6" name="Freeform: Shape 263"/>
            <p:cNvSpPr/>
            <p:nvPr/>
          </p:nvSpPr>
          <p:spPr>
            <a:xfrm>
              <a:off x="2186122" y="1909053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7" name="Freeform: Shape 264"/>
            <p:cNvSpPr/>
            <p:nvPr/>
          </p:nvSpPr>
          <p:spPr>
            <a:xfrm>
              <a:off x="2186122" y="1930434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8" name="Freeform: Shape 265"/>
            <p:cNvSpPr/>
            <p:nvPr/>
          </p:nvSpPr>
          <p:spPr>
            <a:xfrm>
              <a:off x="2186122" y="1951815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9" name="Freeform: Shape 266"/>
            <p:cNvSpPr/>
            <p:nvPr/>
          </p:nvSpPr>
          <p:spPr>
            <a:xfrm>
              <a:off x="2186122" y="1973196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0" name="Freeform: Shape 267"/>
            <p:cNvSpPr/>
            <p:nvPr/>
          </p:nvSpPr>
          <p:spPr>
            <a:xfrm>
              <a:off x="2186122" y="1994577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1" name="Freeform: Shape 268"/>
            <p:cNvSpPr/>
            <p:nvPr/>
          </p:nvSpPr>
          <p:spPr>
            <a:xfrm>
              <a:off x="2186122" y="2015957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2" name="Freeform: Shape 269"/>
            <p:cNvSpPr/>
            <p:nvPr/>
          </p:nvSpPr>
          <p:spPr>
            <a:xfrm>
              <a:off x="2186122" y="2037719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3" name="Straight Connector 272"/>
            <p:cNvSpPr/>
            <p:nvPr/>
          </p:nvSpPr>
          <p:spPr>
            <a:xfrm>
              <a:off x="2348770" y="1733807"/>
              <a:ext cx="0" cy="30887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4" name="Freeform: Shape 271"/>
            <p:cNvSpPr/>
            <p:nvPr/>
          </p:nvSpPr>
          <p:spPr>
            <a:xfrm>
              <a:off x="2077308" y="2059865"/>
              <a:ext cx="652497" cy="10614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10" h="279" fill="none">
                  <a:moveTo>
                    <a:pt x="0" y="0"/>
                  </a:moveTo>
                  <a:lnTo>
                    <a:pt x="1034" y="0"/>
                  </a:lnTo>
                  <a:lnTo>
                    <a:pt x="1034" y="170"/>
                  </a:lnTo>
                  <a:lnTo>
                    <a:pt x="1710" y="170"/>
                  </a:lnTo>
                  <a:lnTo>
                    <a:pt x="1710" y="27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5" name="Freeform: Shape 272"/>
            <p:cNvSpPr/>
            <p:nvPr/>
          </p:nvSpPr>
          <p:spPr>
            <a:xfrm>
              <a:off x="2465599" y="2177077"/>
              <a:ext cx="483740" cy="5230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68" h="138" fill="none">
                  <a:moveTo>
                    <a:pt x="0" y="0"/>
                  </a:moveTo>
                  <a:lnTo>
                    <a:pt x="491" y="0"/>
                  </a:lnTo>
                  <a:lnTo>
                    <a:pt x="491" y="138"/>
                  </a:lnTo>
                  <a:lnTo>
                    <a:pt x="1268" y="13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6" name="Straight Connector 275"/>
            <p:cNvSpPr/>
            <p:nvPr/>
          </p:nvSpPr>
          <p:spPr>
            <a:xfrm>
              <a:off x="2000185" y="1907908"/>
              <a:ext cx="0" cy="14470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7" name="Straight Connector 276"/>
            <p:cNvSpPr/>
            <p:nvPr/>
          </p:nvSpPr>
          <p:spPr>
            <a:xfrm>
              <a:off x="2018129" y="1907908"/>
              <a:ext cx="0" cy="14470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8" name="Freeform: Shape 275"/>
            <p:cNvSpPr/>
            <p:nvPr/>
          </p:nvSpPr>
          <p:spPr>
            <a:xfrm>
              <a:off x="2025765" y="2113317"/>
              <a:ext cx="190137" cy="101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99" h="267" fill="none">
                  <a:moveTo>
                    <a:pt x="0" y="267"/>
                  </a:moveTo>
                  <a:lnTo>
                    <a:pt x="0" y="0"/>
                  </a:lnTo>
                  <a:lnTo>
                    <a:pt x="499" y="0"/>
                  </a:lnTo>
                  <a:lnTo>
                    <a:pt x="499" y="26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9" name="Freeform: Shape 276"/>
            <p:cNvSpPr/>
            <p:nvPr/>
          </p:nvSpPr>
          <p:spPr>
            <a:xfrm>
              <a:off x="2055546" y="2140043"/>
              <a:ext cx="103086" cy="263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1" h="70">
                  <a:moveTo>
                    <a:pt x="135" y="70"/>
                  </a:moveTo>
                  <a:lnTo>
                    <a:pt x="0" y="70"/>
                  </a:lnTo>
                  <a:lnTo>
                    <a:pt x="0" y="0"/>
                  </a:lnTo>
                  <a:lnTo>
                    <a:pt x="271" y="0"/>
                  </a:lnTo>
                  <a:lnTo>
                    <a:pt x="271" y="7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0" name="Freeform: Shape 277"/>
            <p:cNvSpPr/>
            <p:nvPr/>
          </p:nvSpPr>
          <p:spPr>
            <a:xfrm>
              <a:off x="2300280" y="2078572"/>
              <a:ext cx="146611" cy="2405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85" h="64">
                  <a:moveTo>
                    <a:pt x="192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385" y="0"/>
                  </a:lnTo>
                  <a:lnTo>
                    <a:pt x="385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1" name="Freeform: Shape 278"/>
            <p:cNvSpPr/>
            <p:nvPr/>
          </p:nvSpPr>
          <p:spPr>
            <a:xfrm>
              <a:off x="2519433" y="2066355"/>
              <a:ext cx="88960" cy="2405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4" h="64">
                  <a:moveTo>
                    <a:pt x="117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234" y="0"/>
                  </a:lnTo>
                  <a:lnTo>
                    <a:pt x="234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2" name="Freeform: Shape 279"/>
            <p:cNvSpPr/>
            <p:nvPr/>
          </p:nvSpPr>
          <p:spPr>
            <a:xfrm>
              <a:off x="2746986" y="2060246"/>
              <a:ext cx="82469" cy="5536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7" h="146">
                  <a:moveTo>
                    <a:pt x="109" y="146"/>
                  </a:moveTo>
                  <a:lnTo>
                    <a:pt x="0" y="146"/>
                  </a:lnTo>
                  <a:lnTo>
                    <a:pt x="0" y="0"/>
                  </a:lnTo>
                  <a:lnTo>
                    <a:pt x="217" y="0"/>
                  </a:lnTo>
                  <a:lnTo>
                    <a:pt x="217" y="14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3" name="Freeform: Shape 280"/>
            <p:cNvSpPr/>
            <p:nvPr/>
          </p:nvSpPr>
          <p:spPr>
            <a:xfrm>
              <a:off x="2763022" y="2147297"/>
              <a:ext cx="31308" cy="5345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3" h="141">
                  <a:moveTo>
                    <a:pt x="42" y="141"/>
                  </a:moveTo>
                  <a:lnTo>
                    <a:pt x="0" y="141"/>
                  </a:lnTo>
                  <a:lnTo>
                    <a:pt x="0" y="0"/>
                  </a:lnTo>
                  <a:lnTo>
                    <a:pt x="83" y="0"/>
                  </a:lnTo>
                  <a:lnTo>
                    <a:pt x="83" y="141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4" name="Freeform: Shape 281"/>
            <p:cNvSpPr/>
            <p:nvPr/>
          </p:nvSpPr>
          <p:spPr>
            <a:xfrm>
              <a:off x="2415965" y="1897981"/>
              <a:ext cx="60324" cy="1985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9" h="53">
                  <a:moveTo>
                    <a:pt x="80" y="53"/>
                  </a:moveTo>
                  <a:lnTo>
                    <a:pt x="0" y="53"/>
                  </a:lnTo>
                  <a:lnTo>
                    <a:pt x="0" y="0"/>
                  </a:lnTo>
                  <a:lnTo>
                    <a:pt x="159" y="0"/>
                  </a:lnTo>
                  <a:lnTo>
                    <a:pt x="159" y="5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5" name="Freeform: Shape 282"/>
            <p:cNvSpPr/>
            <p:nvPr/>
          </p:nvSpPr>
          <p:spPr>
            <a:xfrm>
              <a:off x="2396876" y="1879655"/>
              <a:ext cx="137066" cy="16035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0" h="421" fill="none">
                  <a:moveTo>
                    <a:pt x="0" y="421"/>
                  </a:moveTo>
                  <a:lnTo>
                    <a:pt x="0" y="0"/>
                  </a:lnTo>
                  <a:lnTo>
                    <a:pt x="360" y="0"/>
                  </a:lnTo>
                  <a:lnTo>
                    <a:pt x="360" y="42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6" name="Freeform: Shape 283"/>
            <p:cNvSpPr/>
            <p:nvPr/>
          </p:nvSpPr>
          <p:spPr>
            <a:xfrm>
              <a:off x="1424430" y="1971287"/>
              <a:ext cx="42380" cy="6147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" h="162">
                  <a:moveTo>
                    <a:pt x="56" y="162"/>
                  </a:moveTo>
                  <a:lnTo>
                    <a:pt x="0" y="162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16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7" name="Freeform: Shape 284"/>
            <p:cNvSpPr/>
            <p:nvPr/>
          </p:nvSpPr>
          <p:spPr>
            <a:xfrm>
              <a:off x="1396177" y="2175168"/>
              <a:ext cx="74069" cy="2443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95" h="65">
                  <a:moveTo>
                    <a:pt x="98" y="65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195" y="0"/>
                  </a:lnTo>
                  <a:lnTo>
                    <a:pt x="195" y="6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8" name="Freeform: Shape 285"/>
            <p:cNvSpPr/>
            <p:nvPr/>
          </p:nvSpPr>
          <p:spPr>
            <a:xfrm>
              <a:off x="3682016" y="2012521"/>
              <a:ext cx="34362" cy="6299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1" h="166">
                  <a:moveTo>
                    <a:pt x="46" y="166"/>
                  </a:moveTo>
                  <a:lnTo>
                    <a:pt x="0" y="166"/>
                  </a:lnTo>
                  <a:lnTo>
                    <a:pt x="0" y="0"/>
                  </a:lnTo>
                  <a:lnTo>
                    <a:pt x="91" y="0"/>
                  </a:lnTo>
                  <a:lnTo>
                    <a:pt x="91" y="16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9" name="Freeform: Shape 286"/>
            <p:cNvSpPr/>
            <p:nvPr/>
          </p:nvSpPr>
          <p:spPr>
            <a:xfrm>
              <a:off x="3733942" y="2120189"/>
              <a:ext cx="59561" cy="2252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7" h="60">
                  <a:moveTo>
                    <a:pt x="79" y="60"/>
                  </a:moveTo>
                  <a:lnTo>
                    <a:pt x="0" y="60"/>
                  </a:lnTo>
                  <a:lnTo>
                    <a:pt x="0" y="0"/>
                  </a:lnTo>
                  <a:lnTo>
                    <a:pt x="157" y="0"/>
                  </a:lnTo>
                  <a:lnTo>
                    <a:pt x="157" y="6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0" name="Freeform: Shape 287"/>
            <p:cNvSpPr/>
            <p:nvPr/>
          </p:nvSpPr>
          <p:spPr>
            <a:xfrm>
              <a:off x="3845809" y="2051083"/>
              <a:ext cx="160356" cy="500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1" h="132">
                  <a:moveTo>
                    <a:pt x="211" y="132"/>
                  </a:moveTo>
                  <a:lnTo>
                    <a:pt x="0" y="132"/>
                  </a:lnTo>
                  <a:lnTo>
                    <a:pt x="0" y="0"/>
                  </a:lnTo>
                  <a:lnTo>
                    <a:pt x="421" y="0"/>
                  </a:lnTo>
                  <a:lnTo>
                    <a:pt x="421" y="13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1" name="Straight Connector 290"/>
            <p:cNvSpPr/>
            <p:nvPr/>
          </p:nvSpPr>
          <p:spPr>
            <a:xfrm>
              <a:off x="2187267" y="1657447"/>
              <a:ext cx="500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2" name="Straight Connector 291"/>
            <p:cNvSpPr/>
            <p:nvPr/>
          </p:nvSpPr>
          <p:spPr>
            <a:xfrm>
              <a:off x="2187267" y="1683409"/>
              <a:ext cx="500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3" name="Straight Connector 292"/>
            <p:cNvSpPr/>
            <p:nvPr/>
          </p:nvSpPr>
          <p:spPr>
            <a:xfrm>
              <a:off x="2187267" y="1709754"/>
              <a:ext cx="500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4" name="Straight Connector 293"/>
            <p:cNvSpPr/>
            <p:nvPr/>
          </p:nvSpPr>
          <p:spPr>
            <a:xfrm>
              <a:off x="2202158" y="1608958"/>
              <a:ext cx="0" cy="2863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5" name="Straight Connector 294"/>
            <p:cNvSpPr/>
            <p:nvPr/>
          </p:nvSpPr>
          <p:spPr>
            <a:xfrm>
              <a:off x="2591976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6" name="Straight Connector 295"/>
            <p:cNvSpPr/>
            <p:nvPr/>
          </p:nvSpPr>
          <p:spPr>
            <a:xfrm>
              <a:off x="2614120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7" name="Straight Connector 296"/>
            <p:cNvSpPr/>
            <p:nvPr/>
          </p:nvSpPr>
          <p:spPr>
            <a:xfrm>
              <a:off x="2636264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8" name="Straight Connector 297"/>
            <p:cNvSpPr/>
            <p:nvPr/>
          </p:nvSpPr>
          <p:spPr>
            <a:xfrm>
              <a:off x="2658409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9" name="Straight Connector 298"/>
            <p:cNvSpPr/>
            <p:nvPr/>
          </p:nvSpPr>
          <p:spPr>
            <a:xfrm>
              <a:off x="2680553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0" name="Straight Connector 299"/>
            <p:cNvSpPr/>
            <p:nvPr/>
          </p:nvSpPr>
          <p:spPr>
            <a:xfrm>
              <a:off x="2702699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1" name="Straight Connector 300"/>
            <p:cNvSpPr/>
            <p:nvPr/>
          </p:nvSpPr>
          <p:spPr>
            <a:xfrm>
              <a:off x="2725224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2" name="Straight Connector 301"/>
            <p:cNvSpPr/>
            <p:nvPr/>
          </p:nvSpPr>
          <p:spPr>
            <a:xfrm>
              <a:off x="2746986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3" name="Straight Connector 302"/>
            <p:cNvSpPr/>
            <p:nvPr/>
          </p:nvSpPr>
          <p:spPr>
            <a:xfrm>
              <a:off x="3479661" y="1681882"/>
              <a:ext cx="0" cy="48870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4" name="Straight Connector 303"/>
            <p:cNvSpPr/>
            <p:nvPr/>
          </p:nvSpPr>
          <p:spPr>
            <a:xfrm>
              <a:off x="3644981" y="1681882"/>
              <a:ext cx="0" cy="48870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5" name="Freeform: Shape 302"/>
            <p:cNvSpPr/>
            <p:nvPr/>
          </p:nvSpPr>
          <p:spPr>
            <a:xfrm>
              <a:off x="2571358" y="1523435"/>
              <a:ext cx="193573" cy="53032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08" h="1390" fill="none">
                  <a:moveTo>
                    <a:pt x="0" y="1390"/>
                  </a:moveTo>
                  <a:lnTo>
                    <a:pt x="0" y="0"/>
                  </a:lnTo>
                  <a:lnTo>
                    <a:pt x="508" y="0"/>
                  </a:lnTo>
                  <a:lnTo>
                    <a:pt x="508" y="138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6" name="Straight Connector 305"/>
            <p:cNvSpPr/>
            <p:nvPr/>
          </p:nvSpPr>
          <p:spPr>
            <a:xfrm>
              <a:off x="2559141" y="1494417"/>
              <a:ext cx="22106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7" name="Straight Connector 306"/>
            <p:cNvSpPr/>
            <p:nvPr/>
          </p:nvSpPr>
          <p:spPr>
            <a:xfrm>
              <a:off x="2816856" y="1931961"/>
              <a:ext cx="0" cy="5459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8" name="Straight Connector 307"/>
            <p:cNvSpPr/>
            <p:nvPr/>
          </p:nvSpPr>
          <p:spPr>
            <a:xfrm>
              <a:off x="2785930" y="1991904"/>
              <a:ext cx="6185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9" name="Straight Connector 308"/>
            <p:cNvSpPr/>
            <p:nvPr/>
          </p:nvSpPr>
          <p:spPr>
            <a:xfrm>
              <a:off x="3149786" y="2004885"/>
              <a:ext cx="10843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0" name="Straight Connector 309"/>
            <p:cNvSpPr/>
            <p:nvPr/>
          </p:nvSpPr>
          <p:spPr>
            <a:xfrm>
              <a:off x="3242945" y="1971287"/>
              <a:ext cx="0" cy="3092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1" name="Straight Connector 310"/>
            <p:cNvSpPr/>
            <p:nvPr/>
          </p:nvSpPr>
          <p:spPr>
            <a:xfrm>
              <a:off x="3350995" y="1997249"/>
              <a:ext cx="11606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2" name="Straight Connector 311"/>
            <p:cNvSpPr/>
            <p:nvPr/>
          </p:nvSpPr>
          <p:spPr>
            <a:xfrm>
              <a:off x="3410556" y="1935779"/>
              <a:ext cx="0" cy="4505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3" name="Straight Connector 312"/>
            <p:cNvSpPr/>
            <p:nvPr/>
          </p:nvSpPr>
          <p:spPr>
            <a:xfrm>
              <a:off x="3396047" y="2181659"/>
              <a:ext cx="0" cy="8552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4" name="Straight Connector 313"/>
            <p:cNvSpPr/>
            <p:nvPr/>
          </p:nvSpPr>
          <p:spPr>
            <a:xfrm>
              <a:off x="3504860" y="2236256"/>
              <a:ext cx="18593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5" name="Straight Connector 314"/>
            <p:cNvSpPr/>
            <p:nvPr/>
          </p:nvSpPr>
          <p:spPr>
            <a:xfrm>
              <a:off x="3496461" y="2143097"/>
              <a:ext cx="1317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6" name="Straight Connector 315"/>
            <p:cNvSpPr/>
            <p:nvPr/>
          </p:nvSpPr>
          <p:spPr>
            <a:xfrm>
              <a:off x="3496461" y="1983504"/>
              <a:ext cx="1317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7" name="Straight Connector 316"/>
            <p:cNvSpPr/>
            <p:nvPr/>
          </p:nvSpPr>
          <p:spPr>
            <a:xfrm>
              <a:off x="3496461" y="1827730"/>
              <a:ext cx="1317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8" name="Straight Connector 317"/>
            <p:cNvSpPr/>
            <p:nvPr/>
          </p:nvSpPr>
          <p:spPr>
            <a:xfrm>
              <a:off x="3516697" y="2004885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9" name="Straight Connector 318"/>
            <p:cNvSpPr/>
            <p:nvPr/>
          </p:nvSpPr>
          <p:spPr>
            <a:xfrm>
              <a:off x="3547241" y="2004885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0" name="Straight Connector 319"/>
            <p:cNvSpPr/>
            <p:nvPr/>
          </p:nvSpPr>
          <p:spPr>
            <a:xfrm>
              <a:off x="3577785" y="2004885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1" name="Straight Connector 320"/>
            <p:cNvSpPr/>
            <p:nvPr/>
          </p:nvSpPr>
          <p:spPr>
            <a:xfrm>
              <a:off x="3607946" y="2004885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2" name="Straight Connector 321"/>
            <p:cNvSpPr/>
            <p:nvPr/>
          </p:nvSpPr>
          <p:spPr>
            <a:xfrm>
              <a:off x="3516697" y="1847202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3" name="Straight Connector 322"/>
            <p:cNvSpPr/>
            <p:nvPr/>
          </p:nvSpPr>
          <p:spPr>
            <a:xfrm>
              <a:off x="3547241" y="1847202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4" name="Straight Connector 323"/>
            <p:cNvSpPr/>
            <p:nvPr/>
          </p:nvSpPr>
          <p:spPr>
            <a:xfrm>
              <a:off x="3577785" y="1847202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5" name="Straight Connector 324"/>
            <p:cNvSpPr/>
            <p:nvPr/>
          </p:nvSpPr>
          <p:spPr>
            <a:xfrm>
              <a:off x="3607946" y="1847202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6" name="Straight Connector 325"/>
            <p:cNvSpPr/>
            <p:nvPr/>
          </p:nvSpPr>
          <p:spPr>
            <a:xfrm>
              <a:off x="3516697" y="1693336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7" name="Straight Connector 326"/>
            <p:cNvSpPr/>
            <p:nvPr/>
          </p:nvSpPr>
          <p:spPr>
            <a:xfrm>
              <a:off x="3547241" y="1693336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8" name="Straight Connector 327"/>
            <p:cNvSpPr/>
            <p:nvPr/>
          </p:nvSpPr>
          <p:spPr>
            <a:xfrm>
              <a:off x="3577785" y="1693336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9" name="Straight Connector 328"/>
            <p:cNvSpPr/>
            <p:nvPr/>
          </p:nvSpPr>
          <p:spPr>
            <a:xfrm>
              <a:off x="3607946" y="1693336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0" name="Freeform: Shape 327"/>
            <p:cNvSpPr/>
            <p:nvPr/>
          </p:nvSpPr>
          <p:spPr>
            <a:xfrm>
              <a:off x="3489970" y="1584905"/>
              <a:ext cx="144321" cy="8285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79" h="218">
                  <a:moveTo>
                    <a:pt x="0" y="218"/>
                  </a:moveTo>
                  <a:lnTo>
                    <a:pt x="379" y="218"/>
                  </a:lnTo>
                  <a:lnTo>
                    <a:pt x="309" y="0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1" name="Freeform: Shape 328"/>
            <p:cNvSpPr/>
            <p:nvPr/>
          </p:nvSpPr>
          <p:spPr>
            <a:xfrm>
              <a:off x="2304861" y="2233584"/>
              <a:ext cx="1040406" cy="4199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26" h="111" fill="none">
                  <a:moveTo>
                    <a:pt x="0" y="90"/>
                  </a:moveTo>
                  <a:lnTo>
                    <a:pt x="190" y="0"/>
                  </a:lnTo>
                  <a:lnTo>
                    <a:pt x="782" y="0"/>
                  </a:lnTo>
                  <a:lnTo>
                    <a:pt x="782" y="111"/>
                  </a:lnTo>
                  <a:lnTo>
                    <a:pt x="2726" y="11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2" name="Freeform: Shape 329"/>
            <p:cNvSpPr/>
            <p:nvPr/>
          </p:nvSpPr>
          <p:spPr>
            <a:xfrm>
              <a:off x="2818001" y="2076664"/>
              <a:ext cx="439834" cy="11683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53" h="307" fill="none">
                  <a:moveTo>
                    <a:pt x="0" y="307"/>
                  </a:moveTo>
                  <a:lnTo>
                    <a:pt x="658" y="307"/>
                  </a:lnTo>
                  <a:lnTo>
                    <a:pt x="658" y="88"/>
                  </a:lnTo>
                  <a:lnTo>
                    <a:pt x="973" y="88"/>
                  </a:lnTo>
                  <a:lnTo>
                    <a:pt x="973" y="0"/>
                  </a:lnTo>
                  <a:lnTo>
                    <a:pt x="1153" y="0"/>
                  </a:lnTo>
                  <a:lnTo>
                    <a:pt x="1153" y="236"/>
                  </a:lnTo>
                  <a:lnTo>
                    <a:pt x="936" y="23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3" name="Freeform: Shape 330"/>
            <p:cNvSpPr/>
            <p:nvPr/>
          </p:nvSpPr>
          <p:spPr>
            <a:xfrm>
              <a:off x="3286089" y="2025502"/>
              <a:ext cx="59179" cy="4047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6" h="107" fill="none">
                  <a:moveTo>
                    <a:pt x="0" y="95"/>
                  </a:moveTo>
                  <a:lnTo>
                    <a:pt x="0" y="0"/>
                  </a:lnTo>
                  <a:lnTo>
                    <a:pt x="156" y="0"/>
                  </a:lnTo>
                  <a:lnTo>
                    <a:pt x="156" y="10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4" name="Freeform: Shape 331"/>
            <p:cNvSpPr/>
            <p:nvPr/>
          </p:nvSpPr>
          <p:spPr>
            <a:xfrm>
              <a:off x="3340686" y="2088118"/>
              <a:ext cx="101559" cy="416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7" h="110" fill="none">
                  <a:moveTo>
                    <a:pt x="267" y="0"/>
                  </a:moveTo>
                  <a:lnTo>
                    <a:pt x="0" y="0"/>
                  </a:lnTo>
                  <a:lnTo>
                    <a:pt x="0" y="110"/>
                  </a:lnTo>
                  <a:lnTo>
                    <a:pt x="267" y="11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5" name="Freeform: Shape 332"/>
            <p:cNvSpPr/>
            <p:nvPr/>
          </p:nvSpPr>
          <p:spPr>
            <a:xfrm>
              <a:off x="3753795" y="1663937"/>
              <a:ext cx="267260" cy="3913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1" h="1026">
                  <a:moveTo>
                    <a:pt x="0" y="1026"/>
                  </a:moveTo>
                  <a:lnTo>
                    <a:pt x="0" y="93"/>
                  </a:lnTo>
                  <a:cubicBezTo>
                    <a:pt x="0" y="93"/>
                    <a:pt x="-13" y="0"/>
                    <a:pt x="340" y="0"/>
                  </a:cubicBezTo>
                  <a:cubicBezTo>
                    <a:pt x="718" y="0"/>
                    <a:pt x="701" y="98"/>
                    <a:pt x="701" y="98"/>
                  </a:cubicBezTo>
                  <a:lnTo>
                    <a:pt x="701" y="1003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6" name="Straight Connector 335"/>
            <p:cNvSpPr/>
            <p:nvPr/>
          </p:nvSpPr>
          <p:spPr>
            <a:xfrm>
              <a:off x="3811064" y="2194640"/>
              <a:ext cx="855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7" name="Straight Connector 336"/>
            <p:cNvSpPr/>
            <p:nvPr/>
          </p:nvSpPr>
          <p:spPr>
            <a:xfrm>
              <a:off x="4035945" y="2167532"/>
              <a:ext cx="33178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8" name="Straight Connector 337"/>
            <p:cNvSpPr/>
            <p:nvPr/>
          </p:nvSpPr>
          <p:spPr>
            <a:xfrm>
              <a:off x="4386437" y="2143097"/>
              <a:ext cx="0" cy="11606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9" name="Freeform: Shape 336"/>
            <p:cNvSpPr/>
            <p:nvPr/>
          </p:nvSpPr>
          <p:spPr>
            <a:xfrm>
              <a:off x="4109633" y="2012521"/>
              <a:ext cx="442507" cy="18173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60" h="477" fill="none">
                  <a:moveTo>
                    <a:pt x="840" y="282"/>
                  </a:moveTo>
                  <a:lnTo>
                    <a:pt x="840" y="477"/>
                  </a:lnTo>
                  <a:lnTo>
                    <a:pt x="1160" y="477"/>
                  </a:lnTo>
                  <a:lnTo>
                    <a:pt x="1160" y="312"/>
                  </a:lnTo>
                  <a:lnTo>
                    <a:pt x="1020" y="312"/>
                  </a:lnTo>
                  <a:lnTo>
                    <a:pt x="1020" y="176"/>
                  </a:lnTo>
                  <a:lnTo>
                    <a:pt x="288" y="176"/>
                  </a:lnTo>
                  <a:lnTo>
                    <a:pt x="288" y="0"/>
                  </a:lnTo>
                  <a:lnTo>
                    <a:pt x="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0" name="Straight Connector 339"/>
            <p:cNvSpPr/>
            <p:nvPr/>
          </p:nvSpPr>
          <p:spPr>
            <a:xfrm>
              <a:off x="4306259" y="2036956"/>
              <a:ext cx="0" cy="4008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1" name="Straight Connector 340"/>
            <p:cNvSpPr/>
            <p:nvPr/>
          </p:nvSpPr>
          <p:spPr>
            <a:xfrm>
              <a:off x="3677052" y="1947615"/>
              <a:ext cx="0" cy="2787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2" name="Freeform: Shape 339"/>
            <p:cNvSpPr/>
            <p:nvPr/>
          </p:nvSpPr>
          <p:spPr>
            <a:xfrm>
              <a:off x="4048926" y="1718535"/>
              <a:ext cx="34744" cy="35812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" h="939">
                  <a:moveTo>
                    <a:pt x="46" y="939"/>
                  </a:moveTo>
                  <a:lnTo>
                    <a:pt x="0" y="939"/>
                  </a:lnTo>
                  <a:lnTo>
                    <a:pt x="0" y="0"/>
                  </a:lnTo>
                  <a:lnTo>
                    <a:pt x="92" y="0"/>
                  </a:lnTo>
                  <a:lnTo>
                    <a:pt x="92" y="93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3" name="Straight Connector 342"/>
            <p:cNvSpPr/>
            <p:nvPr/>
          </p:nvSpPr>
          <p:spPr>
            <a:xfrm>
              <a:off x="1571805" y="2359960"/>
              <a:ext cx="0" cy="76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4" name="Straight Connector 343"/>
            <p:cNvSpPr/>
            <p:nvPr/>
          </p:nvSpPr>
          <p:spPr>
            <a:xfrm>
              <a:off x="2744696" y="2373323"/>
              <a:ext cx="0" cy="6834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5" name="Freeform: Shape 342"/>
            <p:cNvSpPr/>
            <p:nvPr/>
          </p:nvSpPr>
          <p:spPr>
            <a:xfrm>
              <a:off x="667320" y="2189295"/>
              <a:ext cx="3895510" cy="11835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04" h="311">
                  <a:moveTo>
                    <a:pt x="10204" y="309"/>
                  </a:moveTo>
                  <a:lnTo>
                    <a:pt x="3216" y="309"/>
                  </a:lnTo>
                  <a:cubicBezTo>
                    <a:pt x="3216" y="309"/>
                    <a:pt x="0" y="336"/>
                    <a:pt x="0" y="129"/>
                  </a:cubicBezTo>
                  <a:cubicBezTo>
                    <a:pt x="0" y="-37"/>
                    <a:pt x="1652" y="4"/>
                    <a:pt x="1652" y="4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6" name="Freeform: Shape 343"/>
            <p:cNvSpPr/>
            <p:nvPr/>
          </p:nvSpPr>
          <p:spPr>
            <a:xfrm>
              <a:off x="848293" y="2215257"/>
              <a:ext cx="507413" cy="3283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30" h="87" fill="none">
                  <a:moveTo>
                    <a:pt x="0" y="87"/>
                  </a:moveTo>
                  <a:lnTo>
                    <a:pt x="248" y="0"/>
                  </a:lnTo>
                  <a:lnTo>
                    <a:pt x="133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7" name="Straight Connector 346"/>
            <p:cNvSpPr/>
            <p:nvPr/>
          </p:nvSpPr>
          <p:spPr>
            <a:xfrm>
              <a:off x="1028503" y="2339342"/>
              <a:ext cx="34285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8" name="Straight Connector 347"/>
            <p:cNvSpPr/>
            <p:nvPr/>
          </p:nvSpPr>
          <p:spPr>
            <a:xfrm>
              <a:off x="1158315" y="2387449"/>
              <a:ext cx="1099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9" name="Straight Connector 348"/>
            <p:cNvSpPr/>
            <p:nvPr/>
          </p:nvSpPr>
          <p:spPr>
            <a:xfrm>
              <a:off x="1654655" y="2338197"/>
              <a:ext cx="157454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0" name="Straight Connector 349"/>
            <p:cNvSpPr/>
            <p:nvPr/>
          </p:nvSpPr>
          <p:spPr>
            <a:xfrm>
              <a:off x="3315869" y="2353851"/>
              <a:ext cx="31307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1" name="Straight Connector 350"/>
            <p:cNvSpPr/>
            <p:nvPr/>
          </p:nvSpPr>
          <p:spPr>
            <a:xfrm>
              <a:off x="3481570" y="2396231"/>
              <a:ext cx="15844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2" name="Straight Connector 351"/>
            <p:cNvSpPr/>
            <p:nvPr/>
          </p:nvSpPr>
          <p:spPr>
            <a:xfrm>
              <a:off x="3950803" y="2339342"/>
              <a:ext cx="58568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3" name="Straight Connector 352"/>
            <p:cNvSpPr/>
            <p:nvPr/>
          </p:nvSpPr>
          <p:spPr>
            <a:xfrm>
              <a:off x="2187267" y="2236256"/>
              <a:ext cx="5307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4" name="Freeform: Shape 351"/>
            <p:cNvSpPr/>
            <p:nvPr/>
          </p:nvSpPr>
          <p:spPr>
            <a:xfrm>
              <a:off x="2866872" y="1561997"/>
              <a:ext cx="281769" cy="623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39" h="1634" fill="none">
                  <a:moveTo>
                    <a:pt x="0" y="1634"/>
                  </a:moveTo>
                  <a:lnTo>
                    <a:pt x="0" y="0"/>
                  </a:lnTo>
                  <a:lnTo>
                    <a:pt x="739" y="0"/>
                  </a:lnTo>
                  <a:lnTo>
                    <a:pt x="739" y="136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5" name="Straight Connector 354"/>
            <p:cNvSpPr/>
            <p:nvPr/>
          </p:nvSpPr>
          <p:spPr>
            <a:xfrm>
              <a:off x="2866872" y="1653629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6" name="Straight Connector 355"/>
            <p:cNvSpPr/>
            <p:nvPr/>
          </p:nvSpPr>
          <p:spPr>
            <a:xfrm>
              <a:off x="2866872" y="1696009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7" name="Straight Connector 356"/>
            <p:cNvSpPr/>
            <p:nvPr/>
          </p:nvSpPr>
          <p:spPr>
            <a:xfrm>
              <a:off x="2866872" y="1728079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8" name="Straight Connector 357"/>
            <p:cNvSpPr/>
            <p:nvPr/>
          </p:nvSpPr>
          <p:spPr>
            <a:xfrm>
              <a:off x="2866872" y="176015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9" name="Straight Connector 358"/>
            <p:cNvSpPr/>
            <p:nvPr/>
          </p:nvSpPr>
          <p:spPr>
            <a:xfrm>
              <a:off x="2866872" y="179184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0" name="Straight Connector 359"/>
            <p:cNvSpPr/>
            <p:nvPr/>
          </p:nvSpPr>
          <p:spPr>
            <a:xfrm>
              <a:off x="2866872" y="1823530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1" name="Straight Connector 360"/>
            <p:cNvSpPr/>
            <p:nvPr/>
          </p:nvSpPr>
          <p:spPr>
            <a:xfrm>
              <a:off x="2866872" y="185560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2" name="Straight Connector 361"/>
            <p:cNvSpPr/>
            <p:nvPr/>
          </p:nvSpPr>
          <p:spPr>
            <a:xfrm>
              <a:off x="2866872" y="188767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3" name="Straight Connector 362"/>
            <p:cNvSpPr/>
            <p:nvPr/>
          </p:nvSpPr>
          <p:spPr>
            <a:xfrm>
              <a:off x="2866872" y="191936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4" name="Straight Connector 363"/>
            <p:cNvSpPr/>
            <p:nvPr/>
          </p:nvSpPr>
          <p:spPr>
            <a:xfrm>
              <a:off x="2866872" y="1951433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5" name="Straight Connector 364"/>
            <p:cNvSpPr/>
            <p:nvPr/>
          </p:nvSpPr>
          <p:spPr>
            <a:xfrm>
              <a:off x="2866872" y="1983123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6" name="Straight Connector 365"/>
            <p:cNvSpPr/>
            <p:nvPr/>
          </p:nvSpPr>
          <p:spPr>
            <a:xfrm>
              <a:off x="2866872" y="2015194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7" name="Straight Connector 366"/>
            <p:cNvSpPr/>
            <p:nvPr/>
          </p:nvSpPr>
          <p:spPr>
            <a:xfrm>
              <a:off x="2866872" y="2047265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8" name="Straight Connector 367"/>
            <p:cNvSpPr/>
            <p:nvPr/>
          </p:nvSpPr>
          <p:spPr>
            <a:xfrm>
              <a:off x="2866872" y="2079336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9" name="Straight Connector 368"/>
            <p:cNvSpPr/>
            <p:nvPr/>
          </p:nvSpPr>
          <p:spPr>
            <a:xfrm>
              <a:off x="2866872" y="2107208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0" name="Straight Connector 369"/>
            <p:cNvSpPr/>
            <p:nvPr/>
          </p:nvSpPr>
          <p:spPr>
            <a:xfrm>
              <a:off x="2866872" y="2139279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1" name="Straight Connector 370"/>
            <p:cNvSpPr/>
            <p:nvPr/>
          </p:nvSpPr>
          <p:spPr>
            <a:xfrm>
              <a:off x="2866872" y="2171350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2" name="Freeform: Shape 369"/>
            <p:cNvSpPr/>
            <p:nvPr/>
          </p:nvSpPr>
          <p:spPr>
            <a:xfrm>
              <a:off x="2916124" y="1522290"/>
              <a:ext cx="81323" cy="8132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4" h="214">
                  <a:moveTo>
                    <a:pt x="214" y="107"/>
                  </a:moveTo>
                  <a:cubicBezTo>
                    <a:pt x="214" y="126"/>
                    <a:pt x="209" y="143"/>
                    <a:pt x="199" y="160"/>
                  </a:cubicBezTo>
                  <a:cubicBezTo>
                    <a:pt x="189" y="177"/>
                    <a:pt x="177" y="189"/>
                    <a:pt x="160" y="199"/>
                  </a:cubicBezTo>
                  <a:cubicBezTo>
                    <a:pt x="143" y="208"/>
                    <a:pt x="126" y="214"/>
                    <a:pt x="107" y="214"/>
                  </a:cubicBezTo>
                  <a:cubicBezTo>
                    <a:pt x="87" y="214"/>
                    <a:pt x="70" y="208"/>
                    <a:pt x="53" y="199"/>
                  </a:cubicBezTo>
                  <a:cubicBezTo>
                    <a:pt x="36" y="189"/>
                    <a:pt x="24" y="177"/>
                    <a:pt x="14" y="160"/>
                  </a:cubicBezTo>
                  <a:cubicBezTo>
                    <a:pt x="4" y="143"/>
                    <a:pt x="0" y="126"/>
                    <a:pt x="0" y="107"/>
                  </a:cubicBezTo>
                  <a:cubicBezTo>
                    <a:pt x="0" y="87"/>
                    <a:pt x="4" y="70"/>
                    <a:pt x="14" y="53"/>
                  </a:cubicBezTo>
                  <a:cubicBezTo>
                    <a:pt x="24" y="36"/>
                    <a:pt x="36" y="24"/>
                    <a:pt x="53" y="14"/>
                  </a:cubicBezTo>
                  <a:cubicBezTo>
                    <a:pt x="70" y="4"/>
                    <a:pt x="87" y="0"/>
                    <a:pt x="107" y="0"/>
                  </a:cubicBezTo>
                  <a:cubicBezTo>
                    <a:pt x="126" y="0"/>
                    <a:pt x="143" y="4"/>
                    <a:pt x="160" y="14"/>
                  </a:cubicBezTo>
                  <a:cubicBezTo>
                    <a:pt x="177" y="24"/>
                    <a:pt x="189" y="36"/>
                    <a:pt x="199" y="53"/>
                  </a:cubicBezTo>
                  <a:cubicBezTo>
                    <a:pt x="209" y="70"/>
                    <a:pt x="214" y="87"/>
                    <a:pt x="214" y="107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3" name="Straight Connector 372"/>
            <p:cNvSpPr/>
            <p:nvPr/>
          </p:nvSpPr>
          <p:spPr>
            <a:xfrm>
              <a:off x="3018446" y="1589868"/>
              <a:ext cx="7750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4" name="Straight Connector 373"/>
            <p:cNvSpPr/>
            <p:nvPr/>
          </p:nvSpPr>
          <p:spPr>
            <a:xfrm>
              <a:off x="1532861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5" name="Straight Connector 374"/>
            <p:cNvSpPr/>
            <p:nvPr/>
          </p:nvSpPr>
          <p:spPr>
            <a:xfrm>
              <a:off x="1532861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6" name="Straight Connector 375"/>
            <p:cNvSpPr/>
            <p:nvPr/>
          </p:nvSpPr>
          <p:spPr>
            <a:xfrm>
              <a:off x="1532861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7" name="Straight Connector 376"/>
            <p:cNvSpPr/>
            <p:nvPr/>
          </p:nvSpPr>
          <p:spPr>
            <a:xfrm>
              <a:off x="1532861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8" name="Straight Connector 377"/>
            <p:cNvSpPr/>
            <p:nvPr/>
          </p:nvSpPr>
          <p:spPr>
            <a:xfrm>
              <a:off x="1532861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9" name="Straight Connector 378"/>
            <p:cNvSpPr/>
            <p:nvPr/>
          </p:nvSpPr>
          <p:spPr>
            <a:xfrm>
              <a:off x="1532861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0" name="Straight Connector 379"/>
            <p:cNvSpPr/>
            <p:nvPr/>
          </p:nvSpPr>
          <p:spPr>
            <a:xfrm>
              <a:off x="1532861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1" name="Straight Connector 380"/>
            <p:cNvSpPr/>
            <p:nvPr/>
          </p:nvSpPr>
          <p:spPr>
            <a:xfrm>
              <a:off x="1532861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2" name="Straight Connector 381"/>
            <p:cNvSpPr/>
            <p:nvPr/>
          </p:nvSpPr>
          <p:spPr>
            <a:xfrm>
              <a:off x="1532861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3" name="Straight Connector 382"/>
            <p:cNvSpPr/>
            <p:nvPr/>
          </p:nvSpPr>
          <p:spPr>
            <a:xfrm>
              <a:off x="1532861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4" name="Straight Connector 383"/>
            <p:cNvSpPr/>
            <p:nvPr/>
          </p:nvSpPr>
          <p:spPr>
            <a:xfrm>
              <a:off x="1532861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5" name="Straight Connector 384"/>
            <p:cNvSpPr/>
            <p:nvPr/>
          </p:nvSpPr>
          <p:spPr>
            <a:xfrm>
              <a:off x="1532861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6" name="Straight Connector 385"/>
            <p:cNvSpPr/>
            <p:nvPr/>
          </p:nvSpPr>
          <p:spPr>
            <a:xfrm>
              <a:off x="1532861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7" name="Straight Connector 386"/>
            <p:cNvSpPr/>
            <p:nvPr/>
          </p:nvSpPr>
          <p:spPr>
            <a:xfrm>
              <a:off x="1532861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8" name="Straight Connector 387"/>
            <p:cNvSpPr/>
            <p:nvPr/>
          </p:nvSpPr>
          <p:spPr>
            <a:xfrm>
              <a:off x="1532861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9" name="Straight Connector 388"/>
            <p:cNvSpPr/>
            <p:nvPr/>
          </p:nvSpPr>
          <p:spPr>
            <a:xfrm>
              <a:off x="1532861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0" name="Straight Connector 389"/>
            <p:cNvSpPr/>
            <p:nvPr/>
          </p:nvSpPr>
          <p:spPr>
            <a:xfrm>
              <a:off x="1532861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1" name="Straight Connector 390"/>
            <p:cNvSpPr/>
            <p:nvPr/>
          </p:nvSpPr>
          <p:spPr>
            <a:xfrm>
              <a:off x="1563023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2" name="Straight Connector 391"/>
            <p:cNvSpPr/>
            <p:nvPr/>
          </p:nvSpPr>
          <p:spPr>
            <a:xfrm>
              <a:off x="1563023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3" name="Straight Connector 392"/>
            <p:cNvSpPr/>
            <p:nvPr/>
          </p:nvSpPr>
          <p:spPr>
            <a:xfrm>
              <a:off x="1563023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4" name="Straight Connector 393"/>
            <p:cNvSpPr/>
            <p:nvPr/>
          </p:nvSpPr>
          <p:spPr>
            <a:xfrm>
              <a:off x="1563023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5" name="Straight Connector 394"/>
            <p:cNvSpPr/>
            <p:nvPr/>
          </p:nvSpPr>
          <p:spPr>
            <a:xfrm>
              <a:off x="1563023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6" name="Straight Connector 395"/>
            <p:cNvSpPr/>
            <p:nvPr/>
          </p:nvSpPr>
          <p:spPr>
            <a:xfrm>
              <a:off x="1563023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7" name="Straight Connector 396"/>
            <p:cNvSpPr/>
            <p:nvPr/>
          </p:nvSpPr>
          <p:spPr>
            <a:xfrm>
              <a:off x="1563023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8" name="Straight Connector 397"/>
            <p:cNvSpPr/>
            <p:nvPr/>
          </p:nvSpPr>
          <p:spPr>
            <a:xfrm>
              <a:off x="1563023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9" name="Straight Connector 398"/>
            <p:cNvSpPr/>
            <p:nvPr/>
          </p:nvSpPr>
          <p:spPr>
            <a:xfrm>
              <a:off x="1563023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0" name="Straight Connector 399"/>
            <p:cNvSpPr/>
            <p:nvPr/>
          </p:nvSpPr>
          <p:spPr>
            <a:xfrm>
              <a:off x="1563023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1" name="Straight Connector 400"/>
            <p:cNvSpPr/>
            <p:nvPr/>
          </p:nvSpPr>
          <p:spPr>
            <a:xfrm>
              <a:off x="1563023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2" name="Straight Connector 401"/>
            <p:cNvSpPr/>
            <p:nvPr/>
          </p:nvSpPr>
          <p:spPr>
            <a:xfrm>
              <a:off x="1563023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3" name="Straight Connector 402"/>
            <p:cNvSpPr/>
            <p:nvPr/>
          </p:nvSpPr>
          <p:spPr>
            <a:xfrm>
              <a:off x="1563023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4" name="Straight Connector 403"/>
            <p:cNvSpPr/>
            <p:nvPr/>
          </p:nvSpPr>
          <p:spPr>
            <a:xfrm>
              <a:off x="1563023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5" name="Straight Connector 404"/>
            <p:cNvSpPr/>
            <p:nvPr/>
          </p:nvSpPr>
          <p:spPr>
            <a:xfrm>
              <a:off x="1563023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6" name="Straight Connector 405"/>
            <p:cNvSpPr/>
            <p:nvPr/>
          </p:nvSpPr>
          <p:spPr>
            <a:xfrm>
              <a:off x="1563023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7" name="Straight Connector 406"/>
            <p:cNvSpPr/>
            <p:nvPr/>
          </p:nvSpPr>
          <p:spPr>
            <a:xfrm>
              <a:off x="1563023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8" name="Straight Connector 407"/>
            <p:cNvSpPr/>
            <p:nvPr/>
          </p:nvSpPr>
          <p:spPr>
            <a:xfrm>
              <a:off x="1593567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9" name="Straight Connector 408"/>
            <p:cNvSpPr/>
            <p:nvPr/>
          </p:nvSpPr>
          <p:spPr>
            <a:xfrm>
              <a:off x="1593567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0" name="Straight Connector 409"/>
            <p:cNvSpPr/>
            <p:nvPr/>
          </p:nvSpPr>
          <p:spPr>
            <a:xfrm>
              <a:off x="1593567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1" name="Straight Connector 410"/>
            <p:cNvSpPr/>
            <p:nvPr/>
          </p:nvSpPr>
          <p:spPr>
            <a:xfrm>
              <a:off x="1593567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2" name="Straight Connector 411"/>
            <p:cNvSpPr/>
            <p:nvPr/>
          </p:nvSpPr>
          <p:spPr>
            <a:xfrm>
              <a:off x="1593567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3" name="Straight Connector 412"/>
            <p:cNvSpPr/>
            <p:nvPr/>
          </p:nvSpPr>
          <p:spPr>
            <a:xfrm>
              <a:off x="1593567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4" name="Straight Connector 413"/>
            <p:cNvSpPr/>
            <p:nvPr/>
          </p:nvSpPr>
          <p:spPr>
            <a:xfrm>
              <a:off x="1593567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5" name="Straight Connector 414"/>
            <p:cNvSpPr/>
            <p:nvPr/>
          </p:nvSpPr>
          <p:spPr>
            <a:xfrm>
              <a:off x="1593567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6" name="Straight Connector 415"/>
            <p:cNvSpPr/>
            <p:nvPr/>
          </p:nvSpPr>
          <p:spPr>
            <a:xfrm>
              <a:off x="1593567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7" name="Straight Connector 416"/>
            <p:cNvSpPr/>
            <p:nvPr/>
          </p:nvSpPr>
          <p:spPr>
            <a:xfrm>
              <a:off x="1593567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8" name="Straight Connector 417"/>
            <p:cNvSpPr/>
            <p:nvPr/>
          </p:nvSpPr>
          <p:spPr>
            <a:xfrm>
              <a:off x="1593567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9" name="Straight Connector 418"/>
            <p:cNvSpPr/>
            <p:nvPr/>
          </p:nvSpPr>
          <p:spPr>
            <a:xfrm>
              <a:off x="1593567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0" name="Straight Connector 419"/>
            <p:cNvSpPr/>
            <p:nvPr/>
          </p:nvSpPr>
          <p:spPr>
            <a:xfrm>
              <a:off x="1593567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1" name="Straight Connector 420"/>
            <p:cNvSpPr/>
            <p:nvPr/>
          </p:nvSpPr>
          <p:spPr>
            <a:xfrm>
              <a:off x="1593567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2" name="Straight Connector 421"/>
            <p:cNvSpPr/>
            <p:nvPr/>
          </p:nvSpPr>
          <p:spPr>
            <a:xfrm>
              <a:off x="1593567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3" name="Straight Connector 422"/>
            <p:cNvSpPr/>
            <p:nvPr/>
          </p:nvSpPr>
          <p:spPr>
            <a:xfrm>
              <a:off x="1593567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4" name="Straight Connector 423"/>
            <p:cNvSpPr/>
            <p:nvPr/>
          </p:nvSpPr>
          <p:spPr>
            <a:xfrm>
              <a:off x="1593567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5" name="Straight Connector 424"/>
            <p:cNvSpPr/>
            <p:nvPr/>
          </p:nvSpPr>
          <p:spPr>
            <a:xfrm>
              <a:off x="1624111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6" name="Straight Connector 425"/>
            <p:cNvSpPr/>
            <p:nvPr/>
          </p:nvSpPr>
          <p:spPr>
            <a:xfrm>
              <a:off x="1624111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7" name="Straight Connector 426"/>
            <p:cNvSpPr/>
            <p:nvPr/>
          </p:nvSpPr>
          <p:spPr>
            <a:xfrm>
              <a:off x="1624111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8" name="Straight Connector 427"/>
            <p:cNvSpPr/>
            <p:nvPr/>
          </p:nvSpPr>
          <p:spPr>
            <a:xfrm>
              <a:off x="1624111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9" name="Straight Connector 428"/>
            <p:cNvSpPr/>
            <p:nvPr/>
          </p:nvSpPr>
          <p:spPr>
            <a:xfrm>
              <a:off x="1624111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0" name="Straight Connector 429"/>
            <p:cNvSpPr/>
            <p:nvPr/>
          </p:nvSpPr>
          <p:spPr>
            <a:xfrm>
              <a:off x="1624111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1" name="Straight Connector 430"/>
            <p:cNvSpPr/>
            <p:nvPr/>
          </p:nvSpPr>
          <p:spPr>
            <a:xfrm>
              <a:off x="1624111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2" name="Straight Connector 431"/>
            <p:cNvSpPr/>
            <p:nvPr/>
          </p:nvSpPr>
          <p:spPr>
            <a:xfrm>
              <a:off x="1624111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3" name="Straight Connector 432"/>
            <p:cNvSpPr/>
            <p:nvPr/>
          </p:nvSpPr>
          <p:spPr>
            <a:xfrm>
              <a:off x="1624111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4" name="Straight Connector 433"/>
            <p:cNvSpPr/>
            <p:nvPr/>
          </p:nvSpPr>
          <p:spPr>
            <a:xfrm>
              <a:off x="1624111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5" name="Straight Connector 434"/>
            <p:cNvSpPr/>
            <p:nvPr/>
          </p:nvSpPr>
          <p:spPr>
            <a:xfrm>
              <a:off x="1624111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6" name="Straight Connector 435"/>
            <p:cNvSpPr/>
            <p:nvPr/>
          </p:nvSpPr>
          <p:spPr>
            <a:xfrm>
              <a:off x="1624111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7" name="Straight Connector 436"/>
            <p:cNvSpPr/>
            <p:nvPr/>
          </p:nvSpPr>
          <p:spPr>
            <a:xfrm>
              <a:off x="1624111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8" name="Straight Connector 437"/>
            <p:cNvSpPr/>
            <p:nvPr/>
          </p:nvSpPr>
          <p:spPr>
            <a:xfrm>
              <a:off x="1624111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9" name="Straight Connector 438"/>
            <p:cNvSpPr/>
            <p:nvPr/>
          </p:nvSpPr>
          <p:spPr>
            <a:xfrm>
              <a:off x="1624111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0" name="Straight Connector 439"/>
            <p:cNvSpPr/>
            <p:nvPr/>
          </p:nvSpPr>
          <p:spPr>
            <a:xfrm>
              <a:off x="1624111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1" name="Straight Connector 440"/>
            <p:cNvSpPr/>
            <p:nvPr/>
          </p:nvSpPr>
          <p:spPr>
            <a:xfrm>
              <a:off x="1624111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2" name="Straight Connector 441"/>
            <p:cNvSpPr/>
            <p:nvPr/>
          </p:nvSpPr>
          <p:spPr>
            <a:xfrm>
              <a:off x="1654655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3" name="Straight Connector 442"/>
            <p:cNvSpPr/>
            <p:nvPr/>
          </p:nvSpPr>
          <p:spPr>
            <a:xfrm>
              <a:off x="1654655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4" name="Straight Connector 443"/>
            <p:cNvSpPr/>
            <p:nvPr/>
          </p:nvSpPr>
          <p:spPr>
            <a:xfrm>
              <a:off x="1654655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5" name="Straight Connector 444"/>
            <p:cNvSpPr/>
            <p:nvPr/>
          </p:nvSpPr>
          <p:spPr>
            <a:xfrm>
              <a:off x="1654655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6" name="Straight Connector 445"/>
            <p:cNvSpPr/>
            <p:nvPr/>
          </p:nvSpPr>
          <p:spPr>
            <a:xfrm>
              <a:off x="1654655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7" name="Straight Connector 446"/>
            <p:cNvSpPr/>
            <p:nvPr/>
          </p:nvSpPr>
          <p:spPr>
            <a:xfrm>
              <a:off x="1654655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8" name="Straight Connector 447"/>
            <p:cNvSpPr/>
            <p:nvPr/>
          </p:nvSpPr>
          <p:spPr>
            <a:xfrm>
              <a:off x="1654655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9" name="Straight Connector 448"/>
            <p:cNvSpPr/>
            <p:nvPr/>
          </p:nvSpPr>
          <p:spPr>
            <a:xfrm>
              <a:off x="1654655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0" name="Straight Connector 449"/>
            <p:cNvSpPr/>
            <p:nvPr/>
          </p:nvSpPr>
          <p:spPr>
            <a:xfrm>
              <a:off x="1654655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1" name="Straight Connector 450"/>
            <p:cNvSpPr/>
            <p:nvPr/>
          </p:nvSpPr>
          <p:spPr>
            <a:xfrm>
              <a:off x="1654655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2" name="Straight Connector 451"/>
            <p:cNvSpPr/>
            <p:nvPr/>
          </p:nvSpPr>
          <p:spPr>
            <a:xfrm>
              <a:off x="1654655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3" name="Straight Connector 452"/>
            <p:cNvSpPr/>
            <p:nvPr/>
          </p:nvSpPr>
          <p:spPr>
            <a:xfrm>
              <a:off x="1654655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4" name="Straight Connector 453"/>
            <p:cNvSpPr/>
            <p:nvPr/>
          </p:nvSpPr>
          <p:spPr>
            <a:xfrm>
              <a:off x="1654655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5" name="Straight Connector 454"/>
            <p:cNvSpPr/>
            <p:nvPr/>
          </p:nvSpPr>
          <p:spPr>
            <a:xfrm>
              <a:off x="1654655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6" name="Straight Connector 455"/>
            <p:cNvSpPr/>
            <p:nvPr/>
          </p:nvSpPr>
          <p:spPr>
            <a:xfrm>
              <a:off x="1654655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7" name="Straight Connector 456"/>
            <p:cNvSpPr/>
            <p:nvPr/>
          </p:nvSpPr>
          <p:spPr>
            <a:xfrm>
              <a:off x="1654655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8" name="Straight Connector 457"/>
            <p:cNvSpPr/>
            <p:nvPr/>
          </p:nvSpPr>
          <p:spPr>
            <a:xfrm>
              <a:off x="1654655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9" name="Straight Connector 458"/>
            <p:cNvSpPr/>
            <p:nvPr/>
          </p:nvSpPr>
          <p:spPr>
            <a:xfrm>
              <a:off x="1685199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0" name="Straight Connector 459"/>
            <p:cNvSpPr/>
            <p:nvPr/>
          </p:nvSpPr>
          <p:spPr>
            <a:xfrm>
              <a:off x="1685199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1" name="Straight Connector 460"/>
            <p:cNvSpPr/>
            <p:nvPr/>
          </p:nvSpPr>
          <p:spPr>
            <a:xfrm>
              <a:off x="1685199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2" name="Straight Connector 461"/>
            <p:cNvSpPr/>
            <p:nvPr/>
          </p:nvSpPr>
          <p:spPr>
            <a:xfrm>
              <a:off x="1685199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3" name="Straight Connector 462"/>
            <p:cNvSpPr/>
            <p:nvPr/>
          </p:nvSpPr>
          <p:spPr>
            <a:xfrm>
              <a:off x="1685199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4" name="Straight Connector 463"/>
            <p:cNvSpPr/>
            <p:nvPr/>
          </p:nvSpPr>
          <p:spPr>
            <a:xfrm>
              <a:off x="1685199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5" name="Straight Connector 464"/>
            <p:cNvSpPr/>
            <p:nvPr/>
          </p:nvSpPr>
          <p:spPr>
            <a:xfrm>
              <a:off x="1685199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6" name="Straight Connector 465"/>
            <p:cNvSpPr/>
            <p:nvPr/>
          </p:nvSpPr>
          <p:spPr>
            <a:xfrm>
              <a:off x="1685199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7" name="Straight Connector 466"/>
            <p:cNvSpPr/>
            <p:nvPr/>
          </p:nvSpPr>
          <p:spPr>
            <a:xfrm>
              <a:off x="1685199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8" name="Straight Connector 467"/>
            <p:cNvSpPr/>
            <p:nvPr/>
          </p:nvSpPr>
          <p:spPr>
            <a:xfrm>
              <a:off x="1685199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9" name="Straight Connector 468"/>
            <p:cNvSpPr/>
            <p:nvPr/>
          </p:nvSpPr>
          <p:spPr>
            <a:xfrm>
              <a:off x="1685199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0" name="Straight Connector 469"/>
            <p:cNvSpPr/>
            <p:nvPr/>
          </p:nvSpPr>
          <p:spPr>
            <a:xfrm>
              <a:off x="1685199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1" name="Straight Connector 470"/>
            <p:cNvSpPr/>
            <p:nvPr/>
          </p:nvSpPr>
          <p:spPr>
            <a:xfrm>
              <a:off x="1685199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2" name="Straight Connector 471"/>
            <p:cNvSpPr/>
            <p:nvPr/>
          </p:nvSpPr>
          <p:spPr>
            <a:xfrm>
              <a:off x="1685199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3" name="Straight Connector 472"/>
            <p:cNvSpPr/>
            <p:nvPr/>
          </p:nvSpPr>
          <p:spPr>
            <a:xfrm>
              <a:off x="1685199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4" name="Straight Connector 473"/>
            <p:cNvSpPr/>
            <p:nvPr/>
          </p:nvSpPr>
          <p:spPr>
            <a:xfrm>
              <a:off x="1685199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5" name="Straight Connector 474"/>
            <p:cNvSpPr/>
            <p:nvPr/>
          </p:nvSpPr>
          <p:spPr>
            <a:xfrm>
              <a:off x="1685199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6" name="Straight Connector 475"/>
            <p:cNvSpPr/>
            <p:nvPr/>
          </p:nvSpPr>
          <p:spPr>
            <a:xfrm>
              <a:off x="1806994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7" name="Straight Connector 476"/>
            <p:cNvSpPr/>
            <p:nvPr/>
          </p:nvSpPr>
          <p:spPr>
            <a:xfrm>
              <a:off x="1806994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8" name="Straight Connector 477"/>
            <p:cNvSpPr/>
            <p:nvPr/>
          </p:nvSpPr>
          <p:spPr>
            <a:xfrm>
              <a:off x="1806994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9" name="Straight Connector 478"/>
            <p:cNvSpPr/>
            <p:nvPr/>
          </p:nvSpPr>
          <p:spPr>
            <a:xfrm>
              <a:off x="1806994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0" name="Straight Connector 479"/>
            <p:cNvSpPr/>
            <p:nvPr/>
          </p:nvSpPr>
          <p:spPr>
            <a:xfrm>
              <a:off x="1806994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1" name="Straight Connector 480"/>
            <p:cNvSpPr/>
            <p:nvPr/>
          </p:nvSpPr>
          <p:spPr>
            <a:xfrm>
              <a:off x="1806994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2" name="Straight Connector 481"/>
            <p:cNvSpPr/>
            <p:nvPr/>
          </p:nvSpPr>
          <p:spPr>
            <a:xfrm>
              <a:off x="1806994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3" name="Straight Connector 482"/>
            <p:cNvSpPr/>
            <p:nvPr/>
          </p:nvSpPr>
          <p:spPr>
            <a:xfrm>
              <a:off x="1806994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4" name="Straight Connector 483"/>
            <p:cNvSpPr/>
            <p:nvPr/>
          </p:nvSpPr>
          <p:spPr>
            <a:xfrm>
              <a:off x="1806994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5" name="Straight Connector 484"/>
            <p:cNvSpPr/>
            <p:nvPr/>
          </p:nvSpPr>
          <p:spPr>
            <a:xfrm>
              <a:off x="1806994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6" name="Straight Connector 485"/>
            <p:cNvSpPr/>
            <p:nvPr/>
          </p:nvSpPr>
          <p:spPr>
            <a:xfrm>
              <a:off x="1806994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7" name="Straight Connector 486"/>
            <p:cNvSpPr/>
            <p:nvPr/>
          </p:nvSpPr>
          <p:spPr>
            <a:xfrm>
              <a:off x="1806994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8" name="Straight Connector 487"/>
            <p:cNvSpPr/>
            <p:nvPr/>
          </p:nvSpPr>
          <p:spPr>
            <a:xfrm>
              <a:off x="1806994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9" name="Straight Connector 488"/>
            <p:cNvSpPr/>
            <p:nvPr/>
          </p:nvSpPr>
          <p:spPr>
            <a:xfrm>
              <a:off x="1776451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0" name="Straight Connector 489"/>
            <p:cNvSpPr/>
            <p:nvPr/>
          </p:nvSpPr>
          <p:spPr>
            <a:xfrm>
              <a:off x="1776451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1" name="Straight Connector 490"/>
            <p:cNvSpPr/>
            <p:nvPr/>
          </p:nvSpPr>
          <p:spPr>
            <a:xfrm>
              <a:off x="1776451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2" name="Straight Connector 491"/>
            <p:cNvSpPr/>
            <p:nvPr/>
          </p:nvSpPr>
          <p:spPr>
            <a:xfrm>
              <a:off x="1776451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3" name="Straight Connector 492"/>
            <p:cNvSpPr/>
            <p:nvPr/>
          </p:nvSpPr>
          <p:spPr>
            <a:xfrm>
              <a:off x="1776451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4" name="Straight Connector 493"/>
            <p:cNvSpPr/>
            <p:nvPr/>
          </p:nvSpPr>
          <p:spPr>
            <a:xfrm>
              <a:off x="1776451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5" name="Straight Connector 494"/>
            <p:cNvSpPr/>
            <p:nvPr/>
          </p:nvSpPr>
          <p:spPr>
            <a:xfrm>
              <a:off x="1776451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6" name="Straight Connector 495"/>
            <p:cNvSpPr/>
            <p:nvPr/>
          </p:nvSpPr>
          <p:spPr>
            <a:xfrm>
              <a:off x="1776451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7" name="Straight Connector 496"/>
            <p:cNvSpPr/>
            <p:nvPr/>
          </p:nvSpPr>
          <p:spPr>
            <a:xfrm>
              <a:off x="1776451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8" name="Straight Connector 497"/>
            <p:cNvSpPr/>
            <p:nvPr/>
          </p:nvSpPr>
          <p:spPr>
            <a:xfrm>
              <a:off x="1776451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9" name="Straight Connector 498"/>
            <p:cNvSpPr/>
            <p:nvPr/>
          </p:nvSpPr>
          <p:spPr>
            <a:xfrm>
              <a:off x="1776451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0" name="Straight Connector 499"/>
            <p:cNvSpPr/>
            <p:nvPr/>
          </p:nvSpPr>
          <p:spPr>
            <a:xfrm>
              <a:off x="1776451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1" name="Straight Connector 500"/>
            <p:cNvSpPr/>
            <p:nvPr/>
          </p:nvSpPr>
          <p:spPr>
            <a:xfrm>
              <a:off x="1776451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2" name="Straight Connector 501"/>
            <p:cNvSpPr/>
            <p:nvPr/>
          </p:nvSpPr>
          <p:spPr>
            <a:xfrm>
              <a:off x="1745906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3" name="Straight Connector 502"/>
            <p:cNvSpPr/>
            <p:nvPr/>
          </p:nvSpPr>
          <p:spPr>
            <a:xfrm>
              <a:off x="1745906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4" name="Straight Connector 503"/>
            <p:cNvSpPr/>
            <p:nvPr/>
          </p:nvSpPr>
          <p:spPr>
            <a:xfrm>
              <a:off x="1745906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5" name="Straight Connector 504"/>
            <p:cNvSpPr/>
            <p:nvPr/>
          </p:nvSpPr>
          <p:spPr>
            <a:xfrm>
              <a:off x="1745906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6" name="Straight Connector 505"/>
            <p:cNvSpPr/>
            <p:nvPr/>
          </p:nvSpPr>
          <p:spPr>
            <a:xfrm>
              <a:off x="1745906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7" name="Straight Connector 506"/>
            <p:cNvSpPr/>
            <p:nvPr/>
          </p:nvSpPr>
          <p:spPr>
            <a:xfrm>
              <a:off x="1745906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8" name="Straight Connector 507"/>
            <p:cNvSpPr/>
            <p:nvPr/>
          </p:nvSpPr>
          <p:spPr>
            <a:xfrm>
              <a:off x="1745906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9" name="Straight Connector 508"/>
            <p:cNvSpPr/>
            <p:nvPr/>
          </p:nvSpPr>
          <p:spPr>
            <a:xfrm>
              <a:off x="1745906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0" name="Straight Connector 509"/>
            <p:cNvSpPr/>
            <p:nvPr/>
          </p:nvSpPr>
          <p:spPr>
            <a:xfrm>
              <a:off x="1745906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1" name="Straight Connector 510"/>
            <p:cNvSpPr/>
            <p:nvPr/>
          </p:nvSpPr>
          <p:spPr>
            <a:xfrm>
              <a:off x="1745906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2" name="Straight Connector 511"/>
            <p:cNvSpPr/>
            <p:nvPr/>
          </p:nvSpPr>
          <p:spPr>
            <a:xfrm>
              <a:off x="1745906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3" name="Straight Connector 512"/>
            <p:cNvSpPr/>
            <p:nvPr/>
          </p:nvSpPr>
          <p:spPr>
            <a:xfrm>
              <a:off x="1745906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4" name="Straight Connector 513"/>
            <p:cNvSpPr/>
            <p:nvPr/>
          </p:nvSpPr>
          <p:spPr>
            <a:xfrm>
              <a:off x="1745906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5" name="Straight Connector 514"/>
            <p:cNvSpPr/>
            <p:nvPr/>
          </p:nvSpPr>
          <p:spPr>
            <a:xfrm>
              <a:off x="1715743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6" name="Straight Connector 515"/>
            <p:cNvSpPr/>
            <p:nvPr/>
          </p:nvSpPr>
          <p:spPr>
            <a:xfrm>
              <a:off x="1715743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7" name="Straight Connector 516"/>
            <p:cNvSpPr/>
            <p:nvPr/>
          </p:nvSpPr>
          <p:spPr>
            <a:xfrm>
              <a:off x="1715743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8" name="Straight Connector 517"/>
            <p:cNvSpPr/>
            <p:nvPr/>
          </p:nvSpPr>
          <p:spPr>
            <a:xfrm>
              <a:off x="1715743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9" name="Straight Connector 518"/>
            <p:cNvSpPr/>
            <p:nvPr/>
          </p:nvSpPr>
          <p:spPr>
            <a:xfrm>
              <a:off x="1715743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0" name="Straight Connector 519"/>
            <p:cNvSpPr/>
            <p:nvPr/>
          </p:nvSpPr>
          <p:spPr>
            <a:xfrm>
              <a:off x="1715743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1" name="Straight Connector 520"/>
            <p:cNvSpPr/>
            <p:nvPr/>
          </p:nvSpPr>
          <p:spPr>
            <a:xfrm>
              <a:off x="1715743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2" name="Straight Connector 521"/>
            <p:cNvSpPr/>
            <p:nvPr/>
          </p:nvSpPr>
          <p:spPr>
            <a:xfrm>
              <a:off x="1715743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3" name="Straight Connector 522"/>
            <p:cNvSpPr/>
            <p:nvPr/>
          </p:nvSpPr>
          <p:spPr>
            <a:xfrm>
              <a:off x="1715743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4" name="Straight Connector 523"/>
            <p:cNvSpPr/>
            <p:nvPr/>
          </p:nvSpPr>
          <p:spPr>
            <a:xfrm>
              <a:off x="1715743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5" name="Straight Connector 524"/>
            <p:cNvSpPr/>
            <p:nvPr/>
          </p:nvSpPr>
          <p:spPr>
            <a:xfrm>
              <a:off x="1715743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6" name="Straight Connector 525"/>
            <p:cNvSpPr/>
            <p:nvPr/>
          </p:nvSpPr>
          <p:spPr>
            <a:xfrm>
              <a:off x="1715743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7" name="Straight Connector 526"/>
            <p:cNvSpPr/>
            <p:nvPr/>
          </p:nvSpPr>
          <p:spPr>
            <a:xfrm>
              <a:off x="1715743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8" name="Freeform: Shape 525"/>
            <p:cNvSpPr/>
            <p:nvPr/>
          </p:nvSpPr>
          <p:spPr>
            <a:xfrm>
              <a:off x="345080" y="2270618"/>
              <a:ext cx="67960" cy="161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9" h="423">
                  <a:moveTo>
                    <a:pt x="179" y="0"/>
                  </a:moveTo>
                  <a:lnTo>
                    <a:pt x="179" y="423"/>
                  </a:lnTo>
                  <a:lnTo>
                    <a:pt x="0" y="2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9" name="Straight Connector 528"/>
            <p:cNvSpPr/>
            <p:nvPr/>
          </p:nvSpPr>
          <p:spPr>
            <a:xfrm>
              <a:off x="345843" y="2436702"/>
              <a:ext cx="3856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0" name="Freeform: Shape 527"/>
            <p:cNvSpPr/>
            <p:nvPr/>
          </p:nvSpPr>
          <p:spPr>
            <a:xfrm>
              <a:off x="4941957" y="2269090"/>
              <a:ext cx="57652" cy="13630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2" h="358">
                  <a:moveTo>
                    <a:pt x="152" y="0"/>
                  </a:moveTo>
                  <a:lnTo>
                    <a:pt x="152" y="358"/>
                  </a:lnTo>
                  <a:lnTo>
                    <a:pt x="0" y="2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1" name="Straight Connector 530"/>
            <p:cNvSpPr/>
            <p:nvPr/>
          </p:nvSpPr>
          <p:spPr>
            <a:xfrm>
              <a:off x="4942721" y="2409594"/>
              <a:ext cx="3245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2" name="Freeform: Shape 529"/>
            <p:cNvSpPr/>
            <p:nvPr/>
          </p:nvSpPr>
          <p:spPr>
            <a:xfrm>
              <a:off x="549343" y="2275964"/>
              <a:ext cx="95068" cy="22373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50" h="587">
                  <a:moveTo>
                    <a:pt x="250" y="0"/>
                  </a:moveTo>
                  <a:lnTo>
                    <a:pt x="250" y="587"/>
                  </a:lnTo>
                  <a:lnTo>
                    <a:pt x="0" y="3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3" name="Straight Connector 532"/>
            <p:cNvSpPr/>
            <p:nvPr/>
          </p:nvSpPr>
          <p:spPr>
            <a:xfrm>
              <a:off x="551252" y="2506571"/>
              <a:ext cx="5345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4" name="Freeform: Shape 531"/>
            <p:cNvSpPr/>
            <p:nvPr/>
          </p:nvSpPr>
          <p:spPr>
            <a:xfrm>
              <a:off x="4536486" y="2218312"/>
              <a:ext cx="116831" cy="27604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724">
                  <a:moveTo>
                    <a:pt x="307" y="0"/>
                  </a:moveTo>
                  <a:lnTo>
                    <a:pt x="307" y="724"/>
                  </a:lnTo>
                  <a:lnTo>
                    <a:pt x="0" y="48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5" name="Straight Connector 534"/>
            <p:cNvSpPr/>
            <p:nvPr/>
          </p:nvSpPr>
          <p:spPr>
            <a:xfrm>
              <a:off x="4538394" y="2502753"/>
              <a:ext cx="6567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6" name="Straight Connector 535"/>
            <p:cNvSpPr/>
            <p:nvPr/>
          </p:nvSpPr>
          <p:spPr>
            <a:xfrm>
              <a:off x="-1" y="2014812"/>
              <a:ext cx="100521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7" name="Straight Connector 536"/>
            <p:cNvSpPr/>
            <p:nvPr/>
          </p:nvSpPr>
          <p:spPr>
            <a:xfrm>
              <a:off x="53002" y="1773896"/>
              <a:ext cx="0" cy="33178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8" name="Straight Connector 537"/>
            <p:cNvSpPr/>
            <p:nvPr/>
          </p:nvSpPr>
          <p:spPr>
            <a:xfrm>
              <a:off x="912817" y="1773896"/>
              <a:ext cx="0" cy="33178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9" name="Freeform: Shape 536"/>
            <p:cNvSpPr/>
            <p:nvPr/>
          </p:nvSpPr>
          <p:spPr>
            <a:xfrm>
              <a:off x="54911" y="1800622"/>
              <a:ext cx="857524" cy="16226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47" h="426">
                  <a:moveTo>
                    <a:pt x="2247" y="0"/>
                  </a:moveTo>
                  <a:cubicBezTo>
                    <a:pt x="1971" y="261"/>
                    <a:pt x="1567" y="426"/>
                    <a:pt x="1117" y="426"/>
                  </a:cubicBezTo>
                  <a:cubicBezTo>
                    <a:pt x="674" y="426"/>
                    <a:pt x="276" y="266"/>
                    <a:pt x="0" y="1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0" name="Straight Connector 539"/>
            <p:cNvSpPr/>
            <p:nvPr/>
          </p:nvSpPr>
          <p:spPr>
            <a:xfrm>
              <a:off x="122490" y="1857892"/>
              <a:ext cx="0" cy="15424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1" name="Straight Connector 540"/>
            <p:cNvSpPr/>
            <p:nvPr/>
          </p:nvSpPr>
          <p:spPr>
            <a:xfrm>
              <a:off x="172888" y="1888054"/>
              <a:ext cx="0" cy="12675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2" name="Straight Connector 541"/>
            <p:cNvSpPr/>
            <p:nvPr/>
          </p:nvSpPr>
          <p:spPr>
            <a:xfrm>
              <a:off x="225576" y="1914780"/>
              <a:ext cx="0" cy="10003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3" name="Straight Connector 542"/>
            <p:cNvSpPr/>
            <p:nvPr/>
          </p:nvSpPr>
          <p:spPr>
            <a:xfrm>
              <a:off x="276738" y="1933489"/>
              <a:ext cx="0" cy="8132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4" name="Straight Connector 543"/>
            <p:cNvSpPr/>
            <p:nvPr/>
          </p:nvSpPr>
          <p:spPr>
            <a:xfrm>
              <a:off x="327899" y="1945706"/>
              <a:ext cx="0" cy="6910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5" name="Straight Connector 544"/>
            <p:cNvSpPr/>
            <p:nvPr/>
          </p:nvSpPr>
          <p:spPr>
            <a:xfrm>
              <a:off x="379060" y="1956778"/>
              <a:ext cx="0" cy="5803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6" name="Straight Connector 545"/>
            <p:cNvSpPr/>
            <p:nvPr/>
          </p:nvSpPr>
          <p:spPr>
            <a:xfrm>
              <a:off x="430603" y="1961360"/>
              <a:ext cx="0" cy="5345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7" name="Straight Connector 546"/>
            <p:cNvSpPr/>
            <p:nvPr/>
          </p:nvSpPr>
          <p:spPr>
            <a:xfrm>
              <a:off x="840657" y="1857892"/>
              <a:ext cx="0" cy="15424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8" name="Straight Connector 547"/>
            <p:cNvSpPr/>
            <p:nvPr/>
          </p:nvSpPr>
          <p:spPr>
            <a:xfrm>
              <a:off x="789877" y="1888054"/>
              <a:ext cx="0" cy="12675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9" name="Straight Connector 548"/>
            <p:cNvSpPr/>
            <p:nvPr/>
          </p:nvSpPr>
          <p:spPr>
            <a:xfrm>
              <a:off x="737571" y="1914780"/>
              <a:ext cx="0" cy="10003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0" name="Straight Connector 549"/>
            <p:cNvSpPr/>
            <p:nvPr/>
          </p:nvSpPr>
          <p:spPr>
            <a:xfrm>
              <a:off x="686409" y="1933489"/>
              <a:ext cx="0" cy="8132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1" name="Straight Connector 550"/>
            <p:cNvSpPr/>
            <p:nvPr/>
          </p:nvSpPr>
          <p:spPr>
            <a:xfrm>
              <a:off x="635248" y="1945706"/>
              <a:ext cx="0" cy="6910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2" name="Straight Connector 551"/>
            <p:cNvSpPr/>
            <p:nvPr/>
          </p:nvSpPr>
          <p:spPr>
            <a:xfrm>
              <a:off x="584087" y="1956778"/>
              <a:ext cx="0" cy="5803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3" name="Straight Connector 552"/>
            <p:cNvSpPr/>
            <p:nvPr/>
          </p:nvSpPr>
          <p:spPr>
            <a:xfrm>
              <a:off x="532544" y="1961360"/>
              <a:ext cx="0" cy="5345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4" name="Straight Connector 553"/>
            <p:cNvSpPr/>
            <p:nvPr/>
          </p:nvSpPr>
          <p:spPr>
            <a:xfrm>
              <a:off x="481765" y="1963269"/>
              <a:ext cx="0" cy="4887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5" name="Straight Connector 554"/>
            <p:cNvSpPr/>
            <p:nvPr/>
          </p:nvSpPr>
          <p:spPr>
            <a:xfrm>
              <a:off x="839131" y="2014812"/>
              <a:ext cx="17219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6" name="Freeform: Shape 562"/>
            <p:cNvSpPr/>
            <p:nvPr/>
          </p:nvSpPr>
          <p:spPr>
            <a:xfrm>
              <a:off x="915108" y="1804822"/>
              <a:ext cx="174101" cy="10957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57" h="288">
                  <a:moveTo>
                    <a:pt x="457" y="288"/>
                  </a:moveTo>
                  <a:cubicBezTo>
                    <a:pt x="284" y="217"/>
                    <a:pt x="129" y="119"/>
                    <a:pt x="0" y="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7" name="Straight Connector 556"/>
            <p:cNvSpPr/>
            <p:nvPr/>
          </p:nvSpPr>
          <p:spPr>
            <a:xfrm>
              <a:off x="981923" y="1857892"/>
              <a:ext cx="0" cy="15424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8" name="Straight Connector 557"/>
            <p:cNvSpPr/>
            <p:nvPr/>
          </p:nvSpPr>
          <p:spPr>
            <a:xfrm>
              <a:off x="1033084" y="1888054"/>
              <a:ext cx="0" cy="9926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9" name="Straight Connector 558"/>
            <p:cNvSpPr/>
            <p:nvPr/>
          </p:nvSpPr>
          <p:spPr>
            <a:xfrm>
              <a:off x="1085391" y="1914780"/>
              <a:ext cx="0" cy="572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0" name="Freeform: Shape 566"/>
            <p:cNvSpPr/>
            <p:nvPr/>
          </p:nvSpPr>
          <p:spPr>
            <a:xfrm>
              <a:off x="8772561" y="1252357"/>
              <a:ext cx="296277" cy="74451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77" h="1951" fill="none">
                  <a:moveTo>
                    <a:pt x="0" y="1949"/>
                  </a:moveTo>
                  <a:lnTo>
                    <a:pt x="399" y="0"/>
                  </a:lnTo>
                  <a:lnTo>
                    <a:pt x="777" y="195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1" name="Freeform: Shape 567"/>
            <p:cNvSpPr/>
            <p:nvPr/>
          </p:nvSpPr>
          <p:spPr>
            <a:xfrm>
              <a:off x="8843956" y="1400877"/>
              <a:ext cx="159593" cy="20846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9" h="547" fill="none">
                  <a:moveTo>
                    <a:pt x="20" y="547"/>
                  </a:moveTo>
                  <a:lnTo>
                    <a:pt x="0" y="0"/>
                  </a:lnTo>
                  <a:lnTo>
                    <a:pt x="419" y="0"/>
                  </a:lnTo>
                  <a:lnTo>
                    <a:pt x="390" y="5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2" name="Straight Connector 561"/>
            <p:cNvSpPr/>
            <p:nvPr/>
          </p:nvSpPr>
          <p:spPr>
            <a:xfrm>
              <a:off x="8911153" y="1435621"/>
              <a:ext cx="232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3" name="Straight Connector 562"/>
            <p:cNvSpPr/>
            <p:nvPr/>
          </p:nvSpPr>
          <p:spPr>
            <a:xfrm>
              <a:off x="8904664" y="1469219"/>
              <a:ext cx="3588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4" name="Straight Connector 563"/>
            <p:cNvSpPr/>
            <p:nvPr/>
          </p:nvSpPr>
          <p:spPr>
            <a:xfrm>
              <a:off x="8898937" y="1502817"/>
              <a:ext cx="4734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5" name="Straight Connector 564"/>
            <p:cNvSpPr/>
            <p:nvPr/>
          </p:nvSpPr>
          <p:spPr>
            <a:xfrm>
              <a:off x="8892828" y="1536033"/>
              <a:ext cx="591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6" name="Straight Connector 565"/>
            <p:cNvSpPr/>
            <p:nvPr/>
          </p:nvSpPr>
          <p:spPr>
            <a:xfrm>
              <a:off x="8886719" y="1569633"/>
              <a:ext cx="7139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7" name="Straight Connector 566"/>
            <p:cNvSpPr/>
            <p:nvPr/>
          </p:nvSpPr>
          <p:spPr>
            <a:xfrm>
              <a:off x="8880610" y="1603231"/>
              <a:ext cx="8323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8" name="Straight Connector 567"/>
            <p:cNvSpPr/>
            <p:nvPr/>
          </p:nvSpPr>
          <p:spPr>
            <a:xfrm>
              <a:off x="8874500" y="1636830"/>
              <a:ext cx="9545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9" name="Straight Connector 568"/>
            <p:cNvSpPr/>
            <p:nvPr/>
          </p:nvSpPr>
          <p:spPr>
            <a:xfrm>
              <a:off x="8868775" y="1670428"/>
              <a:ext cx="10728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0" name="Straight Connector 569"/>
            <p:cNvSpPr/>
            <p:nvPr/>
          </p:nvSpPr>
          <p:spPr>
            <a:xfrm>
              <a:off x="8862666" y="1704027"/>
              <a:ext cx="11912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1" name="Straight Connector 570"/>
            <p:cNvSpPr/>
            <p:nvPr/>
          </p:nvSpPr>
          <p:spPr>
            <a:xfrm>
              <a:off x="8856557" y="1737625"/>
              <a:ext cx="13095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2" name="Straight Connector 571"/>
            <p:cNvSpPr/>
            <p:nvPr/>
          </p:nvSpPr>
          <p:spPr>
            <a:xfrm>
              <a:off x="8850448" y="1770842"/>
              <a:ext cx="14317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3" name="Straight Connector 572"/>
            <p:cNvSpPr/>
            <p:nvPr/>
          </p:nvSpPr>
          <p:spPr>
            <a:xfrm>
              <a:off x="8844339" y="1804058"/>
              <a:ext cx="15501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4" name="Straight Connector 573"/>
            <p:cNvSpPr/>
            <p:nvPr/>
          </p:nvSpPr>
          <p:spPr>
            <a:xfrm>
              <a:off x="8838230" y="1837657"/>
              <a:ext cx="1672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5" name="Straight Connector 574"/>
            <p:cNvSpPr/>
            <p:nvPr/>
          </p:nvSpPr>
          <p:spPr>
            <a:xfrm>
              <a:off x="8832502" y="1871255"/>
              <a:ext cx="17868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6" name="Straight Connector 575"/>
            <p:cNvSpPr/>
            <p:nvPr/>
          </p:nvSpPr>
          <p:spPr>
            <a:xfrm>
              <a:off x="8826012" y="1904854"/>
              <a:ext cx="19128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7" name="Straight Connector 576"/>
            <p:cNvSpPr/>
            <p:nvPr/>
          </p:nvSpPr>
          <p:spPr>
            <a:xfrm>
              <a:off x="8820286" y="1938452"/>
              <a:ext cx="20311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8" name="Straight Connector 577"/>
            <p:cNvSpPr/>
            <p:nvPr/>
          </p:nvSpPr>
          <p:spPr>
            <a:xfrm>
              <a:off x="8814177" y="1972050"/>
              <a:ext cx="21495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9" name="Arc 578"/>
            <p:cNvSpPr/>
            <p:nvPr/>
          </p:nvSpPr>
          <p:spPr>
            <a:xfrm>
              <a:off x="-1444417" y="389303"/>
              <a:ext cx="1707410" cy="1707410"/>
            </a:xfrm>
            <a:prstGeom prst="arc">
              <a:avLst>
                <a:gd name="adj1" fmla="val 2456154"/>
                <a:gd name="adj2" fmla="val 2779844"/>
              </a:avLst>
            </a:prstGeom>
            <a:ln cap="rnd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457189"/>
              <a:endParaRPr lang="en-US">
                <a:solidFill>
                  <a:srgbClr val="282828"/>
                </a:solidFill>
              </a:endParaRPr>
            </a:p>
          </p:txBody>
        </p:sp>
        <p:sp>
          <p:nvSpPr>
            <p:cNvPr id="580" name="Straight Connector 579"/>
            <p:cNvSpPr/>
            <p:nvPr userDrawn="1"/>
          </p:nvSpPr>
          <p:spPr>
            <a:xfrm>
              <a:off x="8721398" y="2014813"/>
              <a:ext cx="42260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2" name="Straight Connector 581"/>
            <p:cNvSpPr/>
            <p:nvPr userDrawn="1"/>
          </p:nvSpPr>
          <p:spPr>
            <a:xfrm>
              <a:off x="9023402" y="2105024"/>
              <a:ext cx="12059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3" name="Straight Connector 582"/>
            <p:cNvSpPr/>
            <p:nvPr userDrawn="1"/>
          </p:nvSpPr>
          <p:spPr>
            <a:xfrm>
              <a:off x="9023402" y="2060575"/>
              <a:ext cx="0" cy="417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648943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Whi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69497" y="3868769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2"/>
                </a:solidFill>
                <a:latin typeface="+mn-lt"/>
                <a:cs typeface="CiscoSansTT ExtraLight"/>
              </a:defRPr>
            </a:lvl1pPr>
            <a:lvl2pPr marL="342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69497" y="4108766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2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69497" y="4348763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2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63293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="0" i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  <a:lvl2pPr marL="304774" indent="0">
              <a:buNone/>
              <a:defRPr/>
            </a:lvl2pPr>
            <a:lvl3pPr marL="427391" indent="0">
              <a:buNone/>
              <a:defRPr/>
            </a:lvl3pPr>
            <a:lvl4pPr marL="516681" indent="0">
              <a:buNone/>
              <a:defRPr/>
            </a:lvl4pPr>
            <a:lvl5pPr marL="601206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 userDrawn="1"/>
        </p:nvSpPr>
        <p:spPr bwMode="auto">
          <a:xfrm>
            <a:off x="469496" y="391309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en-US">
              <a:solidFill>
                <a:srgbClr val="005073"/>
              </a:solidFill>
              <a:cs typeface=""/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-1444417" y="389303"/>
            <a:ext cx="10588417" cy="2117268"/>
            <a:chOff x="-1444417" y="389303"/>
            <a:chExt cx="10588417" cy="2117268"/>
          </a:xfrm>
        </p:grpSpPr>
        <p:sp>
          <p:nvSpPr>
            <p:cNvPr id="9" name="Freeform: Shape 2"/>
            <p:cNvSpPr/>
            <p:nvPr/>
          </p:nvSpPr>
          <p:spPr>
            <a:xfrm>
              <a:off x="4672025" y="1717771"/>
              <a:ext cx="341330" cy="34133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95" h="895">
                  <a:moveTo>
                    <a:pt x="895" y="448"/>
                  </a:moveTo>
                  <a:cubicBezTo>
                    <a:pt x="895" y="530"/>
                    <a:pt x="876" y="600"/>
                    <a:pt x="835" y="672"/>
                  </a:cubicBezTo>
                  <a:cubicBezTo>
                    <a:pt x="794" y="743"/>
                    <a:pt x="742" y="793"/>
                    <a:pt x="671" y="835"/>
                  </a:cubicBezTo>
                  <a:cubicBezTo>
                    <a:pt x="599" y="876"/>
                    <a:pt x="529" y="895"/>
                    <a:pt x="447" y="895"/>
                  </a:cubicBezTo>
                  <a:cubicBezTo>
                    <a:pt x="364" y="895"/>
                    <a:pt x="294" y="876"/>
                    <a:pt x="223" y="835"/>
                  </a:cubicBezTo>
                  <a:cubicBezTo>
                    <a:pt x="151" y="793"/>
                    <a:pt x="101" y="743"/>
                    <a:pt x="60" y="672"/>
                  </a:cubicBezTo>
                  <a:cubicBezTo>
                    <a:pt x="18" y="600"/>
                    <a:pt x="0" y="530"/>
                    <a:pt x="0" y="448"/>
                  </a:cubicBezTo>
                  <a:cubicBezTo>
                    <a:pt x="0" y="365"/>
                    <a:pt x="18" y="295"/>
                    <a:pt x="60" y="224"/>
                  </a:cubicBezTo>
                  <a:cubicBezTo>
                    <a:pt x="101" y="153"/>
                    <a:pt x="151" y="101"/>
                    <a:pt x="223" y="60"/>
                  </a:cubicBezTo>
                  <a:cubicBezTo>
                    <a:pt x="294" y="19"/>
                    <a:pt x="365" y="0"/>
                    <a:pt x="447" y="0"/>
                  </a:cubicBezTo>
                  <a:cubicBezTo>
                    <a:pt x="530" y="0"/>
                    <a:pt x="599" y="19"/>
                    <a:pt x="671" y="60"/>
                  </a:cubicBezTo>
                  <a:cubicBezTo>
                    <a:pt x="742" y="101"/>
                    <a:pt x="794" y="153"/>
                    <a:pt x="835" y="224"/>
                  </a:cubicBezTo>
                  <a:cubicBezTo>
                    <a:pt x="876" y="295"/>
                    <a:pt x="895" y="365"/>
                    <a:pt x="895" y="44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Straight Connector 9"/>
            <p:cNvSpPr/>
            <p:nvPr/>
          </p:nvSpPr>
          <p:spPr>
            <a:xfrm>
              <a:off x="4842689" y="1710517"/>
              <a:ext cx="0" cy="2252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Straight Connector 10"/>
            <p:cNvSpPr/>
            <p:nvPr/>
          </p:nvSpPr>
          <p:spPr>
            <a:xfrm>
              <a:off x="4842689" y="2051083"/>
              <a:ext cx="0" cy="2252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Straight Connector 11"/>
            <p:cNvSpPr/>
            <p:nvPr/>
          </p:nvSpPr>
          <p:spPr>
            <a:xfrm flipH="1">
              <a:off x="4903395" y="1724262"/>
              <a:ext cx="840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Straight Connector 12"/>
            <p:cNvSpPr/>
            <p:nvPr/>
          </p:nvSpPr>
          <p:spPr>
            <a:xfrm flipH="1">
              <a:off x="4773965" y="2039247"/>
              <a:ext cx="840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Straight Connector 13"/>
            <p:cNvSpPr/>
            <p:nvPr/>
          </p:nvSpPr>
          <p:spPr>
            <a:xfrm flipH="1">
              <a:off x="4956085" y="1764733"/>
              <a:ext cx="15653" cy="1565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Straight Connector 14"/>
            <p:cNvSpPr/>
            <p:nvPr/>
          </p:nvSpPr>
          <p:spPr>
            <a:xfrm flipH="1">
              <a:off x="4713641" y="2004122"/>
              <a:ext cx="16035" cy="1527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Straight Connector 20"/>
            <p:cNvSpPr/>
            <p:nvPr/>
          </p:nvSpPr>
          <p:spPr>
            <a:xfrm flipH="1">
              <a:off x="4990064" y="1823530"/>
              <a:ext cx="20617" cy="8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Straight Connector 21"/>
            <p:cNvSpPr/>
            <p:nvPr/>
          </p:nvSpPr>
          <p:spPr>
            <a:xfrm flipH="1">
              <a:off x="4674315" y="1951815"/>
              <a:ext cx="20999" cy="8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Straight Connector 22"/>
            <p:cNvSpPr/>
            <p:nvPr/>
          </p:nvSpPr>
          <p:spPr>
            <a:xfrm flipH="1">
              <a:off x="5001518" y="1891491"/>
              <a:ext cx="2252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Straight Connector 23"/>
            <p:cNvSpPr/>
            <p:nvPr/>
          </p:nvSpPr>
          <p:spPr>
            <a:xfrm flipH="1">
              <a:off x="4661334" y="1892254"/>
              <a:ext cx="22144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Straight Connector 24"/>
            <p:cNvSpPr/>
            <p:nvPr/>
          </p:nvSpPr>
          <p:spPr>
            <a:xfrm flipH="1" flipV="1">
              <a:off x="4990064" y="1951815"/>
              <a:ext cx="21000" cy="80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Straight Connector 25"/>
            <p:cNvSpPr/>
            <p:nvPr/>
          </p:nvSpPr>
          <p:spPr>
            <a:xfrm flipH="1" flipV="1">
              <a:off x="4674315" y="1823912"/>
              <a:ext cx="20999" cy="8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Straight Connector 26"/>
            <p:cNvSpPr/>
            <p:nvPr/>
          </p:nvSpPr>
          <p:spPr>
            <a:xfrm>
              <a:off x="4715169" y="1763206"/>
              <a:ext cx="15653" cy="1565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Straight Connector 27"/>
            <p:cNvSpPr/>
            <p:nvPr/>
          </p:nvSpPr>
          <p:spPr>
            <a:xfrm>
              <a:off x="4954558" y="2005267"/>
              <a:ext cx="15653" cy="1565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Straight Connector 28"/>
            <p:cNvSpPr/>
            <p:nvPr/>
          </p:nvSpPr>
          <p:spPr>
            <a:xfrm>
              <a:off x="4769766" y="1725788"/>
              <a:ext cx="9162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Straight Connector 29"/>
            <p:cNvSpPr/>
            <p:nvPr/>
          </p:nvSpPr>
          <p:spPr>
            <a:xfrm>
              <a:off x="4906831" y="2037719"/>
              <a:ext cx="8781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Freeform: Shape 19"/>
            <p:cNvSpPr/>
            <p:nvPr/>
          </p:nvSpPr>
          <p:spPr>
            <a:xfrm>
              <a:off x="4788855" y="1885382"/>
              <a:ext cx="106904" cy="318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81" h="834" fill="none">
                  <a:moveTo>
                    <a:pt x="0" y="834"/>
                  </a:moveTo>
                  <a:lnTo>
                    <a:pt x="159" y="0"/>
                  </a:lnTo>
                  <a:lnTo>
                    <a:pt x="281" y="65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Straight Connector 31"/>
            <p:cNvSpPr/>
            <p:nvPr/>
          </p:nvSpPr>
          <p:spPr>
            <a:xfrm>
              <a:off x="4685005" y="2182422"/>
              <a:ext cx="0" cy="11644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Freeform: Shape 21"/>
            <p:cNvSpPr/>
            <p:nvPr/>
          </p:nvSpPr>
          <p:spPr>
            <a:xfrm>
              <a:off x="5098113" y="1929671"/>
              <a:ext cx="158447" cy="3562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Freeform: Shape 22"/>
            <p:cNvSpPr/>
            <p:nvPr/>
          </p:nvSpPr>
          <p:spPr>
            <a:xfrm>
              <a:off x="5131330" y="2140424"/>
              <a:ext cx="92396" cy="15195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60" y="0"/>
                  </a:lnTo>
                  <a:cubicBezTo>
                    <a:pt x="206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Straight Connector 34"/>
            <p:cNvSpPr/>
            <p:nvPr/>
          </p:nvSpPr>
          <p:spPr>
            <a:xfrm>
              <a:off x="5121021" y="2025502"/>
              <a:ext cx="11339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Freeform: Shape 24"/>
            <p:cNvSpPr/>
            <p:nvPr/>
          </p:nvSpPr>
          <p:spPr>
            <a:xfrm>
              <a:off x="4714404" y="1929671"/>
              <a:ext cx="376837" cy="32796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8" h="860">
                  <a:moveTo>
                    <a:pt x="988" y="0"/>
                  </a:moveTo>
                  <a:cubicBezTo>
                    <a:pt x="909" y="478"/>
                    <a:pt x="499" y="846"/>
                    <a:pt x="0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Straight Connector 36"/>
            <p:cNvSpPr/>
            <p:nvPr/>
          </p:nvSpPr>
          <p:spPr>
            <a:xfrm>
              <a:off x="4898814" y="2211439"/>
              <a:ext cx="18097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Freeform: Shape 26"/>
            <p:cNvSpPr/>
            <p:nvPr/>
          </p:nvSpPr>
          <p:spPr>
            <a:xfrm>
              <a:off x="5829643" y="1929671"/>
              <a:ext cx="376455" cy="32796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7" h="860">
                  <a:moveTo>
                    <a:pt x="0" y="0"/>
                  </a:moveTo>
                  <a:cubicBezTo>
                    <a:pt x="79" y="478"/>
                    <a:pt x="489" y="846"/>
                    <a:pt x="987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Straight Connector 38"/>
            <p:cNvSpPr/>
            <p:nvPr/>
          </p:nvSpPr>
          <p:spPr>
            <a:xfrm flipH="1">
              <a:off x="5841097" y="2211439"/>
              <a:ext cx="18135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Straight Connector 39"/>
            <p:cNvSpPr/>
            <p:nvPr/>
          </p:nvSpPr>
          <p:spPr>
            <a:xfrm>
              <a:off x="4728532" y="2304217"/>
              <a:ext cx="21380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Straight Connector 40"/>
            <p:cNvSpPr/>
            <p:nvPr/>
          </p:nvSpPr>
          <p:spPr>
            <a:xfrm>
              <a:off x="5256942" y="1939979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Straight Connector 41"/>
            <p:cNvSpPr/>
            <p:nvPr/>
          </p:nvSpPr>
          <p:spPr>
            <a:xfrm>
              <a:off x="5256942" y="1966705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Straight Connector 42"/>
            <p:cNvSpPr/>
            <p:nvPr/>
          </p:nvSpPr>
          <p:spPr>
            <a:xfrm>
              <a:off x="5256942" y="2017485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Straight Connector 43"/>
            <p:cNvSpPr/>
            <p:nvPr/>
          </p:nvSpPr>
          <p:spPr>
            <a:xfrm>
              <a:off x="5256942" y="2198458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Straight Connector 44"/>
            <p:cNvSpPr/>
            <p:nvPr/>
          </p:nvSpPr>
          <p:spPr>
            <a:xfrm>
              <a:off x="5256942" y="2250383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Freeform: Shape 34"/>
            <p:cNvSpPr/>
            <p:nvPr/>
          </p:nvSpPr>
          <p:spPr>
            <a:xfrm>
              <a:off x="5094677" y="1829257"/>
              <a:ext cx="38944" cy="6948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2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Freeform: Shape 35"/>
            <p:cNvSpPr/>
            <p:nvPr/>
          </p:nvSpPr>
          <p:spPr>
            <a:xfrm>
              <a:off x="5222962" y="1829257"/>
              <a:ext cx="38562" cy="6948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0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Freeform: Shape 36"/>
            <p:cNvSpPr/>
            <p:nvPr/>
          </p:nvSpPr>
          <p:spPr>
            <a:xfrm>
              <a:off x="5120258" y="1753279"/>
              <a:ext cx="114158" cy="14546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49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Freeform: Shape 37"/>
            <p:cNvSpPr/>
            <p:nvPr/>
          </p:nvSpPr>
          <p:spPr>
            <a:xfrm>
              <a:off x="5162638" y="1956015"/>
              <a:ext cx="29399" cy="3512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Freeform: Shape 38"/>
            <p:cNvSpPr/>
            <p:nvPr/>
          </p:nvSpPr>
          <p:spPr>
            <a:xfrm>
              <a:off x="5663942" y="1929671"/>
              <a:ext cx="158447" cy="3562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Freeform: Shape 39"/>
            <p:cNvSpPr/>
            <p:nvPr/>
          </p:nvSpPr>
          <p:spPr>
            <a:xfrm>
              <a:off x="5697158" y="2140424"/>
              <a:ext cx="92396" cy="15195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59" y="0"/>
                  </a:lnTo>
                  <a:cubicBezTo>
                    <a:pt x="205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" name="Straight Connector 51"/>
            <p:cNvSpPr/>
            <p:nvPr/>
          </p:nvSpPr>
          <p:spPr>
            <a:xfrm>
              <a:off x="5686468" y="2025502"/>
              <a:ext cx="11377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" name="Freeform: Shape 41"/>
            <p:cNvSpPr/>
            <p:nvPr/>
          </p:nvSpPr>
          <p:spPr>
            <a:xfrm>
              <a:off x="5660505" y="1829257"/>
              <a:ext cx="38562" cy="6948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2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" name="Freeform: Shape 42"/>
            <p:cNvSpPr/>
            <p:nvPr/>
          </p:nvSpPr>
          <p:spPr>
            <a:xfrm>
              <a:off x="5788409" y="1829257"/>
              <a:ext cx="38944" cy="6948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1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" name="Freeform: Shape 43"/>
            <p:cNvSpPr/>
            <p:nvPr/>
          </p:nvSpPr>
          <p:spPr>
            <a:xfrm>
              <a:off x="5685704" y="1753279"/>
              <a:ext cx="114158" cy="14546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51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" name="Freeform: Shape 44"/>
            <p:cNvSpPr/>
            <p:nvPr/>
          </p:nvSpPr>
          <p:spPr>
            <a:xfrm>
              <a:off x="7548126" y="2107208"/>
              <a:ext cx="272224" cy="4047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14" h="107">
                  <a:moveTo>
                    <a:pt x="357" y="0"/>
                  </a:moveTo>
                  <a:lnTo>
                    <a:pt x="0" y="107"/>
                  </a:lnTo>
                  <a:lnTo>
                    <a:pt x="714" y="10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" name="Freeform: Shape 45"/>
            <p:cNvSpPr/>
            <p:nvPr/>
          </p:nvSpPr>
          <p:spPr>
            <a:xfrm>
              <a:off x="5728466" y="1956015"/>
              <a:ext cx="29399" cy="3512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" name="Straight Connector 57"/>
            <p:cNvSpPr/>
            <p:nvPr/>
          </p:nvSpPr>
          <p:spPr>
            <a:xfrm>
              <a:off x="5051152" y="2304217"/>
              <a:ext cx="7937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" name="Straight Connector 58"/>
            <p:cNvSpPr/>
            <p:nvPr/>
          </p:nvSpPr>
          <p:spPr>
            <a:xfrm>
              <a:off x="5167601" y="2337815"/>
              <a:ext cx="0" cy="5421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0" name="Straight Connector 59"/>
            <p:cNvSpPr/>
            <p:nvPr/>
          </p:nvSpPr>
          <p:spPr>
            <a:xfrm>
              <a:off x="5229071" y="2335143"/>
              <a:ext cx="45548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1" name="Straight Connector 60"/>
            <p:cNvSpPr/>
            <p:nvPr/>
          </p:nvSpPr>
          <p:spPr>
            <a:xfrm>
              <a:off x="5366519" y="2379431"/>
              <a:ext cx="16646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2" name="Straight Connector 61"/>
            <p:cNvSpPr/>
            <p:nvPr/>
          </p:nvSpPr>
          <p:spPr>
            <a:xfrm>
              <a:off x="5413099" y="2407685"/>
              <a:ext cx="8017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3" name="Straight Connector 62"/>
            <p:cNvSpPr/>
            <p:nvPr/>
          </p:nvSpPr>
          <p:spPr>
            <a:xfrm>
              <a:off x="7335463" y="2432502"/>
              <a:ext cx="16646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4" name="Straight Connector 63"/>
            <p:cNvSpPr/>
            <p:nvPr/>
          </p:nvSpPr>
          <p:spPr>
            <a:xfrm>
              <a:off x="7382044" y="2461137"/>
              <a:ext cx="8017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5" name="Straight Connector 64"/>
            <p:cNvSpPr/>
            <p:nvPr/>
          </p:nvSpPr>
          <p:spPr>
            <a:xfrm>
              <a:off x="7582107" y="2402721"/>
              <a:ext cx="4008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6" name="Straight Connector 65"/>
            <p:cNvSpPr/>
            <p:nvPr/>
          </p:nvSpPr>
          <p:spPr>
            <a:xfrm>
              <a:off x="5837279" y="2329797"/>
              <a:ext cx="0" cy="805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7" name="Straight Connector 66"/>
            <p:cNvSpPr/>
            <p:nvPr/>
          </p:nvSpPr>
          <p:spPr>
            <a:xfrm flipH="1">
              <a:off x="5862096" y="2340106"/>
              <a:ext cx="36347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8" name="Straight Connector 67"/>
            <p:cNvSpPr/>
            <p:nvPr/>
          </p:nvSpPr>
          <p:spPr>
            <a:xfrm flipV="1">
              <a:off x="5862096" y="2218312"/>
              <a:ext cx="0" cy="4581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9" name="Freeform: Shape 57"/>
            <p:cNvSpPr/>
            <p:nvPr/>
          </p:nvSpPr>
          <p:spPr>
            <a:xfrm>
              <a:off x="5902185" y="2277109"/>
              <a:ext cx="303913" cy="423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7" h="112">
                  <a:moveTo>
                    <a:pt x="399" y="112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797" y="0"/>
                  </a:lnTo>
                  <a:lnTo>
                    <a:pt x="797" y="11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0" name="Freeform: Shape 58"/>
            <p:cNvSpPr/>
            <p:nvPr/>
          </p:nvSpPr>
          <p:spPr>
            <a:xfrm>
              <a:off x="5998781" y="1627666"/>
              <a:ext cx="83996" cy="59064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1" h="1548" fill="none">
                  <a:moveTo>
                    <a:pt x="0" y="1421"/>
                  </a:moveTo>
                  <a:lnTo>
                    <a:pt x="0" y="0"/>
                  </a:lnTo>
                  <a:lnTo>
                    <a:pt x="221" y="0"/>
                  </a:lnTo>
                  <a:lnTo>
                    <a:pt x="221" y="154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1" name="Freeform: Shape 59"/>
            <p:cNvSpPr/>
            <p:nvPr/>
          </p:nvSpPr>
          <p:spPr>
            <a:xfrm>
              <a:off x="6051086" y="1503962"/>
              <a:ext cx="285969" cy="73343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50" h="1922" fill="none">
                  <a:moveTo>
                    <a:pt x="0" y="1839"/>
                  </a:moveTo>
                  <a:lnTo>
                    <a:pt x="0" y="0"/>
                  </a:lnTo>
                  <a:lnTo>
                    <a:pt x="276" y="0"/>
                  </a:lnTo>
                  <a:lnTo>
                    <a:pt x="276" y="1922"/>
                  </a:lnTo>
                  <a:lnTo>
                    <a:pt x="750" y="1922"/>
                  </a:lnTo>
                  <a:lnTo>
                    <a:pt x="550" y="1831"/>
                  </a:lnTo>
                  <a:lnTo>
                    <a:pt x="407" y="183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2" name="Freeform: Shape 60"/>
            <p:cNvSpPr/>
            <p:nvPr/>
          </p:nvSpPr>
          <p:spPr>
            <a:xfrm>
              <a:off x="6083159" y="1555888"/>
              <a:ext cx="104995" cy="66242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6" h="1736" fill="none">
                  <a:moveTo>
                    <a:pt x="276" y="1736"/>
                  </a:moveTo>
                  <a:lnTo>
                    <a:pt x="276" y="0"/>
                  </a:lnTo>
                  <a:lnTo>
                    <a:pt x="0" y="0"/>
                  </a:lnTo>
                  <a:lnTo>
                    <a:pt x="0" y="19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3" name="Straight Connector 72"/>
            <p:cNvSpPr/>
            <p:nvPr/>
          </p:nvSpPr>
          <p:spPr>
            <a:xfrm>
              <a:off x="6210680" y="1979305"/>
              <a:ext cx="3054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4" name="Straight Connector 73"/>
            <p:cNvSpPr/>
            <p:nvPr/>
          </p:nvSpPr>
          <p:spPr>
            <a:xfrm>
              <a:off x="6224043" y="2021303"/>
              <a:ext cx="0" cy="2138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5" name="Freeform: Shape 63"/>
            <p:cNvSpPr/>
            <p:nvPr/>
          </p:nvSpPr>
          <p:spPr>
            <a:xfrm>
              <a:off x="6261078" y="1471892"/>
              <a:ext cx="76360" cy="73076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1" h="1915" fill="none">
                  <a:moveTo>
                    <a:pt x="0" y="1915"/>
                  </a:moveTo>
                  <a:lnTo>
                    <a:pt x="0" y="617"/>
                  </a:lnTo>
                  <a:lnTo>
                    <a:pt x="201" y="474"/>
                  </a:lnTo>
                  <a:lnTo>
                    <a:pt x="95" y="474"/>
                  </a:lnTo>
                  <a:lnTo>
                    <a:pt x="95" y="0"/>
                  </a:lnTo>
                  <a:lnTo>
                    <a:pt x="20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6" name="Freeform: Shape 64"/>
            <p:cNvSpPr/>
            <p:nvPr/>
          </p:nvSpPr>
          <p:spPr>
            <a:xfrm>
              <a:off x="6337819" y="1130562"/>
              <a:ext cx="112249" cy="115380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5" h="3023" fill="none">
                  <a:moveTo>
                    <a:pt x="0" y="3023"/>
                  </a:moveTo>
                  <a:lnTo>
                    <a:pt x="0" y="503"/>
                  </a:lnTo>
                  <a:lnTo>
                    <a:pt x="198" y="306"/>
                  </a:lnTo>
                  <a:lnTo>
                    <a:pt x="198" y="0"/>
                  </a:lnTo>
                  <a:lnTo>
                    <a:pt x="295" y="190"/>
                  </a:lnTo>
                  <a:lnTo>
                    <a:pt x="295" y="89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7" name="Straight Connector 76"/>
            <p:cNvSpPr/>
            <p:nvPr/>
          </p:nvSpPr>
          <p:spPr>
            <a:xfrm>
              <a:off x="6359582" y="1332153"/>
              <a:ext cx="0" cy="95335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8" name="Freeform: Shape 66"/>
            <p:cNvSpPr/>
            <p:nvPr/>
          </p:nvSpPr>
          <p:spPr>
            <a:xfrm>
              <a:off x="6337819" y="1413858"/>
              <a:ext cx="161883" cy="87126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5" h="2283" fill="none">
                  <a:moveTo>
                    <a:pt x="0" y="2283"/>
                  </a:moveTo>
                  <a:lnTo>
                    <a:pt x="138" y="2283"/>
                  </a:lnTo>
                  <a:lnTo>
                    <a:pt x="138" y="356"/>
                  </a:lnTo>
                  <a:lnTo>
                    <a:pt x="425" y="70"/>
                  </a:lnTo>
                  <a:lnTo>
                    <a:pt x="295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9" name="Freeform: Shape 67"/>
            <p:cNvSpPr/>
            <p:nvPr/>
          </p:nvSpPr>
          <p:spPr>
            <a:xfrm>
              <a:off x="6450449" y="1387132"/>
              <a:ext cx="113395" cy="73114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916" fill="none">
                  <a:moveTo>
                    <a:pt x="0" y="0"/>
                  </a:moveTo>
                  <a:lnTo>
                    <a:pt x="200" y="106"/>
                  </a:lnTo>
                  <a:lnTo>
                    <a:pt x="200" y="1916"/>
                  </a:lnTo>
                  <a:lnTo>
                    <a:pt x="298" y="1916"/>
                  </a:lnTo>
                  <a:lnTo>
                    <a:pt x="298" y="654"/>
                  </a:lnTo>
                  <a:lnTo>
                    <a:pt x="207" y="58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0" name="Straight Connector 79"/>
            <p:cNvSpPr/>
            <p:nvPr/>
          </p:nvSpPr>
          <p:spPr>
            <a:xfrm>
              <a:off x="6492449" y="1513126"/>
              <a:ext cx="0" cy="5853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1" name="Freeform: Shape 69"/>
            <p:cNvSpPr/>
            <p:nvPr/>
          </p:nvSpPr>
          <p:spPr>
            <a:xfrm>
              <a:off x="6447777" y="2136225"/>
              <a:ext cx="400127" cy="14661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49" h="385" fill="none">
                  <a:moveTo>
                    <a:pt x="0" y="385"/>
                  </a:moveTo>
                  <a:lnTo>
                    <a:pt x="0" y="0"/>
                  </a:lnTo>
                  <a:lnTo>
                    <a:pt x="437" y="0"/>
                  </a:lnTo>
                  <a:lnTo>
                    <a:pt x="437" y="335"/>
                  </a:lnTo>
                  <a:lnTo>
                    <a:pt x="512" y="335"/>
                  </a:lnTo>
                  <a:lnTo>
                    <a:pt x="512" y="0"/>
                  </a:lnTo>
                  <a:lnTo>
                    <a:pt x="793" y="0"/>
                  </a:lnTo>
                  <a:lnTo>
                    <a:pt x="793" y="344"/>
                  </a:lnTo>
                  <a:lnTo>
                    <a:pt x="1049" y="34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2" name="Straight Connector 81"/>
            <p:cNvSpPr/>
            <p:nvPr/>
          </p:nvSpPr>
          <p:spPr>
            <a:xfrm>
              <a:off x="6323311" y="2317198"/>
              <a:ext cx="19662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3" name="Straight Connector 82"/>
            <p:cNvSpPr/>
            <p:nvPr/>
          </p:nvSpPr>
          <p:spPr>
            <a:xfrm>
              <a:off x="6304985" y="2329797"/>
              <a:ext cx="0" cy="5994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4" name="Straight Connector 83"/>
            <p:cNvSpPr/>
            <p:nvPr/>
          </p:nvSpPr>
          <p:spPr>
            <a:xfrm>
              <a:off x="6579880" y="1944179"/>
              <a:ext cx="794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5" name="Straight Connector 84"/>
            <p:cNvSpPr/>
            <p:nvPr/>
          </p:nvSpPr>
          <p:spPr>
            <a:xfrm>
              <a:off x="6602406" y="1886909"/>
              <a:ext cx="0" cy="5727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6" name="Straight Connector 85"/>
            <p:cNvSpPr/>
            <p:nvPr/>
          </p:nvSpPr>
          <p:spPr>
            <a:xfrm>
              <a:off x="6626461" y="1886909"/>
              <a:ext cx="0" cy="5727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" name="Freeform: Shape 75"/>
            <p:cNvSpPr/>
            <p:nvPr/>
          </p:nvSpPr>
          <p:spPr>
            <a:xfrm>
              <a:off x="6602406" y="2021303"/>
              <a:ext cx="40471" cy="9125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7" h="240">
                  <a:moveTo>
                    <a:pt x="54" y="240"/>
                  </a:moveTo>
                  <a:lnTo>
                    <a:pt x="0" y="240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2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8" name="Freeform: Shape 76"/>
            <p:cNvSpPr/>
            <p:nvPr/>
          </p:nvSpPr>
          <p:spPr>
            <a:xfrm>
              <a:off x="6487102" y="2255346"/>
              <a:ext cx="77124" cy="3168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3" h="84">
                  <a:moveTo>
                    <a:pt x="101" y="84"/>
                  </a:moveTo>
                  <a:lnTo>
                    <a:pt x="0" y="84"/>
                  </a:lnTo>
                  <a:lnTo>
                    <a:pt x="0" y="0"/>
                  </a:lnTo>
                  <a:lnTo>
                    <a:pt x="203" y="0"/>
                  </a:lnTo>
                  <a:lnTo>
                    <a:pt x="203" y="8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9" name="Freeform: Shape 77"/>
            <p:cNvSpPr/>
            <p:nvPr/>
          </p:nvSpPr>
          <p:spPr>
            <a:xfrm>
              <a:off x="6636006" y="2283218"/>
              <a:ext cx="179064" cy="4428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70" h="117">
                  <a:moveTo>
                    <a:pt x="235" y="117"/>
                  </a:moveTo>
                  <a:lnTo>
                    <a:pt x="0" y="117"/>
                  </a:lnTo>
                  <a:lnTo>
                    <a:pt x="0" y="0"/>
                  </a:lnTo>
                  <a:lnTo>
                    <a:pt x="470" y="0"/>
                  </a:lnTo>
                  <a:lnTo>
                    <a:pt x="470" y="11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0" name="Freeform: Shape 78"/>
            <p:cNvSpPr/>
            <p:nvPr/>
          </p:nvSpPr>
          <p:spPr>
            <a:xfrm>
              <a:off x="6282840" y="2106062"/>
              <a:ext cx="54597" cy="9048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4" h="238" fill="none">
                  <a:moveTo>
                    <a:pt x="144" y="238"/>
                  </a:moveTo>
                  <a:lnTo>
                    <a:pt x="0" y="238"/>
                  </a:lnTo>
                  <a:lnTo>
                    <a:pt x="0" y="0"/>
                  </a:lnTo>
                  <a:lnTo>
                    <a:pt x="144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1" name="Straight Connector 90"/>
            <p:cNvSpPr/>
            <p:nvPr/>
          </p:nvSpPr>
          <p:spPr>
            <a:xfrm>
              <a:off x="6277113" y="1714717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2" name="Straight Connector 91"/>
            <p:cNvSpPr/>
            <p:nvPr/>
          </p:nvSpPr>
          <p:spPr>
            <a:xfrm>
              <a:off x="6277113" y="1745261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3" name="Straight Connector 92"/>
            <p:cNvSpPr/>
            <p:nvPr/>
          </p:nvSpPr>
          <p:spPr>
            <a:xfrm>
              <a:off x="6277113" y="1775805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4" name="Straight Connector 93"/>
            <p:cNvSpPr/>
            <p:nvPr/>
          </p:nvSpPr>
          <p:spPr>
            <a:xfrm>
              <a:off x="6277113" y="1805967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5" name="Straight Connector 94"/>
            <p:cNvSpPr/>
            <p:nvPr/>
          </p:nvSpPr>
          <p:spPr>
            <a:xfrm>
              <a:off x="6277113" y="1836511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6" name="Straight Connector 95"/>
            <p:cNvSpPr/>
            <p:nvPr/>
          </p:nvSpPr>
          <p:spPr>
            <a:xfrm>
              <a:off x="6277113" y="1867055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7" name="Straight Connector 96"/>
            <p:cNvSpPr/>
            <p:nvPr/>
          </p:nvSpPr>
          <p:spPr>
            <a:xfrm>
              <a:off x="6277113" y="1897599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8" name="Straight Connector 97"/>
            <p:cNvSpPr/>
            <p:nvPr/>
          </p:nvSpPr>
          <p:spPr>
            <a:xfrm>
              <a:off x="6277113" y="1928143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9" name="Straight Connector 98"/>
            <p:cNvSpPr/>
            <p:nvPr/>
          </p:nvSpPr>
          <p:spPr>
            <a:xfrm>
              <a:off x="6277113" y="1958687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0" name="Straight Connector 99"/>
            <p:cNvSpPr/>
            <p:nvPr/>
          </p:nvSpPr>
          <p:spPr>
            <a:xfrm>
              <a:off x="6277113" y="1989613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1" name="Straight Connector 100"/>
            <p:cNvSpPr/>
            <p:nvPr/>
          </p:nvSpPr>
          <p:spPr>
            <a:xfrm>
              <a:off x="6277113" y="2019775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2" name="Straight Connector 101"/>
            <p:cNvSpPr/>
            <p:nvPr/>
          </p:nvSpPr>
          <p:spPr>
            <a:xfrm>
              <a:off x="6277113" y="2050319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3" name="Straight Connector 102"/>
            <p:cNvSpPr/>
            <p:nvPr/>
          </p:nvSpPr>
          <p:spPr>
            <a:xfrm>
              <a:off x="6529483" y="1636830"/>
              <a:ext cx="3474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4" name="Straight Connector 103"/>
            <p:cNvSpPr/>
            <p:nvPr/>
          </p:nvSpPr>
          <p:spPr>
            <a:xfrm>
              <a:off x="6736801" y="2353469"/>
              <a:ext cx="22029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5" name="Straight Connector 104"/>
            <p:cNvSpPr/>
            <p:nvPr/>
          </p:nvSpPr>
          <p:spPr>
            <a:xfrm>
              <a:off x="6880358" y="2279400"/>
              <a:ext cx="26573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6" name="Freeform: Shape 94"/>
            <p:cNvSpPr/>
            <p:nvPr/>
          </p:nvSpPr>
          <p:spPr>
            <a:xfrm>
              <a:off x="6659295" y="1445929"/>
              <a:ext cx="302768" cy="78536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4" h="2058">
                  <a:moveTo>
                    <a:pt x="0" y="1774"/>
                  </a:moveTo>
                  <a:lnTo>
                    <a:pt x="0" y="0"/>
                  </a:lnTo>
                  <a:lnTo>
                    <a:pt x="541" y="0"/>
                  </a:lnTo>
                  <a:lnTo>
                    <a:pt x="794" y="1518"/>
                  </a:lnTo>
                  <a:lnTo>
                    <a:pt x="655" y="1518"/>
                  </a:lnTo>
                  <a:lnTo>
                    <a:pt x="655" y="1746"/>
                  </a:lnTo>
                  <a:lnTo>
                    <a:pt x="541" y="1746"/>
                  </a:lnTo>
                  <a:lnTo>
                    <a:pt x="541" y="2058"/>
                  </a:lnTo>
                  <a:lnTo>
                    <a:pt x="456" y="2058"/>
                  </a:lnTo>
                  <a:lnTo>
                    <a:pt x="158" y="78"/>
                  </a:lnTo>
                  <a:lnTo>
                    <a:pt x="77" y="78"/>
                  </a:lnTo>
                  <a:lnTo>
                    <a:pt x="77" y="177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7" name="Freeform: Shape 95"/>
            <p:cNvSpPr/>
            <p:nvPr/>
          </p:nvSpPr>
          <p:spPr>
            <a:xfrm>
              <a:off x="6926937" y="2010994"/>
              <a:ext cx="335603" cy="2256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0" h="592" fill="none">
                  <a:moveTo>
                    <a:pt x="0" y="85"/>
                  </a:moveTo>
                  <a:lnTo>
                    <a:pt x="275" y="85"/>
                  </a:lnTo>
                  <a:lnTo>
                    <a:pt x="275" y="0"/>
                  </a:lnTo>
                  <a:lnTo>
                    <a:pt x="412" y="0"/>
                  </a:lnTo>
                  <a:lnTo>
                    <a:pt x="412" y="209"/>
                  </a:lnTo>
                  <a:lnTo>
                    <a:pt x="582" y="209"/>
                  </a:lnTo>
                  <a:lnTo>
                    <a:pt x="582" y="592"/>
                  </a:lnTo>
                  <a:lnTo>
                    <a:pt x="880" y="59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8" name="Straight Connector 107"/>
            <p:cNvSpPr/>
            <p:nvPr/>
          </p:nvSpPr>
          <p:spPr>
            <a:xfrm>
              <a:off x="7010934" y="2337815"/>
              <a:ext cx="54826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9" name="Freeform: Shape 97"/>
            <p:cNvSpPr/>
            <p:nvPr/>
          </p:nvSpPr>
          <p:spPr>
            <a:xfrm>
              <a:off x="6930755" y="2066355"/>
              <a:ext cx="57270" cy="1867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490">
                  <a:moveTo>
                    <a:pt x="76" y="490"/>
                  </a:moveTo>
                  <a:lnTo>
                    <a:pt x="0" y="490"/>
                  </a:lnTo>
                  <a:lnTo>
                    <a:pt x="0" y="0"/>
                  </a:lnTo>
                  <a:lnTo>
                    <a:pt x="151" y="0"/>
                  </a:lnTo>
                  <a:lnTo>
                    <a:pt x="151" y="49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0" name="Freeform: Shape 98"/>
            <p:cNvSpPr/>
            <p:nvPr/>
          </p:nvSpPr>
          <p:spPr>
            <a:xfrm>
              <a:off x="7018570" y="2194640"/>
              <a:ext cx="111104" cy="2596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2" h="69">
                  <a:moveTo>
                    <a:pt x="146" y="69"/>
                  </a:moveTo>
                  <a:lnTo>
                    <a:pt x="0" y="69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292" y="6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1" name="Straight Connector 110"/>
            <p:cNvSpPr/>
            <p:nvPr/>
          </p:nvSpPr>
          <p:spPr>
            <a:xfrm>
              <a:off x="6957099" y="1882326"/>
              <a:ext cx="0" cy="332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2" name="Freeform: Shape 100"/>
            <p:cNvSpPr/>
            <p:nvPr/>
          </p:nvSpPr>
          <p:spPr>
            <a:xfrm>
              <a:off x="6977334" y="1437912"/>
              <a:ext cx="255043" cy="73611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69" h="1929">
                  <a:moveTo>
                    <a:pt x="4" y="1419"/>
                  </a:moveTo>
                  <a:cubicBezTo>
                    <a:pt x="4" y="1419"/>
                    <a:pt x="-63" y="664"/>
                    <a:pt x="337" y="0"/>
                  </a:cubicBezTo>
                  <a:cubicBezTo>
                    <a:pt x="337" y="0"/>
                    <a:pt x="845" y="812"/>
                    <a:pt x="603" y="192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3" name="Freeform: Shape 101"/>
            <p:cNvSpPr/>
            <p:nvPr/>
          </p:nvSpPr>
          <p:spPr>
            <a:xfrm>
              <a:off x="7071639" y="1514654"/>
              <a:ext cx="105377" cy="12179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7" h="320">
                  <a:moveTo>
                    <a:pt x="0" y="0"/>
                  </a:moveTo>
                  <a:cubicBezTo>
                    <a:pt x="0" y="0"/>
                    <a:pt x="103" y="215"/>
                    <a:pt x="277" y="32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4" name="Freeform: Shape 102"/>
            <p:cNvSpPr/>
            <p:nvPr/>
          </p:nvSpPr>
          <p:spPr>
            <a:xfrm>
              <a:off x="7054077" y="1597504"/>
              <a:ext cx="134776" cy="152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0" y="0"/>
                  </a:moveTo>
                  <a:cubicBezTo>
                    <a:pt x="0" y="0"/>
                    <a:pt x="132" y="269"/>
                    <a:pt x="354" y="40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5" name="Freeform: Shape 103"/>
            <p:cNvSpPr/>
            <p:nvPr/>
          </p:nvSpPr>
          <p:spPr>
            <a:xfrm>
              <a:off x="7036514" y="1681118"/>
              <a:ext cx="158447" cy="17868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0" y="0"/>
                  </a:moveTo>
                  <a:cubicBezTo>
                    <a:pt x="0" y="0"/>
                    <a:pt x="155" y="315"/>
                    <a:pt x="416" y="46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6" name="Freeform: Shape 104"/>
            <p:cNvSpPr/>
            <p:nvPr/>
          </p:nvSpPr>
          <p:spPr>
            <a:xfrm>
              <a:off x="7018570" y="1763206"/>
              <a:ext cx="185937" cy="20693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8" h="543">
                  <a:moveTo>
                    <a:pt x="0" y="0"/>
                  </a:moveTo>
                  <a:cubicBezTo>
                    <a:pt x="0" y="0"/>
                    <a:pt x="181" y="365"/>
                    <a:pt x="488" y="5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7" name="Freeform: Shape 105"/>
            <p:cNvSpPr/>
            <p:nvPr/>
          </p:nvSpPr>
          <p:spPr>
            <a:xfrm>
              <a:off x="7001007" y="1847583"/>
              <a:ext cx="206172" cy="23098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41" h="606">
                  <a:moveTo>
                    <a:pt x="0" y="0"/>
                  </a:moveTo>
                  <a:cubicBezTo>
                    <a:pt x="0" y="0"/>
                    <a:pt x="202" y="407"/>
                    <a:pt x="541" y="606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8" name="Freeform: Shape 106"/>
            <p:cNvSpPr/>
            <p:nvPr/>
          </p:nvSpPr>
          <p:spPr>
            <a:xfrm>
              <a:off x="7033841" y="1522290"/>
              <a:ext cx="105759" cy="12217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321">
                  <a:moveTo>
                    <a:pt x="278" y="0"/>
                  </a:moveTo>
                  <a:cubicBezTo>
                    <a:pt x="278" y="0"/>
                    <a:pt x="174" y="216"/>
                    <a:pt x="0" y="32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9" name="Freeform: Shape 107"/>
            <p:cNvSpPr/>
            <p:nvPr/>
          </p:nvSpPr>
          <p:spPr>
            <a:xfrm>
              <a:off x="7022005" y="1605140"/>
              <a:ext cx="134776" cy="152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354" y="0"/>
                  </a:moveTo>
                  <a:cubicBezTo>
                    <a:pt x="354" y="0"/>
                    <a:pt x="222" y="270"/>
                    <a:pt x="0" y="40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0" name="Freeform: Shape 108"/>
            <p:cNvSpPr/>
            <p:nvPr/>
          </p:nvSpPr>
          <p:spPr>
            <a:xfrm>
              <a:off x="7015897" y="1689135"/>
              <a:ext cx="158447" cy="17868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416" y="0"/>
                  </a:moveTo>
                  <a:cubicBezTo>
                    <a:pt x="416" y="0"/>
                    <a:pt x="261" y="315"/>
                    <a:pt x="0" y="46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1" name="Freeform: Shape 109"/>
            <p:cNvSpPr/>
            <p:nvPr/>
          </p:nvSpPr>
          <p:spPr>
            <a:xfrm>
              <a:off x="7006733" y="1770842"/>
              <a:ext cx="185555" cy="20693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7" h="543">
                  <a:moveTo>
                    <a:pt x="487" y="0"/>
                  </a:moveTo>
                  <a:cubicBezTo>
                    <a:pt x="487" y="0"/>
                    <a:pt x="306" y="365"/>
                    <a:pt x="0" y="5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2" name="Freeform: Shape 110"/>
            <p:cNvSpPr/>
            <p:nvPr/>
          </p:nvSpPr>
          <p:spPr>
            <a:xfrm>
              <a:off x="7097983" y="1855601"/>
              <a:ext cx="111868" cy="15577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4" h="409">
                  <a:moveTo>
                    <a:pt x="294" y="0"/>
                  </a:moveTo>
                  <a:cubicBezTo>
                    <a:pt x="294" y="0"/>
                    <a:pt x="188" y="215"/>
                    <a:pt x="0" y="40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3" name="Freeform: Shape 111"/>
            <p:cNvSpPr/>
            <p:nvPr/>
          </p:nvSpPr>
          <p:spPr>
            <a:xfrm>
              <a:off x="7289647" y="1637211"/>
              <a:ext cx="247407" cy="59102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49" h="1549">
                  <a:moveTo>
                    <a:pt x="67" y="1549"/>
                  </a:moveTo>
                  <a:cubicBezTo>
                    <a:pt x="67" y="1549"/>
                    <a:pt x="-71" y="262"/>
                    <a:pt x="48" y="48"/>
                  </a:cubicBezTo>
                  <a:cubicBezTo>
                    <a:pt x="48" y="48"/>
                    <a:pt x="366" y="-69"/>
                    <a:pt x="605" y="61"/>
                  </a:cubicBezTo>
                  <a:cubicBezTo>
                    <a:pt x="605" y="61"/>
                    <a:pt x="723" y="431"/>
                    <a:pt x="573" y="1548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4" name="Freeform: Shape 112"/>
            <p:cNvSpPr/>
            <p:nvPr/>
          </p:nvSpPr>
          <p:spPr>
            <a:xfrm>
              <a:off x="7251467" y="1601322"/>
              <a:ext cx="57270" cy="62042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1626">
                  <a:moveTo>
                    <a:pt x="79" y="1626"/>
                  </a:moveTo>
                  <a:cubicBezTo>
                    <a:pt x="79" y="1626"/>
                    <a:pt x="-95" y="347"/>
                    <a:pt x="73" y="0"/>
                  </a:cubicBezTo>
                  <a:lnTo>
                    <a:pt x="151" y="11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5" name="Freeform: Shape 113"/>
            <p:cNvSpPr/>
            <p:nvPr/>
          </p:nvSpPr>
          <p:spPr>
            <a:xfrm>
              <a:off x="7288120" y="1574214"/>
              <a:ext cx="267642" cy="54253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2" h="1422">
                  <a:moveTo>
                    <a:pt x="0" y="47"/>
                  </a:moveTo>
                  <a:cubicBezTo>
                    <a:pt x="0" y="47"/>
                    <a:pt x="380" y="-73"/>
                    <a:pt x="608" y="71"/>
                  </a:cubicBezTo>
                  <a:cubicBezTo>
                    <a:pt x="608" y="71"/>
                    <a:pt x="782" y="185"/>
                    <a:pt x="657" y="142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6" name="Straight Connector 125"/>
            <p:cNvSpPr/>
            <p:nvPr/>
          </p:nvSpPr>
          <p:spPr>
            <a:xfrm flipV="1">
              <a:off x="7315227" y="1687991"/>
              <a:ext cx="200064" cy="114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7" name="Straight Connector 126"/>
            <p:cNvSpPr/>
            <p:nvPr/>
          </p:nvSpPr>
          <p:spPr>
            <a:xfrm flipV="1">
              <a:off x="7316756" y="1717390"/>
              <a:ext cx="197009" cy="76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8" name="Straight Connector 127"/>
            <p:cNvSpPr/>
            <p:nvPr/>
          </p:nvSpPr>
          <p:spPr>
            <a:xfrm flipV="1">
              <a:off x="7318665" y="1746788"/>
              <a:ext cx="193573" cy="76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9" name="Straight Connector 128"/>
            <p:cNvSpPr/>
            <p:nvPr/>
          </p:nvSpPr>
          <p:spPr>
            <a:xfrm flipV="1">
              <a:off x="7320574" y="1776187"/>
              <a:ext cx="190137" cy="76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0" name="Straight Connector 129"/>
            <p:cNvSpPr/>
            <p:nvPr/>
          </p:nvSpPr>
          <p:spPr>
            <a:xfrm flipV="1">
              <a:off x="7322483" y="1805204"/>
              <a:ext cx="187082" cy="76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1" name="Straight Connector 130"/>
            <p:cNvSpPr/>
            <p:nvPr/>
          </p:nvSpPr>
          <p:spPr>
            <a:xfrm flipV="1">
              <a:off x="7324392" y="1834602"/>
              <a:ext cx="183646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2" name="Straight Connector 131"/>
            <p:cNvSpPr/>
            <p:nvPr/>
          </p:nvSpPr>
          <p:spPr>
            <a:xfrm flipV="1">
              <a:off x="7326301" y="1864001"/>
              <a:ext cx="180592" cy="76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3" name="Straight Connector 132"/>
            <p:cNvSpPr/>
            <p:nvPr/>
          </p:nvSpPr>
          <p:spPr>
            <a:xfrm flipV="1">
              <a:off x="7328210" y="1893400"/>
              <a:ext cx="176774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4" name="Straight Connector 133"/>
            <p:cNvSpPr/>
            <p:nvPr/>
          </p:nvSpPr>
          <p:spPr>
            <a:xfrm flipV="1">
              <a:off x="7329736" y="1922797"/>
              <a:ext cx="173719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5" name="Straight Connector 134"/>
            <p:cNvSpPr/>
            <p:nvPr/>
          </p:nvSpPr>
          <p:spPr>
            <a:xfrm flipV="1">
              <a:off x="7331645" y="1952197"/>
              <a:ext cx="170665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6" name="Straight Connector 135"/>
            <p:cNvSpPr/>
            <p:nvPr/>
          </p:nvSpPr>
          <p:spPr>
            <a:xfrm flipV="1">
              <a:off x="7333554" y="1981595"/>
              <a:ext cx="167230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7" name="Straight Connector 136"/>
            <p:cNvSpPr/>
            <p:nvPr/>
          </p:nvSpPr>
          <p:spPr>
            <a:xfrm>
              <a:off x="7335463" y="2010994"/>
              <a:ext cx="16417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8" name="Straight Connector 137"/>
            <p:cNvSpPr/>
            <p:nvPr/>
          </p:nvSpPr>
          <p:spPr>
            <a:xfrm flipV="1">
              <a:off x="7337372" y="2040392"/>
              <a:ext cx="160739" cy="38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9" name="Straight Connector 138"/>
            <p:cNvSpPr/>
            <p:nvPr/>
          </p:nvSpPr>
          <p:spPr>
            <a:xfrm>
              <a:off x="7339281" y="2069791"/>
              <a:ext cx="15730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0" name="Straight Connector 139"/>
            <p:cNvSpPr/>
            <p:nvPr/>
          </p:nvSpPr>
          <p:spPr>
            <a:xfrm>
              <a:off x="7340809" y="2099190"/>
              <a:ext cx="15424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1" name="Straight Connector 140"/>
            <p:cNvSpPr/>
            <p:nvPr/>
          </p:nvSpPr>
          <p:spPr>
            <a:xfrm>
              <a:off x="7342718" y="2128589"/>
              <a:ext cx="15119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2" name="Straight Connector 141"/>
            <p:cNvSpPr/>
            <p:nvPr/>
          </p:nvSpPr>
          <p:spPr>
            <a:xfrm>
              <a:off x="7344627" y="2157987"/>
              <a:ext cx="14775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3" name="Straight Connector 142"/>
            <p:cNvSpPr/>
            <p:nvPr/>
          </p:nvSpPr>
          <p:spPr>
            <a:xfrm>
              <a:off x="7346536" y="2187386"/>
              <a:ext cx="144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4" name="Straight Connector 143"/>
            <p:cNvSpPr/>
            <p:nvPr/>
          </p:nvSpPr>
          <p:spPr>
            <a:xfrm>
              <a:off x="7348062" y="2216784"/>
              <a:ext cx="14126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5" name="Straight Connector 144"/>
            <p:cNvSpPr/>
            <p:nvPr/>
          </p:nvSpPr>
          <p:spPr>
            <a:xfrm>
              <a:off x="7223977" y="2077809"/>
              <a:ext cx="416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6" name="Straight Connector 145"/>
            <p:cNvSpPr/>
            <p:nvPr/>
          </p:nvSpPr>
          <p:spPr>
            <a:xfrm>
              <a:off x="7242686" y="2133552"/>
              <a:ext cx="0" cy="6108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7" name="Straight Connector 146"/>
            <p:cNvSpPr/>
            <p:nvPr/>
          </p:nvSpPr>
          <p:spPr>
            <a:xfrm>
              <a:off x="7303775" y="2253437"/>
              <a:ext cx="1630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8" name="Straight Connector 147"/>
            <p:cNvSpPr/>
            <p:nvPr/>
          </p:nvSpPr>
          <p:spPr>
            <a:xfrm>
              <a:off x="7519110" y="2275964"/>
              <a:ext cx="496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9" name="Straight Connector 148"/>
            <p:cNvSpPr/>
            <p:nvPr/>
          </p:nvSpPr>
          <p:spPr>
            <a:xfrm>
              <a:off x="7666103" y="2284745"/>
              <a:ext cx="0" cy="8743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0" name="Straight Connector 149"/>
            <p:cNvSpPr/>
            <p:nvPr/>
          </p:nvSpPr>
          <p:spPr>
            <a:xfrm>
              <a:off x="7735973" y="2322543"/>
              <a:ext cx="6948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1" name="Straight Connector 150"/>
            <p:cNvSpPr/>
            <p:nvPr/>
          </p:nvSpPr>
          <p:spPr>
            <a:xfrm>
              <a:off x="7741318" y="2358432"/>
              <a:ext cx="5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2" name="Straight Connector 151"/>
            <p:cNvSpPr/>
            <p:nvPr/>
          </p:nvSpPr>
          <p:spPr>
            <a:xfrm>
              <a:off x="7529036" y="2119044"/>
              <a:ext cx="931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3" name="Straight Connector 152"/>
            <p:cNvSpPr/>
            <p:nvPr/>
          </p:nvSpPr>
          <p:spPr>
            <a:xfrm>
              <a:off x="7761935" y="2115225"/>
              <a:ext cx="542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4" name="Straight Connector 153"/>
            <p:cNvSpPr/>
            <p:nvPr/>
          </p:nvSpPr>
          <p:spPr>
            <a:xfrm>
              <a:off x="7795533" y="2074372"/>
              <a:ext cx="0" cy="4085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5" name="Straight Connector 154"/>
            <p:cNvSpPr/>
            <p:nvPr/>
          </p:nvSpPr>
          <p:spPr>
            <a:xfrm>
              <a:off x="7808515" y="2194640"/>
              <a:ext cx="0" cy="7368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6" name="Straight Connector 155"/>
            <p:cNvSpPr/>
            <p:nvPr/>
          </p:nvSpPr>
          <p:spPr>
            <a:xfrm>
              <a:off x="7606923" y="2040392"/>
              <a:ext cx="0" cy="5154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7" name="Straight Connector 156"/>
            <p:cNvSpPr/>
            <p:nvPr/>
          </p:nvSpPr>
          <p:spPr>
            <a:xfrm>
              <a:off x="7632505" y="2040774"/>
              <a:ext cx="0" cy="511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8" name="Straight Connector 157"/>
            <p:cNvSpPr/>
            <p:nvPr/>
          </p:nvSpPr>
          <p:spPr>
            <a:xfrm>
              <a:off x="7658466" y="2040774"/>
              <a:ext cx="0" cy="511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9" name="Straight Connector 158"/>
            <p:cNvSpPr/>
            <p:nvPr/>
          </p:nvSpPr>
          <p:spPr>
            <a:xfrm>
              <a:off x="7684430" y="2040774"/>
              <a:ext cx="0" cy="511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0" name="Straight Connector 159"/>
            <p:cNvSpPr/>
            <p:nvPr/>
          </p:nvSpPr>
          <p:spPr>
            <a:xfrm>
              <a:off x="7710392" y="2041156"/>
              <a:ext cx="0" cy="5077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1" name="Straight Connector 160"/>
            <p:cNvSpPr/>
            <p:nvPr/>
          </p:nvSpPr>
          <p:spPr>
            <a:xfrm>
              <a:off x="7735973" y="2041156"/>
              <a:ext cx="0" cy="5077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2" name="Straight Connector 161"/>
            <p:cNvSpPr/>
            <p:nvPr/>
          </p:nvSpPr>
          <p:spPr>
            <a:xfrm>
              <a:off x="7761935" y="2041538"/>
              <a:ext cx="0" cy="5039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3" name="Straight Connector 162"/>
            <p:cNvSpPr/>
            <p:nvPr/>
          </p:nvSpPr>
          <p:spPr>
            <a:xfrm>
              <a:off x="7587070" y="2148060"/>
              <a:ext cx="0" cy="10003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4" name="Straight Connector 163"/>
            <p:cNvSpPr/>
            <p:nvPr/>
          </p:nvSpPr>
          <p:spPr>
            <a:xfrm>
              <a:off x="7783698" y="2148060"/>
              <a:ext cx="0" cy="10003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5" name="Straight Connector 164"/>
            <p:cNvSpPr/>
            <p:nvPr/>
          </p:nvSpPr>
          <p:spPr>
            <a:xfrm>
              <a:off x="7595852" y="2014430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6" name="Freeform: Shape 154"/>
            <p:cNvSpPr/>
            <p:nvPr/>
          </p:nvSpPr>
          <p:spPr>
            <a:xfrm>
              <a:off x="7598524" y="1885764"/>
              <a:ext cx="170665" cy="10194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48" h="268">
                  <a:moveTo>
                    <a:pt x="448" y="268"/>
                  </a:moveTo>
                  <a:lnTo>
                    <a:pt x="0" y="268"/>
                  </a:lnTo>
                  <a:cubicBezTo>
                    <a:pt x="0" y="268"/>
                    <a:pt x="60" y="0"/>
                    <a:pt x="225" y="0"/>
                  </a:cubicBezTo>
                  <a:cubicBezTo>
                    <a:pt x="390" y="0"/>
                    <a:pt x="448" y="268"/>
                    <a:pt x="448" y="26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7" name="Straight Connector 166"/>
            <p:cNvSpPr/>
            <p:nvPr/>
          </p:nvSpPr>
          <p:spPr>
            <a:xfrm>
              <a:off x="7666103" y="1861328"/>
              <a:ext cx="3703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8" name="Straight Connector 167"/>
            <p:cNvSpPr/>
            <p:nvPr/>
          </p:nvSpPr>
          <p:spPr>
            <a:xfrm>
              <a:off x="7672594" y="1837275"/>
              <a:ext cx="255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9" name="Straight Connector 168"/>
            <p:cNvSpPr/>
            <p:nvPr/>
          </p:nvSpPr>
          <p:spPr>
            <a:xfrm>
              <a:off x="7685575" y="1759006"/>
              <a:ext cx="0" cy="465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0" name="Straight Connector 169"/>
            <p:cNvSpPr/>
            <p:nvPr/>
          </p:nvSpPr>
          <p:spPr>
            <a:xfrm>
              <a:off x="7650831" y="2232820"/>
              <a:ext cx="683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1" name="Straight Connector 170"/>
            <p:cNvSpPr/>
            <p:nvPr/>
          </p:nvSpPr>
          <p:spPr>
            <a:xfrm>
              <a:off x="7854331" y="2068263"/>
              <a:ext cx="763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2" name="Straight Connector 171"/>
            <p:cNvSpPr/>
            <p:nvPr/>
          </p:nvSpPr>
          <p:spPr>
            <a:xfrm>
              <a:off x="7840204" y="1966323"/>
              <a:ext cx="0" cy="9010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3" name="Straight Connector 172"/>
            <p:cNvSpPr/>
            <p:nvPr/>
          </p:nvSpPr>
          <p:spPr>
            <a:xfrm>
              <a:off x="7940999" y="1966323"/>
              <a:ext cx="0" cy="9010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4" name="Straight Connector 173"/>
            <p:cNvSpPr/>
            <p:nvPr/>
          </p:nvSpPr>
          <p:spPr>
            <a:xfrm>
              <a:off x="7845166" y="2079718"/>
              <a:ext cx="0" cy="229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5" name="Straight Connector 174"/>
            <p:cNvSpPr/>
            <p:nvPr/>
          </p:nvSpPr>
          <p:spPr>
            <a:xfrm>
              <a:off x="7868839" y="2079718"/>
              <a:ext cx="0" cy="229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6" name="Straight Connector 175"/>
            <p:cNvSpPr/>
            <p:nvPr/>
          </p:nvSpPr>
          <p:spPr>
            <a:xfrm>
              <a:off x="7892129" y="2079718"/>
              <a:ext cx="0" cy="229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7" name="Straight Connector 176"/>
            <p:cNvSpPr/>
            <p:nvPr/>
          </p:nvSpPr>
          <p:spPr>
            <a:xfrm>
              <a:off x="7915419" y="2079718"/>
              <a:ext cx="0" cy="229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8" name="Straight Connector 177"/>
            <p:cNvSpPr/>
            <p:nvPr/>
          </p:nvSpPr>
          <p:spPr>
            <a:xfrm>
              <a:off x="7938709" y="2079718"/>
              <a:ext cx="0" cy="229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9" name="Freeform: Shape 167"/>
            <p:cNvSpPr/>
            <p:nvPr/>
          </p:nvSpPr>
          <p:spPr>
            <a:xfrm>
              <a:off x="7836386" y="1858274"/>
              <a:ext cx="105759" cy="9086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239" fill="none">
                  <a:moveTo>
                    <a:pt x="0" y="239"/>
                  </a:moveTo>
                  <a:lnTo>
                    <a:pt x="72" y="123"/>
                  </a:lnTo>
                  <a:lnTo>
                    <a:pt x="72" y="0"/>
                  </a:lnTo>
                  <a:lnTo>
                    <a:pt x="204" y="0"/>
                  </a:lnTo>
                  <a:lnTo>
                    <a:pt x="204" y="119"/>
                  </a:lnTo>
                  <a:lnTo>
                    <a:pt x="278" y="2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0" name="Freeform: Shape 168"/>
            <p:cNvSpPr/>
            <p:nvPr/>
          </p:nvSpPr>
          <p:spPr>
            <a:xfrm>
              <a:off x="7867694" y="1990377"/>
              <a:ext cx="46580" cy="465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3" h="123">
                  <a:moveTo>
                    <a:pt x="123" y="61"/>
                  </a:moveTo>
                  <a:cubicBezTo>
                    <a:pt x="123" y="73"/>
                    <a:pt x="121" y="82"/>
                    <a:pt x="115" y="92"/>
                  </a:cubicBezTo>
                  <a:cubicBezTo>
                    <a:pt x="109" y="102"/>
                    <a:pt x="101" y="109"/>
                    <a:pt x="92" y="115"/>
                  </a:cubicBezTo>
                  <a:cubicBezTo>
                    <a:pt x="82" y="120"/>
                    <a:pt x="73" y="123"/>
                    <a:pt x="62" y="123"/>
                  </a:cubicBezTo>
                  <a:cubicBezTo>
                    <a:pt x="50" y="123"/>
                    <a:pt x="41" y="120"/>
                    <a:pt x="31" y="115"/>
                  </a:cubicBezTo>
                  <a:cubicBezTo>
                    <a:pt x="21" y="109"/>
                    <a:pt x="14" y="102"/>
                    <a:pt x="8" y="92"/>
                  </a:cubicBezTo>
                  <a:cubicBezTo>
                    <a:pt x="2" y="82"/>
                    <a:pt x="0" y="72"/>
                    <a:pt x="0" y="61"/>
                  </a:cubicBezTo>
                  <a:cubicBezTo>
                    <a:pt x="0" y="49"/>
                    <a:pt x="2" y="40"/>
                    <a:pt x="8" y="30"/>
                  </a:cubicBezTo>
                  <a:cubicBezTo>
                    <a:pt x="14" y="20"/>
                    <a:pt x="21" y="14"/>
                    <a:pt x="31" y="8"/>
                  </a:cubicBezTo>
                  <a:cubicBezTo>
                    <a:pt x="41" y="2"/>
                    <a:pt x="50" y="0"/>
                    <a:pt x="62" y="0"/>
                  </a:cubicBezTo>
                  <a:cubicBezTo>
                    <a:pt x="73" y="0"/>
                    <a:pt x="82" y="2"/>
                    <a:pt x="92" y="8"/>
                  </a:cubicBezTo>
                  <a:cubicBezTo>
                    <a:pt x="101" y="14"/>
                    <a:pt x="109" y="20"/>
                    <a:pt x="115" y="30"/>
                  </a:cubicBezTo>
                  <a:cubicBezTo>
                    <a:pt x="121" y="39"/>
                    <a:pt x="123" y="50"/>
                    <a:pt x="123" y="61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1" name="Straight Connector 180"/>
            <p:cNvSpPr/>
            <p:nvPr/>
          </p:nvSpPr>
          <p:spPr>
            <a:xfrm>
              <a:off x="7863112" y="1940743"/>
              <a:ext cx="538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2" name="Straight Connector 181"/>
            <p:cNvSpPr/>
            <p:nvPr/>
          </p:nvSpPr>
          <p:spPr>
            <a:xfrm>
              <a:off x="7863112" y="1959069"/>
              <a:ext cx="538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3" name="Straight Connector 182"/>
            <p:cNvSpPr/>
            <p:nvPr/>
          </p:nvSpPr>
          <p:spPr>
            <a:xfrm>
              <a:off x="7863876" y="1905235"/>
              <a:ext cx="507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4" name="Freeform: Shape 172"/>
            <p:cNvSpPr/>
            <p:nvPr/>
          </p:nvSpPr>
          <p:spPr>
            <a:xfrm>
              <a:off x="7863876" y="1818185"/>
              <a:ext cx="50016" cy="3970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2" h="105" fill="none">
                  <a:moveTo>
                    <a:pt x="0" y="105"/>
                  </a:moveTo>
                  <a:lnTo>
                    <a:pt x="67" y="0"/>
                  </a:lnTo>
                  <a:lnTo>
                    <a:pt x="132" y="10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5" name="Straight Connector 184"/>
            <p:cNvSpPr/>
            <p:nvPr/>
          </p:nvSpPr>
          <p:spPr>
            <a:xfrm>
              <a:off x="7890220" y="1873164"/>
              <a:ext cx="0" cy="217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6" name="Straight Connector 185"/>
            <p:cNvSpPr/>
            <p:nvPr/>
          </p:nvSpPr>
          <p:spPr>
            <a:xfrm flipV="1">
              <a:off x="7889456" y="1780005"/>
              <a:ext cx="0" cy="3856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7" name="Straight Connector 186"/>
            <p:cNvSpPr/>
            <p:nvPr/>
          </p:nvSpPr>
          <p:spPr>
            <a:xfrm>
              <a:off x="7983378" y="2125534"/>
              <a:ext cx="0" cy="8628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8" name="Straight Connector 187"/>
            <p:cNvSpPr/>
            <p:nvPr/>
          </p:nvSpPr>
          <p:spPr>
            <a:xfrm>
              <a:off x="7955890" y="2211821"/>
              <a:ext cx="538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9" name="Straight Connector 188"/>
            <p:cNvSpPr/>
            <p:nvPr/>
          </p:nvSpPr>
          <p:spPr>
            <a:xfrm>
              <a:off x="7879911" y="2358432"/>
              <a:ext cx="4394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0" name="Freeform: Shape 178"/>
            <p:cNvSpPr/>
            <p:nvPr/>
          </p:nvSpPr>
          <p:spPr>
            <a:xfrm>
              <a:off x="7996361" y="1052675"/>
              <a:ext cx="322621" cy="128704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46" h="3372" fill="none">
                  <a:moveTo>
                    <a:pt x="0" y="3372"/>
                  </a:moveTo>
                  <a:lnTo>
                    <a:pt x="348" y="0"/>
                  </a:lnTo>
                  <a:lnTo>
                    <a:pt x="408" y="169"/>
                  </a:lnTo>
                  <a:lnTo>
                    <a:pt x="468" y="0"/>
                  </a:lnTo>
                  <a:lnTo>
                    <a:pt x="846" y="336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1" name="Straight Connector 190"/>
            <p:cNvSpPr/>
            <p:nvPr/>
          </p:nvSpPr>
          <p:spPr>
            <a:xfrm>
              <a:off x="8157100" y="1147741"/>
              <a:ext cx="130534" cy="118358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2" name="Straight Connector 191"/>
            <p:cNvSpPr/>
            <p:nvPr/>
          </p:nvSpPr>
          <p:spPr>
            <a:xfrm>
              <a:off x="8301037" y="2174023"/>
              <a:ext cx="12866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3" name="Straight Connector 192"/>
            <p:cNvSpPr/>
            <p:nvPr/>
          </p:nvSpPr>
          <p:spPr>
            <a:xfrm>
              <a:off x="8352962" y="2248474"/>
              <a:ext cx="0" cy="11797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4" name="Straight Connector 193"/>
            <p:cNvSpPr/>
            <p:nvPr/>
          </p:nvSpPr>
          <p:spPr>
            <a:xfrm>
              <a:off x="9072656" y="2248474"/>
              <a:ext cx="0" cy="11797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5" name="Straight Connector 194"/>
            <p:cNvSpPr/>
            <p:nvPr/>
          </p:nvSpPr>
          <p:spPr>
            <a:xfrm>
              <a:off x="8526300" y="2358432"/>
              <a:ext cx="26611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6" name="Straight Connector 195"/>
            <p:cNvSpPr/>
            <p:nvPr/>
          </p:nvSpPr>
          <p:spPr>
            <a:xfrm>
              <a:off x="8577843" y="2389740"/>
              <a:ext cx="771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7" name="Straight Connector 196"/>
            <p:cNvSpPr/>
            <p:nvPr/>
          </p:nvSpPr>
          <p:spPr>
            <a:xfrm>
              <a:off x="8315164" y="2014812"/>
              <a:ext cx="67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8" name="Straight Connector 197"/>
            <p:cNvSpPr/>
            <p:nvPr/>
          </p:nvSpPr>
          <p:spPr>
            <a:xfrm>
              <a:off x="8476284" y="2014812"/>
              <a:ext cx="14966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9" name="Straight Connector 198"/>
            <p:cNvSpPr/>
            <p:nvPr/>
          </p:nvSpPr>
          <p:spPr>
            <a:xfrm>
              <a:off x="8385797" y="1918598"/>
              <a:ext cx="0" cy="20044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0" name="Freeform: Shape 188"/>
            <p:cNvSpPr/>
            <p:nvPr/>
          </p:nvSpPr>
          <p:spPr>
            <a:xfrm>
              <a:off x="8476284" y="1918598"/>
              <a:ext cx="353929" cy="32605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8" h="855" fill="none">
                  <a:moveTo>
                    <a:pt x="0" y="0"/>
                  </a:moveTo>
                  <a:lnTo>
                    <a:pt x="0" y="855"/>
                  </a:lnTo>
                  <a:lnTo>
                    <a:pt x="928" y="855"/>
                  </a:lnTo>
                  <a:lnTo>
                    <a:pt x="883" y="782"/>
                  </a:lnTo>
                  <a:lnTo>
                    <a:pt x="77" y="78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1" name="Straight Connector 200"/>
            <p:cNvSpPr/>
            <p:nvPr/>
          </p:nvSpPr>
          <p:spPr>
            <a:xfrm>
              <a:off x="8429704" y="1918598"/>
              <a:ext cx="0" cy="4467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2" name="Straight Connector 201"/>
            <p:cNvSpPr/>
            <p:nvPr/>
          </p:nvSpPr>
          <p:spPr>
            <a:xfrm>
              <a:off x="8429704" y="2011376"/>
              <a:ext cx="0" cy="1909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3" name="Straight Connector 202"/>
            <p:cNvSpPr/>
            <p:nvPr/>
          </p:nvSpPr>
          <p:spPr>
            <a:xfrm>
              <a:off x="8359835" y="1900272"/>
              <a:ext cx="14203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4" name="Freeform: Shape 192"/>
            <p:cNvSpPr/>
            <p:nvPr/>
          </p:nvSpPr>
          <p:spPr>
            <a:xfrm>
              <a:off x="8371289" y="1838420"/>
              <a:ext cx="113395" cy="4696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5" name="Straight Connector 204"/>
            <p:cNvSpPr/>
            <p:nvPr/>
          </p:nvSpPr>
          <p:spPr>
            <a:xfrm>
              <a:off x="8430849" y="1750606"/>
              <a:ext cx="0" cy="8819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7" name="Straight Connector 206"/>
            <p:cNvSpPr/>
            <p:nvPr/>
          </p:nvSpPr>
          <p:spPr>
            <a:xfrm>
              <a:off x="8629004" y="1918598"/>
              <a:ext cx="0" cy="20044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8" name="Straight Connector 207"/>
            <p:cNvSpPr/>
            <p:nvPr/>
          </p:nvSpPr>
          <p:spPr>
            <a:xfrm>
              <a:off x="8719491" y="1918598"/>
              <a:ext cx="0" cy="20044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9" name="Straight Connector 208"/>
            <p:cNvSpPr/>
            <p:nvPr/>
          </p:nvSpPr>
          <p:spPr>
            <a:xfrm>
              <a:off x="8673293" y="1918598"/>
              <a:ext cx="0" cy="4467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0" name="Straight Connector 209"/>
            <p:cNvSpPr/>
            <p:nvPr/>
          </p:nvSpPr>
          <p:spPr>
            <a:xfrm>
              <a:off x="8673293" y="2011376"/>
              <a:ext cx="0" cy="1909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1" name="Straight Connector 210"/>
            <p:cNvSpPr/>
            <p:nvPr/>
          </p:nvSpPr>
          <p:spPr>
            <a:xfrm>
              <a:off x="8603422" y="1900272"/>
              <a:ext cx="14203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2" name="Freeform: Shape 200"/>
            <p:cNvSpPr/>
            <p:nvPr/>
          </p:nvSpPr>
          <p:spPr>
            <a:xfrm>
              <a:off x="8614876" y="1838420"/>
              <a:ext cx="113395" cy="4696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3" name="Straight Connector 212"/>
            <p:cNvSpPr/>
            <p:nvPr/>
          </p:nvSpPr>
          <p:spPr>
            <a:xfrm>
              <a:off x="8674438" y="1750606"/>
              <a:ext cx="0" cy="8819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4" name="Freeform: Shape 202"/>
            <p:cNvSpPr/>
            <p:nvPr/>
          </p:nvSpPr>
          <p:spPr>
            <a:xfrm>
              <a:off x="8746217" y="2136606"/>
              <a:ext cx="45816" cy="3932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5" name="Freeform: Shape 203"/>
            <p:cNvSpPr/>
            <p:nvPr/>
          </p:nvSpPr>
          <p:spPr>
            <a:xfrm>
              <a:off x="8838612" y="2136606"/>
              <a:ext cx="45816" cy="3932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6" name="Freeform: Shape 204"/>
            <p:cNvSpPr/>
            <p:nvPr/>
          </p:nvSpPr>
          <p:spPr>
            <a:xfrm>
              <a:off x="8931008" y="2136606"/>
              <a:ext cx="45816" cy="3932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7" name="Freeform: Shape 205"/>
            <p:cNvSpPr/>
            <p:nvPr/>
          </p:nvSpPr>
          <p:spPr>
            <a:xfrm>
              <a:off x="9023403" y="2136606"/>
              <a:ext cx="45816" cy="3932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8" name="Freeform: Shape 206"/>
            <p:cNvSpPr/>
            <p:nvPr/>
          </p:nvSpPr>
          <p:spPr>
            <a:xfrm>
              <a:off x="8374725" y="2287418"/>
              <a:ext cx="200445" cy="500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9" name="Freeform: Shape 207"/>
            <p:cNvSpPr/>
            <p:nvPr/>
          </p:nvSpPr>
          <p:spPr>
            <a:xfrm>
              <a:off x="8614495" y="2287418"/>
              <a:ext cx="200063" cy="500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5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5" y="132"/>
                    <a:pt x="525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0" name="Freeform: Shape 208"/>
            <p:cNvSpPr/>
            <p:nvPr/>
          </p:nvSpPr>
          <p:spPr>
            <a:xfrm>
              <a:off x="8854266" y="2287418"/>
              <a:ext cx="200445" cy="500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3" y="0"/>
                    <a:pt x="277" y="0"/>
                  </a:cubicBezTo>
                  <a:cubicBezTo>
                    <a:pt x="491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1" name="Straight Connector 220"/>
            <p:cNvSpPr/>
            <p:nvPr/>
          </p:nvSpPr>
          <p:spPr>
            <a:xfrm>
              <a:off x="9112745" y="1956778"/>
              <a:ext cx="0" cy="5841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2" name="Straight Connector 221"/>
            <p:cNvSpPr/>
            <p:nvPr/>
          </p:nvSpPr>
          <p:spPr>
            <a:xfrm>
              <a:off x="0" y="2215257"/>
              <a:ext cx="1656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3" name="Straight Connector 222"/>
            <p:cNvSpPr/>
            <p:nvPr/>
          </p:nvSpPr>
          <p:spPr>
            <a:xfrm>
              <a:off x="53002" y="2248474"/>
              <a:ext cx="0" cy="1233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4" name="Straight Connector 223"/>
            <p:cNvSpPr/>
            <p:nvPr/>
          </p:nvSpPr>
          <p:spPr>
            <a:xfrm>
              <a:off x="201523" y="2145770"/>
              <a:ext cx="5681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5" name="Straight Connector 224"/>
            <p:cNvSpPr/>
            <p:nvPr/>
          </p:nvSpPr>
          <p:spPr>
            <a:xfrm>
              <a:off x="327899" y="2190822"/>
              <a:ext cx="30734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6" name="Straight Connector 225"/>
            <p:cNvSpPr/>
            <p:nvPr/>
          </p:nvSpPr>
          <p:spPr>
            <a:xfrm>
              <a:off x="425258" y="2233584"/>
              <a:ext cx="11301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7" name="Straight Connector 226"/>
            <p:cNvSpPr/>
            <p:nvPr/>
          </p:nvSpPr>
          <p:spPr>
            <a:xfrm>
              <a:off x="831112" y="2115988"/>
              <a:ext cx="0" cy="3474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8" name="Straight Connector 227"/>
            <p:cNvSpPr/>
            <p:nvPr/>
          </p:nvSpPr>
          <p:spPr>
            <a:xfrm>
              <a:off x="871201" y="2150733"/>
              <a:ext cx="3798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9" name="Freeform: Shape 226"/>
            <p:cNvSpPr/>
            <p:nvPr/>
          </p:nvSpPr>
          <p:spPr>
            <a:xfrm>
              <a:off x="918926" y="1782296"/>
              <a:ext cx="547883" cy="35011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36" h="918" fill="none">
                  <a:moveTo>
                    <a:pt x="0" y="918"/>
                  </a:moveTo>
                  <a:lnTo>
                    <a:pt x="718" y="0"/>
                  </a:lnTo>
                  <a:lnTo>
                    <a:pt x="1436" y="918"/>
                  </a:lnTo>
                  <a:lnTo>
                    <a:pt x="1436" y="75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0" name="Freeform: Shape 227"/>
            <p:cNvSpPr/>
            <p:nvPr/>
          </p:nvSpPr>
          <p:spPr>
            <a:xfrm>
              <a:off x="1501935" y="1459292"/>
              <a:ext cx="339039" cy="71434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9" h="1872" fill="none">
                  <a:moveTo>
                    <a:pt x="0" y="1872"/>
                  </a:moveTo>
                  <a:lnTo>
                    <a:pt x="0" y="0"/>
                  </a:lnTo>
                  <a:lnTo>
                    <a:pt x="889" y="0"/>
                  </a:lnTo>
                  <a:lnTo>
                    <a:pt x="889" y="142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1" name="Freeform: Shape 228"/>
            <p:cNvSpPr/>
            <p:nvPr/>
          </p:nvSpPr>
          <p:spPr>
            <a:xfrm>
              <a:off x="1702380" y="2028939"/>
              <a:ext cx="277951" cy="2172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29" h="570" fill="none">
                  <a:moveTo>
                    <a:pt x="0" y="570"/>
                  </a:moveTo>
                  <a:lnTo>
                    <a:pt x="0" y="0"/>
                  </a:lnTo>
                  <a:lnTo>
                    <a:pt x="729" y="0"/>
                  </a:lnTo>
                  <a:lnTo>
                    <a:pt x="729" y="56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2" name="Straight Connector 231"/>
            <p:cNvSpPr/>
            <p:nvPr/>
          </p:nvSpPr>
          <p:spPr>
            <a:xfrm>
              <a:off x="1879918" y="1983123"/>
              <a:ext cx="8437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3" name="Straight Connector 232"/>
            <p:cNvSpPr/>
            <p:nvPr/>
          </p:nvSpPr>
          <p:spPr>
            <a:xfrm>
              <a:off x="1905880" y="1931961"/>
              <a:ext cx="0" cy="2863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4" name="Straight Connector 233"/>
            <p:cNvSpPr/>
            <p:nvPr/>
          </p:nvSpPr>
          <p:spPr>
            <a:xfrm>
              <a:off x="1651219" y="1338262"/>
              <a:ext cx="423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5" name="Straight Connector 234"/>
            <p:cNvSpPr/>
            <p:nvPr/>
          </p:nvSpPr>
          <p:spPr>
            <a:xfrm>
              <a:off x="1620675" y="1375296"/>
              <a:ext cx="10308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6" name="Freeform: Shape 233"/>
            <p:cNvSpPr/>
            <p:nvPr/>
          </p:nvSpPr>
          <p:spPr>
            <a:xfrm>
              <a:off x="1597768" y="1403931"/>
              <a:ext cx="151575" cy="5497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98" h="145" fill="none">
                  <a:moveTo>
                    <a:pt x="0" y="145"/>
                  </a:moveTo>
                  <a:lnTo>
                    <a:pt x="0" y="0"/>
                  </a:lnTo>
                  <a:lnTo>
                    <a:pt x="398" y="0"/>
                  </a:lnTo>
                  <a:lnTo>
                    <a:pt x="398" y="14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7" name="Straight Connector 236"/>
            <p:cNvSpPr/>
            <p:nvPr/>
          </p:nvSpPr>
          <p:spPr>
            <a:xfrm>
              <a:off x="1588604" y="2263364"/>
              <a:ext cx="19777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8" name="Straight Connector 237"/>
            <p:cNvSpPr/>
            <p:nvPr/>
          </p:nvSpPr>
          <p:spPr>
            <a:xfrm flipV="1">
              <a:off x="1895190" y="2072081"/>
              <a:ext cx="0" cy="16799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9" name="Straight Connector 238"/>
            <p:cNvSpPr/>
            <p:nvPr/>
          </p:nvSpPr>
          <p:spPr>
            <a:xfrm flipV="1">
              <a:off x="2037983" y="1520762"/>
              <a:ext cx="0" cy="52803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0" name="Straight Connector 239"/>
            <p:cNvSpPr/>
            <p:nvPr/>
          </p:nvSpPr>
          <p:spPr>
            <a:xfrm flipV="1">
              <a:off x="2169323" y="1520762"/>
              <a:ext cx="0" cy="52803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1" name="Freeform: Shape 238"/>
            <p:cNvSpPr/>
            <p:nvPr/>
          </p:nvSpPr>
          <p:spPr>
            <a:xfrm>
              <a:off x="2044475" y="1496708"/>
              <a:ext cx="116831" cy="3588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95" fill="none">
                  <a:moveTo>
                    <a:pt x="0" y="95"/>
                  </a:moveTo>
                  <a:lnTo>
                    <a:pt x="155" y="0"/>
                  </a:lnTo>
                  <a:lnTo>
                    <a:pt x="307" y="9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2" name="Straight Connector 241"/>
            <p:cNvSpPr/>
            <p:nvPr/>
          </p:nvSpPr>
          <p:spPr>
            <a:xfrm flipV="1">
              <a:off x="2103653" y="1382169"/>
              <a:ext cx="0" cy="1145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3" name="Freeform: Shape 240"/>
            <p:cNvSpPr/>
            <p:nvPr/>
          </p:nvSpPr>
          <p:spPr>
            <a:xfrm>
              <a:off x="2074254" y="1557033"/>
              <a:ext cx="58034" cy="3207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3" h="85">
                  <a:moveTo>
                    <a:pt x="76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153" y="0"/>
                  </a:lnTo>
                  <a:lnTo>
                    <a:pt x="153" y="8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4" name="Freeform: Shape 241"/>
            <p:cNvSpPr/>
            <p:nvPr/>
          </p:nvSpPr>
          <p:spPr>
            <a:xfrm>
              <a:off x="2058982" y="1619649"/>
              <a:ext cx="87050" cy="1641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9" h="44">
                  <a:moveTo>
                    <a:pt x="115" y="44"/>
                  </a:moveTo>
                  <a:lnTo>
                    <a:pt x="0" y="44"/>
                  </a:lnTo>
                  <a:lnTo>
                    <a:pt x="0" y="0"/>
                  </a:lnTo>
                  <a:lnTo>
                    <a:pt x="229" y="0"/>
                  </a:lnTo>
                  <a:lnTo>
                    <a:pt x="229" y="4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5" name="Freeform: Shape 242"/>
            <p:cNvSpPr/>
            <p:nvPr/>
          </p:nvSpPr>
          <p:spPr>
            <a:xfrm>
              <a:off x="2055546" y="1659738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6" name="Freeform: Shape 243"/>
            <p:cNvSpPr/>
            <p:nvPr/>
          </p:nvSpPr>
          <p:spPr>
            <a:xfrm>
              <a:off x="2055546" y="1691426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7" name="Freeform: Shape 244"/>
            <p:cNvSpPr/>
            <p:nvPr/>
          </p:nvSpPr>
          <p:spPr>
            <a:xfrm>
              <a:off x="2055546" y="1722735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8" name="Freeform: Shape 245"/>
            <p:cNvSpPr/>
            <p:nvPr/>
          </p:nvSpPr>
          <p:spPr>
            <a:xfrm>
              <a:off x="2055546" y="1754041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9" name="Freeform: Shape 246"/>
            <p:cNvSpPr/>
            <p:nvPr/>
          </p:nvSpPr>
          <p:spPr>
            <a:xfrm>
              <a:off x="2055546" y="1785350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0" name="Freeform: Shape 247"/>
            <p:cNvSpPr/>
            <p:nvPr/>
          </p:nvSpPr>
          <p:spPr>
            <a:xfrm>
              <a:off x="2055546" y="1816658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1" name="Freeform: Shape 248"/>
            <p:cNvSpPr/>
            <p:nvPr/>
          </p:nvSpPr>
          <p:spPr>
            <a:xfrm>
              <a:off x="2055546" y="1847965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2" name="Freeform: Shape 249"/>
            <p:cNvSpPr/>
            <p:nvPr/>
          </p:nvSpPr>
          <p:spPr>
            <a:xfrm>
              <a:off x="2055546" y="1879655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3" name="Freeform: Shape 250"/>
            <p:cNvSpPr/>
            <p:nvPr/>
          </p:nvSpPr>
          <p:spPr>
            <a:xfrm>
              <a:off x="2055546" y="1910962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4" name="Freeform: Shape 251"/>
            <p:cNvSpPr/>
            <p:nvPr/>
          </p:nvSpPr>
          <p:spPr>
            <a:xfrm>
              <a:off x="2055546" y="1942269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5" name="Freeform: Shape 252"/>
            <p:cNvSpPr/>
            <p:nvPr/>
          </p:nvSpPr>
          <p:spPr>
            <a:xfrm>
              <a:off x="2055546" y="1973959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6" name="Freeform: Shape 253"/>
            <p:cNvSpPr/>
            <p:nvPr/>
          </p:nvSpPr>
          <p:spPr>
            <a:xfrm>
              <a:off x="2055546" y="2005649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7" name="Freeform: Shape 254"/>
            <p:cNvSpPr/>
            <p:nvPr/>
          </p:nvSpPr>
          <p:spPr>
            <a:xfrm>
              <a:off x="2055546" y="2036956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8" name="Freeform: Shape 255"/>
            <p:cNvSpPr/>
            <p:nvPr/>
          </p:nvSpPr>
          <p:spPr>
            <a:xfrm>
              <a:off x="2186122" y="1738389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9" name="Freeform: Shape 256"/>
            <p:cNvSpPr/>
            <p:nvPr/>
          </p:nvSpPr>
          <p:spPr>
            <a:xfrm>
              <a:off x="2186122" y="1759769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0" name="Freeform: Shape 257"/>
            <p:cNvSpPr/>
            <p:nvPr/>
          </p:nvSpPr>
          <p:spPr>
            <a:xfrm>
              <a:off x="2186122" y="1780768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1" name="Freeform: Shape 258"/>
            <p:cNvSpPr/>
            <p:nvPr/>
          </p:nvSpPr>
          <p:spPr>
            <a:xfrm>
              <a:off x="2186122" y="1802149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2" name="Freeform: Shape 259"/>
            <p:cNvSpPr/>
            <p:nvPr/>
          </p:nvSpPr>
          <p:spPr>
            <a:xfrm>
              <a:off x="2186122" y="1823530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3" name="Freeform: Shape 260"/>
            <p:cNvSpPr/>
            <p:nvPr/>
          </p:nvSpPr>
          <p:spPr>
            <a:xfrm>
              <a:off x="2186122" y="1844911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4" name="Freeform: Shape 261"/>
            <p:cNvSpPr/>
            <p:nvPr/>
          </p:nvSpPr>
          <p:spPr>
            <a:xfrm>
              <a:off x="2186122" y="1866292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5" name="Freeform: Shape 262"/>
            <p:cNvSpPr/>
            <p:nvPr/>
          </p:nvSpPr>
          <p:spPr>
            <a:xfrm>
              <a:off x="2186122" y="1888054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6" name="Freeform: Shape 263"/>
            <p:cNvSpPr/>
            <p:nvPr/>
          </p:nvSpPr>
          <p:spPr>
            <a:xfrm>
              <a:off x="2186122" y="1909053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7" name="Freeform: Shape 264"/>
            <p:cNvSpPr/>
            <p:nvPr/>
          </p:nvSpPr>
          <p:spPr>
            <a:xfrm>
              <a:off x="2186122" y="1930434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8" name="Freeform: Shape 265"/>
            <p:cNvSpPr/>
            <p:nvPr/>
          </p:nvSpPr>
          <p:spPr>
            <a:xfrm>
              <a:off x="2186122" y="1951815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9" name="Freeform: Shape 266"/>
            <p:cNvSpPr/>
            <p:nvPr/>
          </p:nvSpPr>
          <p:spPr>
            <a:xfrm>
              <a:off x="2186122" y="1973196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0" name="Freeform: Shape 267"/>
            <p:cNvSpPr/>
            <p:nvPr/>
          </p:nvSpPr>
          <p:spPr>
            <a:xfrm>
              <a:off x="2186122" y="1994577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1" name="Freeform: Shape 268"/>
            <p:cNvSpPr/>
            <p:nvPr/>
          </p:nvSpPr>
          <p:spPr>
            <a:xfrm>
              <a:off x="2186122" y="2015957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2" name="Freeform: Shape 269"/>
            <p:cNvSpPr/>
            <p:nvPr/>
          </p:nvSpPr>
          <p:spPr>
            <a:xfrm>
              <a:off x="2186122" y="2037719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3" name="Straight Connector 272"/>
            <p:cNvSpPr/>
            <p:nvPr/>
          </p:nvSpPr>
          <p:spPr>
            <a:xfrm>
              <a:off x="2348770" y="1733807"/>
              <a:ext cx="0" cy="30887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4" name="Freeform: Shape 271"/>
            <p:cNvSpPr/>
            <p:nvPr/>
          </p:nvSpPr>
          <p:spPr>
            <a:xfrm>
              <a:off x="2077308" y="2059865"/>
              <a:ext cx="652497" cy="10614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10" h="279" fill="none">
                  <a:moveTo>
                    <a:pt x="0" y="0"/>
                  </a:moveTo>
                  <a:lnTo>
                    <a:pt x="1034" y="0"/>
                  </a:lnTo>
                  <a:lnTo>
                    <a:pt x="1034" y="170"/>
                  </a:lnTo>
                  <a:lnTo>
                    <a:pt x="1710" y="170"/>
                  </a:lnTo>
                  <a:lnTo>
                    <a:pt x="1710" y="27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5" name="Freeform: Shape 272"/>
            <p:cNvSpPr/>
            <p:nvPr/>
          </p:nvSpPr>
          <p:spPr>
            <a:xfrm>
              <a:off x="2465599" y="2177077"/>
              <a:ext cx="483740" cy="5230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68" h="138" fill="none">
                  <a:moveTo>
                    <a:pt x="0" y="0"/>
                  </a:moveTo>
                  <a:lnTo>
                    <a:pt x="491" y="0"/>
                  </a:lnTo>
                  <a:lnTo>
                    <a:pt x="491" y="138"/>
                  </a:lnTo>
                  <a:lnTo>
                    <a:pt x="1268" y="13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6" name="Straight Connector 275"/>
            <p:cNvSpPr/>
            <p:nvPr/>
          </p:nvSpPr>
          <p:spPr>
            <a:xfrm>
              <a:off x="2000185" y="1907908"/>
              <a:ext cx="0" cy="14470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7" name="Straight Connector 276"/>
            <p:cNvSpPr/>
            <p:nvPr/>
          </p:nvSpPr>
          <p:spPr>
            <a:xfrm>
              <a:off x="2018129" y="1907908"/>
              <a:ext cx="0" cy="14470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8" name="Freeform: Shape 275"/>
            <p:cNvSpPr/>
            <p:nvPr/>
          </p:nvSpPr>
          <p:spPr>
            <a:xfrm>
              <a:off x="2025765" y="2113317"/>
              <a:ext cx="190137" cy="101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99" h="267" fill="none">
                  <a:moveTo>
                    <a:pt x="0" y="267"/>
                  </a:moveTo>
                  <a:lnTo>
                    <a:pt x="0" y="0"/>
                  </a:lnTo>
                  <a:lnTo>
                    <a:pt x="499" y="0"/>
                  </a:lnTo>
                  <a:lnTo>
                    <a:pt x="499" y="26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9" name="Freeform: Shape 276"/>
            <p:cNvSpPr/>
            <p:nvPr/>
          </p:nvSpPr>
          <p:spPr>
            <a:xfrm>
              <a:off x="2055546" y="2140043"/>
              <a:ext cx="103086" cy="263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1" h="70">
                  <a:moveTo>
                    <a:pt x="135" y="70"/>
                  </a:moveTo>
                  <a:lnTo>
                    <a:pt x="0" y="70"/>
                  </a:lnTo>
                  <a:lnTo>
                    <a:pt x="0" y="0"/>
                  </a:lnTo>
                  <a:lnTo>
                    <a:pt x="271" y="0"/>
                  </a:lnTo>
                  <a:lnTo>
                    <a:pt x="271" y="7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0" name="Freeform: Shape 277"/>
            <p:cNvSpPr/>
            <p:nvPr/>
          </p:nvSpPr>
          <p:spPr>
            <a:xfrm>
              <a:off x="2300280" y="2078572"/>
              <a:ext cx="146611" cy="2405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85" h="64">
                  <a:moveTo>
                    <a:pt x="192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385" y="0"/>
                  </a:lnTo>
                  <a:lnTo>
                    <a:pt x="385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1" name="Freeform: Shape 278"/>
            <p:cNvSpPr/>
            <p:nvPr/>
          </p:nvSpPr>
          <p:spPr>
            <a:xfrm>
              <a:off x="2519433" y="2066355"/>
              <a:ext cx="88960" cy="2405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4" h="64">
                  <a:moveTo>
                    <a:pt x="117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234" y="0"/>
                  </a:lnTo>
                  <a:lnTo>
                    <a:pt x="234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2" name="Freeform: Shape 279"/>
            <p:cNvSpPr/>
            <p:nvPr/>
          </p:nvSpPr>
          <p:spPr>
            <a:xfrm>
              <a:off x="2746986" y="2060246"/>
              <a:ext cx="82469" cy="5536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7" h="146">
                  <a:moveTo>
                    <a:pt x="109" y="146"/>
                  </a:moveTo>
                  <a:lnTo>
                    <a:pt x="0" y="146"/>
                  </a:lnTo>
                  <a:lnTo>
                    <a:pt x="0" y="0"/>
                  </a:lnTo>
                  <a:lnTo>
                    <a:pt x="217" y="0"/>
                  </a:lnTo>
                  <a:lnTo>
                    <a:pt x="217" y="14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3" name="Freeform: Shape 280"/>
            <p:cNvSpPr/>
            <p:nvPr/>
          </p:nvSpPr>
          <p:spPr>
            <a:xfrm>
              <a:off x="2763022" y="2147297"/>
              <a:ext cx="31308" cy="5345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3" h="141">
                  <a:moveTo>
                    <a:pt x="42" y="141"/>
                  </a:moveTo>
                  <a:lnTo>
                    <a:pt x="0" y="141"/>
                  </a:lnTo>
                  <a:lnTo>
                    <a:pt x="0" y="0"/>
                  </a:lnTo>
                  <a:lnTo>
                    <a:pt x="83" y="0"/>
                  </a:lnTo>
                  <a:lnTo>
                    <a:pt x="83" y="141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4" name="Freeform: Shape 281"/>
            <p:cNvSpPr/>
            <p:nvPr/>
          </p:nvSpPr>
          <p:spPr>
            <a:xfrm>
              <a:off x="2415965" y="1897981"/>
              <a:ext cx="60324" cy="1985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9" h="53">
                  <a:moveTo>
                    <a:pt x="80" y="53"/>
                  </a:moveTo>
                  <a:lnTo>
                    <a:pt x="0" y="53"/>
                  </a:lnTo>
                  <a:lnTo>
                    <a:pt x="0" y="0"/>
                  </a:lnTo>
                  <a:lnTo>
                    <a:pt x="159" y="0"/>
                  </a:lnTo>
                  <a:lnTo>
                    <a:pt x="159" y="5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5" name="Freeform: Shape 282"/>
            <p:cNvSpPr/>
            <p:nvPr/>
          </p:nvSpPr>
          <p:spPr>
            <a:xfrm>
              <a:off x="2396876" y="1879655"/>
              <a:ext cx="137066" cy="16035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0" h="421" fill="none">
                  <a:moveTo>
                    <a:pt x="0" y="421"/>
                  </a:moveTo>
                  <a:lnTo>
                    <a:pt x="0" y="0"/>
                  </a:lnTo>
                  <a:lnTo>
                    <a:pt x="360" y="0"/>
                  </a:lnTo>
                  <a:lnTo>
                    <a:pt x="360" y="42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6" name="Freeform: Shape 283"/>
            <p:cNvSpPr/>
            <p:nvPr/>
          </p:nvSpPr>
          <p:spPr>
            <a:xfrm>
              <a:off x="1424430" y="1971287"/>
              <a:ext cx="42380" cy="6147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" h="162">
                  <a:moveTo>
                    <a:pt x="56" y="162"/>
                  </a:moveTo>
                  <a:lnTo>
                    <a:pt x="0" y="162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16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7" name="Freeform: Shape 284"/>
            <p:cNvSpPr/>
            <p:nvPr/>
          </p:nvSpPr>
          <p:spPr>
            <a:xfrm>
              <a:off x="1396177" y="2175168"/>
              <a:ext cx="74069" cy="2443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95" h="65">
                  <a:moveTo>
                    <a:pt x="98" y="65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195" y="0"/>
                  </a:lnTo>
                  <a:lnTo>
                    <a:pt x="195" y="6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8" name="Freeform: Shape 285"/>
            <p:cNvSpPr/>
            <p:nvPr/>
          </p:nvSpPr>
          <p:spPr>
            <a:xfrm>
              <a:off x="3682016" y="2012521"/>
              <a:ext cx="34362" cy="6299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1" h="166">
                  <a:moveTo>
                    <a:pt x="46" y="166"/>
                  </a:moveTo>
                  <a:lnTo>
                    <a:pt x="0" y="166"/>
                  </a:lnTo>
                  <a:lnTo>
                    <a:pt x="0" y="0"/>
                  </a:lnTo>
                  <a:lnTo>
                    <a:pt x="91" y="0"/>
                  </a:lnTo>
                  <a:lnTo>
                    <a:pt x="91" y="16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9" name="Freeform: Shape 286"/>
            <p:cNvSpPr/>
            <p:nvPr/>
          </p:nvSpPr>
          <p:spPr>
            <a:xfrm>
              <a:off x="3733942" y="2120189"/>
              <a:ext cx="59561" cy="2252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7" h="60">
                  <a:moveTo>
                    <a:pt x="79" y="60"/>
                  </a:moveTo>
                  <a:lnTo>
                    <a:pt x="0" y="60"/>
                  </a:lnTo>
                  <a:lnTo>
                    <a:pt x="0" y="0"/>
                  </a:lnTo>
                  <a:lnTo>
                    <a:pt x="157" y="0"/>
                  </a:lnTo>
                  <a:lnTo>
                    <a:pt x="157" y="6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0" name="Freeform: Shape 287"/>
            <p:cNvSpPr/>
            <p:nvPr/>
          </p:nvSpPr>
          <p:spPr>
            <a:xfrm>
              <a:off x="3845809" y="2051083"/>
              <a:ext cx="160356" cy="500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1" h="132">
                  <a:moveTo>
                    <a:pt x="211" y="132"/>
                  </a:moveTo>
                  <a:lnTo>
                    <a:pt x="0" y="132"/>
                  </a:lnTo>
                  <a:lnTo>
                    <a:pt x="0" y="0"/>
                  </a:lnTo>
                  <a:lnTo>
                    <a:pt x="421" y="0"/>
                  </a:lnTo>
                  <a:lnTo>
                    <a:pt x="421" y="13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1" name="Straight Connector 290"/>
            <p:cNvSpPr/>
            <p:nvPr/>
          </p:nvSpPr>
          <p:spPr>
            <a:xfrm>
              <a:off x="2187267" y="1657447"/>
              <a:ext cx="500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2" name="Straight Connector 291"/>
            <p:cNvSpPr/>
            <p:nvPr/>
          </p:nvSpPr>
          <p:spPr>
            <a:xfrm>
              <a:off x="2187267" y="1683409"/>
              <a:ext cx="500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3" name="Straight Connector 292"/>
            <p:cNvSpPr/>
            <p:nvPr/>
          </p:nvSpPr>
          <p:spPr>
            <a:xfrm>
              <a:off x="2187267" y="1709754"/>
              <a:ext cx="500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4" name="Straight Connector 293"/>
            <p:cNvSpPr/>
            <p:nvPr/>
          </p:nvSpPr>
          <p:spPr>
            <a:xfrm>
              <a:off x="2202158" y="1608958"/>
              <a:ext cx="0" cy="2863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5" name="Straight Connector 294"/>
            <p:cNvSpPr/>
            <p:nvPr/>
          </p:nvSpPr>
          <p:spPr>
            <a:xfrm>
              <a:off x="2591976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6" name="Straight Connector 295"/>
            <p:cNvSpPr/>
            <p:nvPr/>
          </p:nvSpPr>
          <p:spPr>
            <a:xfrm>
              <a:off x="2614120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7" name="Straight Connector 296"/>
            <p:cNvSpPr/>
            <p:nvPr/>
          </p:nvSpPr>
          <p:spPr>
            <a:xfrm>
              <a:off x="2636264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8" name="Straight Connector 297"/>
            <p:cNvSpPr/>
            <p:nvPr/>
          </p:nvSpPr>
          <p:spPr>
            <a:xfrm>
              <a:off x="2658409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9" name="Straight Connector 298"/>
            <p:cNvSpPr/>
            <p:nvPr/>
          </p:nvSpPr>
          <p:spPr>
            <a:xfrm>
              <a:off x="2680553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0" name="Straight Connector 299"/>
            <p:cNvSpPr/>
            <p:nvPr/>
          </p:nvSpPr>
          <p:spPr>
            <a:xfrm>
              <a:off x="2702699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1" name="Straight Connector 300"/>
            <p:cNvSpPr/>
            <p:nvPr/>
          </p:nvSpPr>
          <p:spPr>
            <a:xfrm>
              <a:off x="2725224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2" name="Straight Connector 301"/>
            <p:cNvSpPr/>
            <p:nvPr/>
          </p:nvSpPr>
          <p:spPr>
            <a:xfrm>
              <a:off x="2746986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3" name="Straight Connector 302"/>
            <p:cNvSpPr/>
            <p:nvPr/>
          </p:nvSpPr>
          <p:spPr>
            <a:xfrm>
              <a:off x="3479661" y="1681882"/>
              <a:ext cx="0" cy="48870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4" name="Straight Connector 303"/>
            <p:cNvSpPr/>
            <p:nvPr/>
          </p:nvSpPr>
          <p:spPr>
            <a:xfrm>
              <a:off x="3644981" y="1681882"/>
              <a:ext cx="0" cy="48870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5" name="Freeform: Shape 302"/>
            <p:cNvSpPr/>
            <p:nvPr/>
          </p:nvSpPr>
          <p:spPr>
            <a:xfrm>
              <a:off x="2571358" y="1523435"/>
              <a:ext cx="193573" cy="53032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08" h="1390" fill="none">
                  <a:moveTo>
                    <a:pt x="0" y="1390"/>
                  </a:moveTo>
                  <a:lnTo>
                    <a:pt x="0" y="0"/>
                  </a:lnTo>
                  <a:lnTo>
                    <a:pt x="508" y="0"/>
                  </a:lnTo>
                  <a:lnTo>
                    <a:pt x="508" y="138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6" name="Straight Connector 305"/>
            <p:cNvSpPr/>
            <p:nvPr/>
          </p:nvSpPr>
          <p:spPr>
            <a:xfrm>
              <a:off x="2559141" y="1494417"/>
              <a:ext cx="22106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7" name="Straight Connector 306"/>
            <p:cNvSpPr/>
            <p:nvPr/>
          </p:nvSpPr>
          <p:spPr>
            <a:xfrm>
              <a:off x="2816856" y="1931961"/>
              <a:ext cx="0" cy="5459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8" name="Straight Connector 307"/>
            <p:cNvSpPr/>
            <p:nvPr/>
          </p:nvSpPr>
          <p:spPr>
            <a:xfrm>
              <a:off x="2785930" y="1991904"/>
              <a:ext cx="6185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9" name="Straight Connector 308"/>
            <p:cNvSpPr/>
            <p:nvPr/>
          </p:nvSpPr>
          <p:spPr>
            <a:xfrm>
              <a:off x="3149786" y="2004885"/>
              <a:ext cx="10843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0" name="Straight Connector 309"/>
            <p:cNvSpPr/>
            <p:nvPr/>
          </p:nvSpPr>
          <p:spPr>
            <a:xfrm>
              <a:off x="3242945" y="1971287"/>
              <a:ext cx="0" cy="3092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1" name="Straight Connector 310"/>
            <p:cNvSpPr/>
            <p:nvPr/>
          </p:nvSpPr>
          <p:spPr>
            <a:xfrm>
              <a:off x="3350995" y="1997249"/>
              <a:ext cx="11606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2" name="Straight Connector 311"/>
            <p:cNvSpPr/>
            <p:nvPr/>
          </p:nvSpPr>
          <p:spPr>
            <a:xfrm>
              <a:off x="3410556" y="1935779"/>
              <a:ext cx="0" cy="4505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3" name="Straight Connector 312"/>
            <p:cNvSpPr/>
            <p:nvPr/>
          </p:nvSpPr>
          <p:spPr>
            <a:xfrm>
              <a:off x="3396047" y="2181659"/>
              <a:ext cx="0" cy="8552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4" name="Straight Connector 313"/>
            <p:cNvSpPr/>
            <p:nvPr/>
          </p:nvSpPr>
          <p:spPr>
            <a:xfrm>
              <a:off x="3504860" y="2236256"/>
              <a:ext cx="18593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5" name="Straight Connector 314"/>
            <p:cNvSpPr/>
            <p:nvPr/>
          </p:nvSpPr>
          <p:spPr>
            <a:xfrm>
              <a:off x="3496461" y="2143097"/>
              <a:ext cx="1317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6" name="Straight Connector 315"/>
            <p:cNvSpPr/>
            <p:nvPr/>
          </p:nvSpPr>
          <p:spPr>
            <a:xfrm>
              <a:off x="3496461" y="1983504"/>
              <a:ext cx="1317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7" name="Straight Connector 316"/>
            <p:cNvSpPr/>
            <p:nvPr/>
          </p:nvSpPr>
          <p:spPr>
            <a:xfrm>
              <a:off x="3496461" y="1827730"/>
              <a:ext cx="1317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8" name="Straight Connector 317"/>
            <p:cNvSpPr/>
            <p:nvPr/>
          </p:nvSpPr>
          <p:spPr>
            <a:xfrm>
              <a:off x="3516697" y="2004885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9" name="Straight Connector 318"/>
            <p:cNvSpPr/>
            <p:nvPr/>
          </p:nvSpPr>
          <p:spPr>
            <a:xfrm>
              <a:off x="3547241" y="2004885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0" name="Straight Connector 319"/>
            <p:cNvSpPr/>
            <p:nvPr/>
          </p:nvSpPr>
          <p:spPr>
            <a:xfrm>
              <a:off x="3577785" y="2004885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1" name="Straight Connector 320"/>
            <p:cNvSpPr/>
            <p:nvPr/>
          </p:nvSpPr>
          <p:spPr>
            <a:xfrm>
              <a:off x="3607946" y="2004885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2" name="Straight Connector 321"/>
            <p:cNvSpPr/>
            <p:nvPr/>
          </p:nvSpPr>
          <p:spPr>
            <a:xfrm>
              <a:off x="3516697" y="1847202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3" name="Straight Connector 322"/>
            <p:cNvSpPr/>
            <p:nvPr/>
          </p:nvSpPr>
          <p:spPr>
            <a:xfrm>
              <a:off x="3547241" y="1847202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4" name="Straight Connector 323"/>
            <p:cNvSpPr/>
            <p:nvPr/>
          </p:nvSpPr>
          <p:spPr>
            <a:xfrm>
              <a:off x="3577785" y="1847202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5" name="Straight Connector 324"/>
            <p:cNvSpPr/>
            <p:nvPr/>
          </p:nvSpPr>
          <p:spPr>
            <a:xfrm>
              <a:off x="3607946" y="1847202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6" name="Straight Connector 325"/>
            <p:cNvSpPr/>
            <p:nvPr/>
          </p:nvSpPr>
          <p:spPr>
            <a:xfrm>
              <a:off x="3516697" y="1693336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7" name="Straight Connector 326"/>
            <p:cNvSpPr/>
            <p:nvPr/>
          </p:nvSpPr>
          <p:spPr>
            <a:xfrm>
              <a:off x="3547241" y="1693336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8" name="Straight Connector 327"/>
            <p:cNvSpPr/>
            <p:nvPr/>
          </p:nvSpPr>
          <p:spPr>
            <a:xfrm>
              <a:off x="3577785" y="1693336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9" name="Straight Connector 328"/>
            <p:cNvSpPr/>
            <p:nvPr/>
          </p:nvSpPr>
          <p:spPr>
            <a:xfrm>
              <a:off x="3607946" y="1693336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0" name="Freeform: Shape 327"/>
            <p:cNvSpPr/>
            <p:nvPr/>
          </p:nvSpPr>
          <p:spPr>
            <a:xfrm>
              <a:off x="3489970" y="1584905"/>
              <a:ext cx="144321" cy="8285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79" h="218">
                  <a:moveTo>
                    <a:pt x="0" y="218"/>
                  </a:moveTo>
                  <a:lnTo>
                    <a:pt x="379" y="218"/>
                  </a:lnTo>
                  <a:lnTo>
                    <a:pt x="309" y="0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1" name="Freeform: Shape 328"/>
            <p:cNvSpPr/>
            <p:nvPr/>
          </p:nvSpPr>
          <p:spPr>
            <a:xfrm>
              <a:off x="2304861" y="2233584"/>
              <a:ext cx="1040406" cy="4199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26" h="111" fill="none">
                  <a:moveTo>
                    <a:pt x="0" y="90"/>
                  </a:moveTo>
                  <a:lnTo>
                    <a:pt x="190" y="0"/>
                  </a:lnTo>
                  <a:lnTo>
                    <a:pt x="782" y="0"/>
                  </a:lnTo>
                  <a:lnTo>
                    <a:pt x="782" y="111"/>
                  </a:lnTo>
                  <a:lnTo>
                    <a:pt x="2726" y="11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2" name="Freeform: Shape 329"/>
            <p:cNvSpPr/>
            <p:nvPr/>
          </p:nvSpPr>
          <p:spPr>
            <a:xfrm>
              <a:off x="2818001" y="2076664"/>
              <a:ext cx="439834" cy="11683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53" h="307" fill="none">
                  <a:moveTo>
                    <a:pt x="0" y="307"/>
                  </a:moveTo>
                  <a:lnTo>
                    <a:pt x="658" y="307"/>
                  </a:lnTo>
                  <a:lnTo>
                    <a:pt x="658" y="88"/>
                  </a:lnTo>
                  <a:lnTo>
                    <a:pt x="973" y="88"/>
                  </a:lnTo>
                  <a:lnTo>
                    <a:pt x="973" y="0"/>
                  </a:lnTo>
                  <a:lnTo>
                    <a:pt x="1153" y="0"/>
                  </a:lnTo>
                  <a:lnTo>
                    <a:pt x="1153" y="236"/>
                  </a:lnTo>
                  <a:lnTo>
                    <a:pt x="936" y="23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3" name="Freeform: Shape 330"/>
            <p:cNvSpPr/>
            <p:nvPr/>
          </p:nvSpPr>
          <p:spPr>
            <a:xfrm>
              <a:off x="3286089" y="2025502"/>
              <a:ext cx="59179" cy="4047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6" h="107" fill="none">
                  <a:moveTo>
                    <a:pt x="0" y="95"/>
                  </a:moveTo>
                  <a:lnTo>
                    <a:pt x="0" y="0"/>
                  </a:lnTo>
                  <a:lnTo>
                    <a:pt x="156" y="0"/>
                  </a:lnTo>
                  <a:lnTo>
                    <a:pt x="156" y="10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4" name="Freeform: Shape 331"/>
            <p:cNvSpPr/>
            <p:nvPr/>
          </p:nvSpPr>
          <p:spPr>
            <a:xfrm>
              <a:off x="3340686" y="2088118"/>
              <a:ext cx="101559" cy="416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7" h="110" fill="none">
                  <a:moveTo>
                    <a:pt x="267" y="0"/>
                  </a:moveTo>
                  <a:lnTo>
                    <a:pt x="0" y="0"/>
                  </a:lnTo>
                  <a:lnTo>
                    <a:pt x="0" y="110"/>
                  </a:lnTo>
                  <a:lnTo>
                    <a:pt x="267" y="11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5" name="Freeform: Shape 332"/>
            <p:cNvSpPr/>
            <p:nvPr/>
          </p:nvSpPr>
          <p:spPr>
            <a:xfrm>
              <a:off x="3753795" y="1663937"/>
              <a:ext cx="267260" cy="3913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1" h="1026">
                  <a:moveTo>
                    <a:pt x="0" y="1026"/>
                  </a:moveTo>
                  <a:lnTo>
                    <a:pt x="0" y="93"/>
                  </a:lnTo>
                  <a:cubicBezTo>
                    <a:pt x="0" y="93"/>
                    <a:pt x="-13" y="0"/>
                    <a:pt x="340" y="0"/>
                  </a:cubicBezTo>
                  <a:cubicBezTo>
                    <a:pt x="718" y="0"/>
                    <a:pt x="701" y="98"/>
                    <a:pt x="701" y="98"/>
                  </a:cubicBezTo>
                  <a:lnTo>
                    <a:pt x="701" y="1003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6" name="Straight Connector 335"/>
            <p:cNvSpPr/>
            <p:nvPr/>
          </p:nvSpPr>
          <p:spPr>
            <a:xfrm>
              <a:off x="3811064" y="2194640"/>
              <a:ext cx="855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7" name="Straight Connector 336"/>
            <p:cNvSpPr/>
            <p:nvPr/>
          </p:nvSpPr>
          <p:spPr>
            <a:xfrm>
              <a:off x="4035945" y="2167532"/>
              <a:ext cx="33178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8" name="Straight Connector 337"/>
            <p:cNvSpPr/>
            <p:nvPr/>
          </p:nvSpPr>
          <p:spPr>
            <a:xfrm>
              <a:off x="4386437" y="2143097"/>
              <a:ext cx="0" cy="11606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9" name="Freeform: Shape 336"/>
            <p:cNvSpPr/>
            <p:nvPr/>
          </p:nvSpPr>
          <p:spPr>
            <a:xfrm>
              <a:off x="4109633" y="2012521"/>
              <a:ext cx="442507" cy="18173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60" h="477" fill="none">
                  <a:moveTo>
                    <a:pt x="840" y="282"/>
                  </a:moveTo>
                  <a:lnTo>
                    <a:pt x="840" y="477"/>
                  </a:lnTo>
                  <a:lnTo>
                    <a:pt x="1160" y="477"/>
                  </a:lnTo>
                  <a:lnTo>
                    <a:pt x="1160" y="312"/>
                  </a:lnTo>
                  <a:lnTo>
                    <a:pt x="1020" y="312"/>
                  </a:lnTo>
                  <a:lnTo>
                    <a:pt x="1020" y="176"/>
                  </a:lnTo>
                  <a:lnTo>
                    <a:pt x="288" y="176"/>
                  </a:lnTo>
                  <a:lnTo>
                    <a:pt x="288" y="0"/>
                  </a:lnTo>
                  <a:lnTo>
                    <a:pt x="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0" name="Straight Connector 339"/>
            <p:cNvSpPr/>
            <p:nvPr/>
          </p:nvSpPr>
          <p:spPr>
            <a:xfrm>
              <a:off x="4306259" y="2036956"/>
              <a:ext cx="0" cy="4008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1" name="Straight Connector 340"/>
            <p:cNvSpPr/>
            <p:nvPr/>
          </p:nvSpPr>
          <p:spPr>
            <a:xfrm>
              <a:off x="3677052" y="1947615"/>
              <a:ext cx="0" cy="2787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2" name="Freeform: Shape 339"/>
            <p:cNvSpPr/>
            <p:nvPr/>
          </p:nvSpPr>
          <p:spPr>
            <a:xfrm>
              <a:off x="4048926" y="1718535"/>
              <a:ext cx="34744" cy="35812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" h="939">
                  <a:moveTo>
                    <a:pt x="46" y="939"/>
                  </a:moveTo>
                  <a:lnTo>
                    <a:pt x="0" y="939"/>
                  </a:lnTo>
                  <a:lnTo>
                    <a:pt x="0" y="0"/>
                  </a:lnTo>
                  <a:lnTo>
                    <a:pt x="92" y="0"/>
                  </a:lnTo>
                  <a:lnTo>
                    <a:pt x="92" y="93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3" name="Straight Connector 342"/>
            <p:cNvSpPr/>
            <p:nvPr/>
          </p:nvSpPr>
          <p:spPr>
            <a:xfrm>
              <a:off x="1571805" y="2359960"/>
              <a:ext cx="0" cy="76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4" name="Straight Connector 343"/>
            <p:cNvSpPr/>
            <p:nvPr/>
          </p:nvSpPr>
          <p:spPr>
            <a:xfrm>
              <a:off x="2744696" y="2373323"/>
              <a:ext cx="0" cy="6834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5" name="Freeform: Shape 342"/>
            <p:cNvSpPr/>
            <p:nvPr/>
          </p:nvSpPr>
          <p:spPr>
            <a:xfrm>
              <a:off x="667320" y="2189295"/>
              <a:ext cx="3895510" cy="11835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04" h="311">
                  <a:moveTo>
                    <a:pt x="10204" y="309"/>
                  </a:moveTo>
                  <a:lnTo>
                    <a:pt x="3216" y="309"/>
                  </a:lnTo>
                  <a:cubicBezTo>
                    <a:pt x="3216" y="309"/>
                    <a:pt x="0" y="336"/>
                    <a:pt x="0" y="129"/>
                  </a:cubicBezTo>
                  <a:cubicBezTo>
                    <a:pt x="0" y="-37"/>
                    <a:pt x="1652" y="4"/>
                    <a:pt x="1652" y="4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6" name="Freeform: Shape 343"/>
            <p:cNvSpPr/>
            <p:nvPr/>
          </p:nvSpPr>
          <p:spPr>
            <a:xfrm>
              <a:off x="848293" y="2215257"/>
              <a:ext cx="507413" cy="3283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30" h="87" fill="none">
                  <a:moveTo>
                    <a:pt x="0" y="87"/>
                  </a:moveTo>
                  <a:lnTo>
                    <a:pt x="248" y="0"/>
                  </a:lnTo>
                  <a:lnTo>
                    <a:pt x="133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7" name="Straight Connector 346"/>
            <p:cNvSpPr/>
            <p:nvPr/>
          </p:nvSpPr>
          <p:spPr>
            <a:xfrm>
              <a:off x="1028503" y="2339342"/>
              <a:ext cx="34285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8" name="Straight Connector 347"/>
            <p:cNvSpPr/>
            <p:nvPr/>
          </p:nvSpPr>
          <p:spPr>
            <a:xfrm>
              <a:off x="1158315" y="2387449"/>
              <a:ext cx="1099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9" name="Straight Connector 348"/>
            <p:cNvSpPr/>
            <p:nvPr/>
          </p:nvSpPr>
          <p:spPr>
            <a:xfrm>
              <a:off x="1654655" y="2338197"/>
              <a:ext cx="157454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0" name="Straight Connector 349"/>
            <p:cNvSpPr/>
            <p:nvPr/>
          </p:nvSpPr>
          <p:spPr>
            <a:xfrm>
              <a:off x="3315869" y="2353851"/>
              <a:ext cx="31307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1" name="Straight Connector 350"/>
            <p:cNvSpPr/>
            <p:nvPr/>
          </p:nvSpPr>
          <p:spPr>
            <a:xfrm>
              <a:off x="3481570" y="2396231"/>
              <a:ext cx="15844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2" name="Straight Connector 351"/>
            <p:cNvSpPr/>
            <p:nvPr/>
          </p:nvSpPr>
          <p:spPr>
            <a:xfrm>
              <a:off x="3950803" y="2339342"/>
              <a:ext cx="58568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3" name="Straight Connector 352"/>
            <p:cNvSpPr/>
            <p:nvPr/>
          </p:nvSpPr>
          <p:spPr>
            <a:xfrm>
              <a:off x="2187267" y="2236256"/>
              <a:ext cx="5307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4" name="Freeform: Shape 351"/>
            <p:cNvSpPr/>
            <p:nvPr/>
          </p:nvSpPr>
          <p:spPr>
            <a:xfrm>
              <a:off x="2866872" y="1561997"/>
              <a:ext cx="281769" cy="623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39" h="1634" fill="none">
                  <a:moveTo>
                    <a:pt x="0" y="1634"/>
                  </a:moveTo>
                  <a:lnTo>
                    <a:pt x="0" y="0"/>
                  </a:lnTo>
                  <a:lnTo>
                    <a:pt x="739" y="0"/>
                  </a:lnTo>
                  <a:lnTo>
                    <a:pt x="739" y="136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5" name="Straight Connector 354"/>
            <p:cNvSpPr/>
            <p:nvPr/>
          </p:nvSpPr>
          <p:spPr>
            <a:xfrm>
              <a:off x="2866872" y="1653629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6" name="Straight Connector 355"/>
            <p:cNvSpPr/>
            <p:nvPr/>
          </p:nvSpPr>
          <p:spPr>
            <a:xfrm>
              <a:off x="2866872" y="1696009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7" name="Straight Connector 356"/>
            <p:cNvSpPr/>
            <p:nvPr/>
          </p:nvSpPr>
          <p:spPr>
            <a:xfrm>
              <a:off x="2866872" y="1728079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8" name="Straight Connector 357"/>
            <p:cNvSpPr/>
            <p:nvPr/>
          </p:nvSpPr>
          <p:spPr>
            <a:xfrm>
              <a:off x="2866872" y="176015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9" name="Straight Connector 358"/>
            <p:cNvSpPr/>
            <p:nvPr/>
          </p:nvSpPr>
          <p:spPr>
            <a:xfrm>
              <a:off x="2866872" y="179184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0" name="Straight Connector 359"/>
            <p:cNvSpPr/>
            <p:nvPr/>
          </p:nvSpPr>
          <p:spPr>
            <a:xfrm>
              <a:off x="2866872" y="1823530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1" name="Straight Connector 360"/>
            <p:cNvSpPr/>
            <p:nvPr/>
          </p:nvSpPr>
          <p:spPr>
            <a:xfrm>
              <a:off x="2866872" y="185560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2" name="Straight Connector 361"/>
            <p:cNvSpPr/>
            <p:nvPr/>
          </p:nvSpPr>
          <p:spPr>
            <a:xfrm>
              <a:off x="2866872" y="188767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3" name="Straight Connector 362"/>
            <p:cNvSpPr/>
            <p:nvPr/>
          </p:nvSpPr>
          <p:spPr>
            <a:xfrm>
              <a:off x="2866872" y="191936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4" name="Straight Connector 363"/>
            <p:cNvSpPr/>
            <p:nvPr/>
          </p:nvSpPr>
          <p:spPr>
            <a:xfrm>
              <a:off x="2866872" y="1951433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5" name="Straight Connector 364"/>
            <p:cNvSpPr/>
            <p:nvPr/>
          </p:nvSpPr>
          <p:spPr>
            <a:xfrm>
              <a:off x="2866872" y="1983123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6" name="Straight Connector 365"/>
            <p:cNvSpPr/>
            <p:nvPr/>
          </p:nvSpPr>
          <p:spPr>
            <a:xfrm>
              <a:off x="2866872" y="2015194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7" name="Straight Connector 366"/>
            <p:cNvSpPr/>
            <p:nvPr/>
          </p:nvSpPr>
          <p:spPr>
            <a:xfrm>
              <a:off x="2866872" y="2047265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8" name="Straight Connector 367"/>
            <p:cNvSpPr/>
            <p:nvPr/>
          </p:nvSpPr>
          <p:spPr>
            <a:xfrm>
              <a:off x="2866872" y="2079336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9" name="Straight Connector 368"/>
            <p:cNvSpPr/>
            <p:nvPr/>
          </p:nvSpPr>
          <p:spPr>
            <a:xfrm>
              <a:off x="2866872" y="2107208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0" name="Straight Connector 369"/>
            <p:cNvSpPr/>
            <p:nvPr/>
          </p:nvSpPr>
          <p:spPr>
            <a:xfrm>
              <a:off x="2866872" y="2139279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1" name="Straight Connector 370"/>
            <p:cNvSpPr/>
            <p:nvPr/>
          </p:nvSpPr>
          <p:spPr>
            <a:xfrm>
              <a:off x="2866872" y="2171350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2" name="Freeform: Shape 369"/>
            <p:cNvSpPr/>
            <p:nvPr/>
          </p:nvSpPr>
          <p:spPr>
            <a:xfrm>
              <a:off x="2916124" y="1522290"/>
              <a:ext cx="81323" cy="8132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4" h="214">
                  <a:moveTo>
                    <a:pt x="214" y="107"/>
                  </a:moveTo>
                  <a:cubicBezTo>
                    <a:pt x="214" y="126"/>
                    <a:pt x="209" y="143"/>
                    <a:pt x="199" y="160"/>
                  </a:cubicBezTo>
                  <a:cubicBezTo>
                    <a:pt x="189" y="177"/>
                    <a:pt x="177" y="189"/>
                    <a:pt x="160" y="199"/>
                  </a:cubicBezTo>
                  <a:cubicBezTo>
                    <a:pt x="143" y="208"/>
                    <a:pt x="126" y="214"/>
                    <a:pt x="107" y="214"/>
                  </a:cubicBezTo>
                  <a:cubicBezTo>
                    <a:pt x="87" y="214"/>
                    <a:pt x="70" y="208"/>
                    <a:pt x="53" y="199"/>
                  </a:cubicBezTo>
                  <a:cubicBezTo>
                    <a:pt x="36" y="189"/>
                    <a:pt x="24" y="177"/>
                    <a:pt x="14" y="160"/>
                  </a:cubicBezTo>
                  <a:cubicBezTo>
                    <a:pt x="4" y="143"/>
                    <a:pt x="0" y="126"/>
                    <a:pt x="0" y="107"/>
                  </a:cubicBezTo>
                  <a:cubicBezTo>
                    <a:pt x="0" y="87"/>
                    <a:pt x="4" y="70"/>
                    <a:pt x="14" y="53"/>
                  </a:cubicBezTo>
                  <a:cubicBezTo>
                    <a:pt x="24" y="36"/>
                    <a:pt x="36" y="24"/>
                    <a:pt x="53" y="14"/>
                  </a:cubicBezTo>
                  <a:cubicBezTo>
                    <a:pt x="70" y="4"/>
                    <a:pt x="87" y="0"/>
                    <a:pt x="107" y="0"/>
                  </a:cubicBezTo>
                  <a:cubicBezTo>
                    <a:pt x="126" y="0"/>
                    <a:pt x="143" y="4"/>
                    <a:pt x="160" y="14"/>
                  </a:cubicBezTo>
                  <a:cubicBezTo>
                    <a:pt x="177" y="24"/>
                    <a:pt x="189" y="36"/>
                    <a:pt x="199" y="53"/>
                  </a:cubicBezTo>
                  <a:cubicBezTo>
                    <a:pt x="209" y="70"/>
                    <a:pt x="214" y="87"/>
                    <a:pt x="214" y="107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3" name="Straight Connector 372"/>
            <p:cNvSpPr/>
            <p:nvPr/>
          </p:nvSpPr>
          <p:spPr>
            <a:xfrm>
              <a:off x="3018446" y="1589868"/>
              <a:ext cx="7750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4" name="Straight Connector 373"/>
            <p:cNvSpPr/>
            <p:nvPr/>
          </p:nvSpPr>
          <p:spPr>
            <a:xfrm>
              <a:off x="1532861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5" name="Straight Connector 374"/>
            <p:cNvSpPr/>
            <p:nvPr/>
          </p:nvSpPr>
          <p:spPr>
            <a:xfrm>
              <a:off x="1532861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6" name="Straight Connector 375"/>
            <p:cNvSpPr/>
            <p:nvPr/>
          </p:nvSpPr>
          <p:spPr>
            <a:xfrm>
              <a:off x="1532861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7" name="Straight Connector 376"/>
            <p:cNvSpPr/>
            <p:nvPr/>
          </p:nvSpPr>
          <p:spPr>
            <a:xfrm>
              <a:off x="1532861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8" name="Straight Connector 377"/>
            <p:cNvSpPr/>
            <p:nvPr/>
          </p:nvSpPr>
          <p:spPr>
            <a:xfrm>
              <a:off x="1532861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9" name="Straight Connector 378"/>
            <p:cNvSpPr/>
            <p:nvPr/>
          </p:nvSpPr>
          <p:spPr>
            <a:xfrm>
              <a:off x="1532861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0" name="Straight Connector 379"/>
            <p:cNvSpPr/>
            <p:nvPr/>
          </p:nvSpPr>
          <p:spPr>
            <a:xfrm>
              <a:off x="1532861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1" name="Straight Connector 380"/>
            <p:cNvSpPr/>
            <p:nvPr/>
          </p:nvSpPr>
          <p:spPr>
            <a:xfrm>
              <a:off x="1532861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2" name="Straight Connector 381"/>
            <p:cNvSpPr/>
            <p:nvPr/>
          </p:nvSpPr>
          <p:spPr>
            <a:xfrm>
              <a:off x="1532861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3" name="Straight Connector 382"/>
            <p:cNvSpPr/>
            <p:nvPr/>
          </p:nvSpPr>
          <p:spPr>
            <a:xfrm>
              <a:off x="1532861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4" name="Straight Connector 383"/>
            <p:cNvSpPr/>
            <p:nvPr/>
          </p:nvSpPr>
          <p:spPr>
            <a:xfrm>
              <a:off x="1532861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5" name="Straight Connector 384"/>
            <p:cNvSpPr/>
            <p:nvPr/>
          </p:nvSpPr>
          <p:spPr>
            <a:xfrm>
              <a:off x="1532861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6" name="Straight Connector 385"/>
            <p:cNvSpPr/>
            <p:nvPr/>
          </p:nvSpPr>
          <p:spPr>
            <a:xfrm>
              <a:off x="1532861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7" name="Straight Connector 386"/>
            <p:cNvSpPr/>
            <p:nvPr/>
          </p:nvSpPr>
          <p:spPr>
            <a:xfrm>
              <a:off x="1532861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8" name="Straight Connector 387"/>
            <p:cNvSpPr/>
            <p:nvPr/>
          </p:nvSpPr>
          <p:spPr>
            <a:xfrm>
              <a:off x="1532861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9" name="Straight Connector 388"/>
            <p:cNvSpPr/>
            <p:nvPr/>
          </p:nvSpPr>
          <p:spPr>
            <a:xfrm>
              <a:off x="1532861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0" name="Straight Connector 389"/>
            <p:cNvSpPr/>
            <p:nvPr/>
          </p:nvSpPr>
          <p:spPr>
            <a:xfrm>
              <a:off x="1532861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1" name="Straight Connector 390"/>
            <p:cNvSpPr/>
            <p:nvPr/>
          </p:nvSpPr>
          <p:spPr>
            <a:xfrm>
              <a:off x="1563023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2" name="Straight Connector 391"/>
            <p:cNvSpPr/>
            <p:nvPr/>
          </p:nvSpPr>
          <p:spPr>
            <a:xfrm>
              <a:off x="1563023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3" name="Straight Connector 392"/>
            <p:cNvSpPr/>
            <p:nvPr/>
          </p:nvSpPr>
          <p:spPr>
            <a:xfrm>
              <a:off x="1563023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4" name="Straight Connector 393"/>
            <p:cNvSpPr/>
            <p:nvPr/>
          </p:nvSpPr>
          <p:spPr>
            <a:xfrm>
              <a:off x="1563023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5" name="Straight Connector 394"/>
            <p:cNvSpPr/>
            <p:nvPr/>
          </p:nvSpPr>
          <p:spPr>
            <a:xfrm>
              <a:off x="1563023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6" name="Straight Connector 395"/>
            <p:cNvSpPr/>
            <p:nvPr/>
          </p:nvSpPr>
          <p:spPr>
            <a:xfrm>
              <a:off x="1563023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7" name="Straight Connector 396"/>
            <p:cNvSpPr/>
            <p:nvPr/>
          </p:nvSpPr>
          <p:spPr>
            <a:xfrm>
              <a:off x="1563023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8" name="Straight Connector 397"/>
            <p:cNvSpPr/>
            <p:nvPr/>
          </p:nvSpPr>
          <p:spPr>
            <a:xfrm>
              <a:off x="1563023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9" name="Straight Connector 398"/>
            <p:cNvSpPr/>
            <p:nvPr/>
          </p:nvSpPr>
          <p:spPr>
            <a:xfrm>
              <a:off x="1563023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0" name="Straight Connector 399"/>
            <p:cNvSpPr/>
            <p:nvPr/>
          </p:nvSpPr>
          <p:spPr>
            <a:xfrm>
              <a:off x="1563023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1" name="Straight Connector 400"/>
            <p:cNvSpPr/>
            <p:nvPr/>
          </p:nvSpPr>
          <p:spPr>
            <a:xfrm>
              <a:off x="1563023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2" name="Straight Connector 401"/>
            <p:cNvSpPr/>
            <p:nvPr/>
          </p:nvSpPr>
          <p:spPr>
            <a:xfrm>
              <a:off x="1563023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3" name="Straight Connector 402"/>
            <p:cNvSpPr/>
            <p:nvPr/>
          </p:nvSpPr>
          <p:spPr>
            <a:xfrm>
              <a:off x="1563023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4" name="Straight Connector 403"/>
            <p:cNvSpPr/>
            <p:nvPr/>
          </p:nvSpPr>
          <p:spPr>
            <a:xfrm>
              <a:off x="1563023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5" name="Straight Connector 404"/>
            <p:cNvSpPr/>
            <p:nvPr/>
          </p:nvSpPr>
          <p:spPr>
            <a:xfrm>
              <a:off x="1563023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6" name="Straight Connector 405"/>
            <p:cNvSpPr/>
            <p:nvPr/>
          </p:nvSpPr>
          <p:spPr>
            <a:xfrm>
              <a:off x="1563023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7" name="Straight Connector 406"/>
            <p:cNvSpPr/>
            <p:nvPr/>
          </p:nvSpPr>
          <p:spPr>
            <a:xfrm>
              <a:off x="1563023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8" name="Straight Connector 407"/>
            <p:cNvSpPr/>
            <p:nvPr/>
          </p:nvSpPr>
          <p:spPr>
            <a:xfrm>
              <a:off x="1593567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9" name="Straight Connector 408"/>
            <p:cNvSpPr/>
            <p:nvPr/>
          </p:nvSpPr>
          <p:spPr>
            <a:xfrm>
              <a:off x="1593567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0" name="Straight Connector 409"/>
            <p:cNvSpPr/>
            <p:nvPr/>
          </p:nvSpPr>
          <p:spPr>
            <a:xfrm>
              <a:off x="1593567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1" name="Straight Connector 410"/>
            <p:cNvSpPr/>
            <p:nvPr/>
          </p:nvSpPr>
          <p:spPr>
            <a:xfrm>
              <a:off x="1593567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2" name="Straight Connector 411"/>
            <p:cNvSpPr/>
            <p:nvPr/>
          </p:nvSpPr>
          <p:spPr>
            <a:xfrm>
              <a:off x="1593567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3" name="Straight Connector 412"/>
            <p:cNvSpPr/>
            <p:nvPr/>
          </p:nvSpPr>
          <p:spPr>
            <a:xfrm>
              <a:off x="1593567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4" name="Straight Connector 413"/>
            <p:cNvSpPr/>
            <p:nvPr/>
          </p:nvSpPr>
          <p:spPr>
            <a:xfrm>
              <a:off x="1593567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5" name="Straight Connector 414"/>
            <p:cNvSpPr/>
            <p:nvPr/>
          </p:nvSpPr>
          <p:spPr>
            <a:xfrm>
              <a:off x="1593567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6" name="Straight Connector 415"/>
            <p:cNvSpPr/>
            <p:nvPr/>
          </p:nvSpPr>
          <p:spPr>
            <a:xfrm>
              <a:off x="1593567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7" name="Straight Connector 416"/>
            <p:cNvSpPr/>
            <p:nvPr/>
          </p:nvSpPr>
          <p:spPr>
            <a:xfrm>
              <a:off x="1593567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8" name="Straight Connector 417"/>
            <p:cNvSpPr/>
            <p:nvPr/>
          </p:nvSpPr>
          <p:spPr>
            <a:xfrm>
              <a:off x="1593567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9" name="Straight Connector 418"/>
            <p:cNvSpPr/>
            <p:nvPr/>
          </p:nvSpPr>
          <p:spPr>
            <a:xfrm>
              <a:off x="1593567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0" name="Straight Connector 419"/>
            <p:cNvSpPr/>
            <p:nvPr/>
          </p:nvSpPr>
          <p:spPr>
            <a:xfrm>
              <a:off x="1593567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1" name="Straight Connector 420"/>
            <p:cNvSpPr/>
            <p:nvPr/>
          </p:nvSpPr>
          <p:spPr>
            <a:xfrm>
              <a:off x="1593567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2" name="Straight Connector 421"/>
            <p:cNvSpPr/>
            <p:nvPr/>
          </p:nvSpPr>
          <p:spPr>
            <a:xfrm>
              <a:off x="1593567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3" name="Straight Connector 422"/>
            <p:cNvSpPr/>
            <p:nvPr/>
          </p:nvSpPr>
          <p:spPr>
            <a:xfrm>
              <a:off x="1593567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4" name="Straight Connector 423"/>
            <p:cNvSpPr/>
            <p:nvPr/>
          </p:nvSpPr>
          <p:spPr>
            <a:xfrm>
              <a:off x="1593567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5" name="Straight Connector 424"/>
            <p:cNvSpPr/>
            <p:nvPr/>
          </p:nvSpPr>
          <p:spPr>
            <a:xfrm>
              <a:off x="1624111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6" name="Straight Connector 425"/>
            <p:cNvSpPr/>
            <p:nvPr/>
          </p:nvSpPr>
          <p:spPr>
            <a:xfrm>
              <a:off x="1624111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7" name="Straight Connector 426"/>
            <p:cNvSpPr/>
            <p:nvPr/>
          </p:nvSpPr>
          <p:spPr>
            <a:xfrm>
              <a:off x="1624111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8" name="Straight Connector 427"/>
            <p:cNvSpPr/>
            <p:nvPr/>
          </p:nvSpPr>
          <p:spPr>
            <a:xfrm>
              <a:off x="1624111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9" name="Straight Connector 428"/>
            <p:cNvSpPr/>
            <p:nvPr/>
          </p:nvSpPr>
          <p:spPr>
            <a:xfrm>
              <a:off x="1624111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0" name="Straight Connector 429"/>
            <p:cNvSpPr/>
            <p:nvPr/>
          </p:nvSpPr>
          <p:spPr>
            <a:xfrm>
              <a:off x="1624111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1" name="Straight Connector 430"/>
            <p:cNvSpPr/>
            <p:nvPr/>
          </p:nvSpPr>
          <p:spPr>
            <a:xfrm>
              <a:off x="1624111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2" name="Straight Connector 431"/>
            <p:cNvSpPr/>
            <p:nvPr/>
          </p:nvSpPr>
          <p:spPr>
            <a:xfrm>
              <a:off x="1624111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3" name="Straight Connector 432"/>
            <p:cNvSpPr/>
            <p:nvPr/>
          </p:nvSpPr>
          <p:spPr>
            <a:xfrm>
              <a:off x="1624111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4" name="Straight Connector 433"/>
            <p:cNvSpPr/>
            <p:nvPr/>
          </p:nvSpPr>
          <p:spPr>
            <a:xfrm>
              <a:off x="1624111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5" name="Straight Connector 434"/>
            <p:cNvSpPr/>
            <p:nvPr/>
          </p:nvSpPr>
          <p:spPr>
            <a:xfrm>
              <a:off x="1624111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6" name="Straight Connector 435"/>
            <p:cNvSpPr/>
            <p:nvPr/>
          </p:nvSpPr>
          <p:spPr>
            <a:xfrm>
              <a:off x="1624111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7" name="Straight Connector 436"/>
            <p:cNvSpPr/>
            <p:nvPr/>
          </p:nvSpPr>
          <p:spPr>
            <a:xfrm>
              <a:off x="1624111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8" name="Straight Connector 437"/>
            <p:cNvSpPr/>
            <p:nvPr/>
          </p:nvSpPr>
          <p:spPr>
            <a:xfrm>
              <a:off x="1624111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9" name="Straight Connector 438"/>
            <p:cNvSpPr/>
            <p:nvPr/>
          </p:nvSpPr>
          <p:spPr>
            <a:xfrm>
              <a:off x="1624111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0" name="Straight Connector 439"/>
            <p:cNvSpPr/>
            <p:nvPr/>
          </p:nvSpPr>
          <p:spPr>
            <a:xfrm>
              <a:off x="1624111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1" name="Straight Connector 440"/>
            <p:cNvSpPr/>
            <p:nvPr/>
          </p:nvSpPr>
          <p:spPr>
            <a:xfrm>
              <a:off x="1624111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2" name="Straight Connector 441"/>
            <p:cNvSpPr/>
            <p:nvPr/>
          </p:nvSpPr>
          <p:spPr>
            <a:xfrm>
              <a:off x="1654655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3" name="Straight Connector 442"/>
            <p:cNvSpPr/>
            <p:nvPr/>
          </p:nvSpPr>
          <p:spPr>
            <a:xfrm>
              <a:off x="1654655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4" name="Straight Connector 443"/>
            <p:cNvSpPr/>
            <p:nvPr/>
          </p:nvSpPr>
          <p:spPr>
            <a:xfrm>
              <a:off x="1654655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5" name="Straight Connector 444"/>
            <p:cNvSpPr/>
            <p:nvPr/>
          </p:nvSpPr>
          <p:spPr>
            <a:xfrm>
              <a:off x="1654655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6" name="Straight Connector 445"/>
            <p:cNvSpPr/>
            <p:nvPr/>
          </p:nvSpPr>
          <p:spPr>
            <a:xfrm>
              <a:off x="1654655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7" name="Straight Connector 446"/>
            <p:cNvSpPr/>
            <p:nvPr/>
          </p:nvSpPr>
          <p:spPr>
            <a:xfrm>
              <a:off x="1654655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8" name="Straight Connector 447"/>
            <p:cNvSpPr/>
            <p:nvPr/>
          </p:nvSpPr>
          <p:spPr>
            <a:xfrm>
              <a:off x="1654655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9" name="Straight Connector 448"/>
            <p:cNvSpPr/>
            <p:nvPr/>
          </p:nvSpPr>
          <p:spPr>
            <a:xfrm>
              <a:off x="1654655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0" name="Straight Connector 449"/>
            <p:cNvSpPr/>
            <p:nvPr/>
          </p:nvSpPr>
          <p:spPr>
            <a:xfrm>
              <a:off x="1654655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1" name="Straight Connector 450"/>
            <p:cNvSpPr/>
            <p:nvPr/>
          </p:nvSpPr>
          <p:spPr>
            <a:xfrm>
              <a:off x="1654655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2" name="Straight Connector 451"/>
            <p:cNvSpPr/>
            <p:nvPr/>
          </p:nvSpPr>
          <p:spPr>
            <a:xfrm>
              <a:off x="1654655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3" name="Straight Connector 452"/>
            <p:cNvSpPr/>
            <p:nvPr/>
          </p:nvSpPr>
          <p:spPr>
            <a:xfrm>
              <a:off x="1654655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4" name="Straight Connector 453"/>
            <p:cNvSpPr/>
            <p:nvPr/>
          </p:nvSpPr>
          <p:spPr>
            <a:xfrm>
              <a:off x="1654655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5" name="Straight Connector 454"/>
            <p:cNvSpPr/>
            <p:nvPr/>
          </p:nvSpPr>
          <p:spPr>
            <a:xfrm>
              <a:off x="1654655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6" name="Straight Connector 455"/>
            <p:cNvSpPr/>
            <p:nvPr/>
          </p:nvSpPr>
          <p:spPr>
            <a:xfrm>
              <a:off x="1654655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7" name="Straight Connector 456"/>
            <p:cNvSpPr/>
            <p:nvPr/>
          </p:nvSpPr>
          <p:spPr>
            <a:xfrm>
              <a:off x="1654655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8" name="Straight Connector 457"/>
            <p:cNvSpPr/>
            <p:nvPr/>
          </p:nvSpPr>
          <p:spPr>
            <a:xfrm>
              <a:off x="1654655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9" name="Straight Connector 458"/>
            <p:cNvSpPr/>
            <p:nvPr/>
          </p:nvSpPr>
          <p:spPr>
            <a:xfrm>
              <a:off x="1685199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0" name="Straight Connector 459"/>
            <p:cNvSpPr/>
            <p:nvPr/>
          </p:nvSpPr>
          <p:spPr>
            <a:xfrm>
              <a:off x="1685199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1" name="Straight Connector 460"/>
            <p:cNvSpPr/>
            <p:nvPr/>
          </p:nvSpPr>
          <p:spPr>
            <a:xfrm>
              <a:off x="1685199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2" name="Straight Connector 461"/>
            <p:cNvSpPr/>
            <p:nvPr/>
          </p:nvSpPr>
          <p:spPr>
            <a:xfrm>
              <a:off x="1685199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3" name="Straight Connector 462"/>
            <p:cNvSpPr/>
            <p:nvPr/>
          </p:nvSpPr>
          <p:spPr>
            <a:xfrm>
              <a:off x="1685199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4" name="Straight Connector 463"/>
            <p:cNvSpPr/>
            <p:nvPr/>
          </p:nvSpPr>
          <p:spPr>
            <a:xfrm>
              <a:off x="1685199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5" name="Straight Connector 464"/>
            <p:cNvSpPr/>
            <p:nvPr/>
          </p:nvSpPr>
          <p:spPr>
            <a:xfrm>
              <a:off x="1685199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6" name="Straight Connector 465"/>
            <p:cNvSpPr/>
            <p:nvPr/>
          </p:nvSpPr>
          <p:spPr>
            <a:xfrm>
              <a:off x="1685199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7" name="Straight Connector 466"/>
            <p:cNvSpPr/>
            <p:nvPr/>
          </p:nvSpPr>
          <p:spPr>
            <a:xfrm>
              <a:off x="1685199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8" name="Straight Connector 467"/>
            <p:cNvSpPr/>
            <p:nvPr/>
          </p:nvSpPr>
          <p:spPr>
            <a:xfrm>
              <a:off x="1685199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9" name="Straight Connector 468"/>
            <p:cNvSpPr/>
            <p:nvPr/>
          </p:nvSpPr>
          <p:spPr>
            <a:xfrm>
              <a:off x="1685199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0" name="Straight Connector 469"/>
            <p:cNvSpPr/>
            <p:nvPr/>
          </p:nvSpPr>
          <p:spPr>
            <a:xfrm>
              <a:off x="1685199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1" name="Straight Connector 470"/>
            <p:cNvSpPr/>
            <p:nvPr/>
          </p:nvSpPr>
          <p:spPr>
            <a:xfrm>
              <a:off x="1685199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2" name="Straight Connector 471"/>
            <p:cNvSpPr/>
            <p:nvPr/>
          </p:nvSpPr>
          <p:spPr>
            <a:xfrm>
              <a:off x="1685199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3" name="Straight Connector 472"/>
            <p:cNvSpPr/>
            <p:nvPr/>
          </p:nvSpPr>
          <p:spPr>
            <a:xfrm>
              <a:off x="1685199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4" name="Straight Connector 473"/>
            <p:cNvSpPr/>
            <p:nvPr/>
          </p:nvSpPr>
          <p:spPr>
            <a:xfrm>
              <a:off x="1685199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5" name="Straight Connector 474"/>
            <p:cNvSpPr/>
            <p:nvPr/>
          </p:nvSpPr>
          <p:spPr>
            <a:xfrm>
              <a:off x="1685199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6" name="Straight Connector 475"/>
            <p:cNvSpPr/>
            <p:nvPr/>
          </p:nvSpPr>
          <p:spPr>
            <a:xfrm>
              <a:off x="1806994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7" name="Straight Connector 476"/>
            <p:cNvSpPr/>
            <p:nvPr/>
          </p:nvSpPr>
          <p:spPr>
            <a:xfrm>
              <a:off x="1806994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8" name="Straight Connector 477"/>
            <p:cNvSpPr/>
            <p:nvPr/>
          </p:nvSpPr>
          <p:spPr>
            <a:xfrm>
              <a:off x="1806994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9" name="Straight Connector 478"/>
            <p:cNvSpPr/>
            <p:nvPr/>
          </p:nvSpPr>
          <p:spPr>
            <a:xfrm>
              <a:off x="1806994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0" name="Straight Connector 479"/>
            <p:cNvSpPr/>
            <p:nvPr/>
          </p:nvSpPr>
          <p:spPr>
            <a:xfrm>
              <a:off x="1806994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1" name="Straight Connector 480"/>
            <p:cNvSpPr/>
            <p:nvPr/>
          </p:nvSpPr>
          <p:spPr>
            <a:xfrm>
              <a:off x="1806994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2" name="Straight Connector 481"/>
            <p:cNvSpPr/>
            <p:nvPr/>
          </p:nvSpPr>
          <p:spPr>
            <a:xfrm>
              <a:off x="1806994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3" name="Straight Connector 482"/>
            <p:cNvSpPr/>
            <p:nvPr/>
          </p:nvSpPr>
          <p:spPr>
            <a:xfrm>
              <a:off x="1806994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4" name="Straight Connector 483"/>
            <p:cNvSpPr/>
            <p:nvPr/>
          </p:nvSpPr>
          <p:spPr>
            <a:xfrm>
              <a:off x="1806994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5" name="Straight Connector 484"/>
            <p:cNvSpPr/>
            <p:nvPr/>
          </p:nvSpPr>
          <p:spPr>
            <a:xfrm>
              <a:off x="1806994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6" name="Straight Connector 485"/>
            <p:cNvSpPr/>
            <p:nvPr/>
          </p:nvSpPr>
          <p:spPr>
            <a:xfrm>
              <a:off x="1806994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7" name="Straight Connector 486"/>
            <p:cNvSpPr/>
            <p:nvPr/>
          </p:nvSpPr>
          <p:spPr>
            <a:xfrm>
              <a:off x="1806994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8" name="Straight Connector 487"/>
            <p:cNvSpPr/>
            <p:nvPr/>
          </p:nvSpPr>
          <p:spPr>
            <a:xfrm>
              <a:off x="1806994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9" name="Straight Connector 488"/>
            <p:cNvSpPr/>
            <p:nvPr/>
          </p:nvSpPr>
          <p:spPr>
            <a:xfrm>
              <a:off x="1776451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0" name="Straight Connector 489"/>
            <p:cNvSpPr/>
            <p:nvPr/>
          </p:nvSpPr>
          <p:spPr>
            <a:xfrm>
              <a:off x="1776451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1" name="Straight Connector 490"/>
            <p:cNvSpPr/>
            <p:nvPr/>
          </p:nvSpPr>
          <p:spPr>
            <a:xfrm>
              <a:off x="1776451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2" name="Straight Connector 491"/>
            <p:cNvSpPr/>
            <p:nvPr/>
          </p:nvSpPr>
          <p:spPr>
            <a:xfrm>
              <a:off x="1776451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3" name="Straight Connector 492"/>
            <p:cNvSpPr/>
            <p:nvPr/>
          </p:nvSpPr>
          <p:spPr>
            <a:xfrm>
              <a:off x="1776451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4" name="Straight Connector 493"/>
            <p:cNvSpPr/>
            <p:nvPr/>
          </p:nvSpPr>
          <p:spPr>
            <a:xfrm>
              <a:off x="1776451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5" name="Straight Connector 494"/>
            <p:cNvSpPr/>
            <p:nvPr/>
          </p:nvSpPr>
          <p:spPr>
            <a:xfrm>
              <a:off x="1776451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6" name="Straight Connector 495"/>
            <p:cNvSpPr/>
            <p:nvPr/>
          </p:nvSpPr>
          <p:spPr>
            <a:xfrm>
              <a:off x="1776451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7" name="Straight Connector 496"/>
            <p:cNvSpPr/>
            <p:nvPr/>
          </p:nvSpPr>
          <p:spPr>
            <a:xfrm>
              <a:off x="1776451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8" name="Straight Connector 497"/>
            <p:cNvSpPr/>
            <p:nvPr/>
          </p:nvSpPr>
          <p:spPr>
            <a:xfrm>
              <a:off x="1776451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9" name="Straight Connector 498"/>
            <p:cNvSpPr/>
            <p:nvPr/>
          </p:nvSpPr>
          <p:spPr>
            <a:xfrm>
              <a:off x="1776451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0" name="Straight Connector 499"/>
            <p:cNvSpPr/>
            <p:nvPr/>
          </p:nvSpPr>
          <p:spPr>
            <a:xfrm>
              <a:off x="1776451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1" name="Straight Connector 500"/>
            <p:cNvSpPr/>
            <p:nvPr/>
          </p:nvSpPr>
          <p:spPr>
            <a:xfrm>
              <a:off x="1776451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2" name="Straight Connector 501"/>
            <p:cNvSpPr/>
            <p:nvPr/>
          </p:nvSpPr>
          <p:spPr>
            <a:xfrm>
              <a:off x="1745906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3" name="Straight Connector 502"/>
            <p:cNvSpPr/>
            <p:nvPr/>
          </p:nvSpPr>
          <p:spPr>
            <a:xfrm>
              <a:off x="1745906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4" name="Straight Connector 503"/>
            <p:cNvSpPr/>
            <p:nvPr/>
          </p:nvSpPr>
          <p:spPr>
            <a:xfrm>
              <a:off x="1745906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5" name="Straight Connector 504"/>
            <p:cNvSpPr/>
            <p:nvPr/>
          </p:nvSpPr>
          <p:spPr>
            <a:xfrm>
              <a:off x="1745906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6" name="Straight Connector 505"/>
            <p:cNvSpPr/>
            <p:nvPr/>
          </p:nvSpPr>
          <p:spPr>
            <a:xfrm>
              <a:off x="1745906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7" name="Straight Connector 506"/>
            <p:cNvSpPr/>
            <p:nvPr/>
          </p:nvSpPr>
          <p:spPr>
            <a:xfrm>
              <a:off x="1745906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8" name="Straight Connector 507"/>
            <p:cNvSpPr/>
            <p:nvPr/>
          </p:nvSpPr>
          <p:spPr>
            <a:xfrm>
              <a:off x="1745906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9" name="Straight Connector 508"/>
            <p:cNvSpPr/>
            <p:nvPr/>
          </p:nvSpPr>
          <p:spPr>
            <a:xfrm>
              <a:off x="1745906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0" name="Straight Connector 509"/>
            <p:cNvSpPr/>
            <p:nvPr/>
          </p:nvSpPr>
          <p:spPr>
            <a:xfrm>
              <a:off x="1745906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1" name="Straight Connector 510"/>
            <p:cNvSpPr/>
            <p:nvPr/>
          </p:nvSpPr>
          <p:spPr>
            <a:xfrm>
              <a:off x="1745906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2" name="Straight Connector 511"/>
            <p:cNvSpPr/>
            <p:nvPr/>
          </p:nvSpPr>
          <p:spPr>
            <a:xfrm>
              <a:off x="1745906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3" name="Straight Connector 512"/>
            <p:cNvSpPr/>
            <p:nvPr/>
          </p:nvSpPr>
          <p:spPr>
            <a:xfrm>
              <a:off x="1745906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4" name="Straight Connector 513"/>
            <p:cNvSpPr/>
            <p:nvPr/>
          </p:nvSpPr>
          <p:spPr>
            <a:xfrm>
              <a:off x="1745906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5" name="Straight Connector 514"/>
            <p:cNvSpPr/>
            <p:nvPr/>
          </p:nvSpPr>
          <p:spPr>
            <a:xfrm>
              <a:off x="1715743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6" name="Straight Connector 515"/>
            <p:cNvSpPr/>
            <p:nvPr/>
          </p:nvSpPr>
          <p:spPr>
            <a:xfrm>
              <a:off x="1715743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7" name="Straight Connector 516"/>
            <p:cNvSpPr/>
            <p:nvPr/>
          </p:nvSpPr>
          <p:spPr>
            <a:xfrm>
              <a:off x="1715743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8" name="Straight Connector 517"/>
            <p:cNvSpPr/>
            <p:nvPr/>
          </p:nvSpPr>
          <p:spPr>
            <a:xfrm>
              <a:off x="1715743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9" name="Straight Connector 518"/>
            <p:cNvSpPr/>
            <p:nvPr/>
          </p:nvSpPr>
          <p:spPr>
            <a:xfrm>
              <a:off x="1715743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0" name="Straight Connector 519"/>
            <p:cNvSpPr/>
            <p:nvPr/>
          </p:nvSpPr>
          <p:spPr>
            <a:xfrm>
              <a:off x="1715743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1" name="Straight Connector 520"/>
            <p:cNvSpPr/>
            <p:nvPr/>
          </p:nvSpPr>
          <p:spPr>
            <a:xfrm>
              <a:off x="1715743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2" name="Straight Connector 521"/>
            <p:cNvSpPr/>
            <p:nvPr/>
          </p:nvSpPr>
          <p:spPr>
            <a:xfrm>
              <a:off x="1715743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3" name="Straight Connector 522"/>
            <p:cNvSpPr/>
            <p:nvPr/>
          </p:nvSpPr>
          <p:spPr>
            <a:xfrm>
              <a:off x="1715743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4" name="Straight Connector 523"/>
            <p:cNvSpPr/>
            <p:nvPr/>
          </p:nvSpPr>
          <p:spPr>
            <a:xfrm>
              <a:off x="1715743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5" name="Straight Connector 524"/>
            <p:cNvSpPr/>
            <p:nvPr/>
          </p:nvSpPr>
          <p:spPr>
            <a:xfrm>
              <a:off x="1715743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6" name="Straight Connector 525"/>
            <p:cNvSpPr/>
            <p:nvPr/>
          </p:nvSpPr>
          <p:spPr>
            <a:xfrm>
              <a:off x="1715743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7" name="Straight Connector 526"/>
            <p:cNvSpPr/>
            <p:nvPr/>
          </p:nvSpPr>
          <p:spPr>
            <a:xfrm>
              <a:off x="1715743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8" name="Freeform: Shape 525"/>
            <p:cNvSpPr/>
            <p:nvPr/>
          </p:nvSpPr>
          <p:spPr>
            <a:xfrm>
              <a:off x="345080" y="2270618"/>
              <a:ext cx="67960" cy="161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9" h="423">
                  <a:moveTo>
                    <a:pt x="179" y="0"/>
                  </a:moveTo>
                  <a:lnTo>
                    <a:pt x="179" y="423"/>
                  </a:lnTo>
                  <a:lnTo>
                    <a:pt x="0" y="2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9" name="Straight Connector 528"/>
            <p:cNvSpPr/>
            <p:nvPr/>
          </p:nvSpPr>
          <p:spPr>
            <a:xfrm>
              <a:off x="345843" y="2436702"/>
              <a:ext cx="3856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0" name="Freeform: Shape 527"/>
            <p:cNvSpPr/>
            <p:nvPr/>
          </p:nvSpPr>
          <p:spPr>
            <a:xfrm>
              <a:off x="4941957" y="2269090"/>
              <a:ext cx="57652" cy="13630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2" h="358">
                  <a:moveTo>
                    <a:pt x="152" y="0"/>
                  </a:moveTo>
                  <a:lnTo>
                    <a:pt x="152" y="358"/>
                  </a:lnTo>
                  <a:lnTo>
                    <a:pt x="0" y="2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1" name="Straight Connector 530"/>
            <p:cNvSpPr/>
            <p:nvPr/>
          </p:nvSpPr>
          <p:spPr>
            <a:xfrm>
              <a:off x="4942721" y="2409594"/>
              <a:ext cx="3245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2" name="Freeform: Shape 529"/>
            <p:cNvSpPr/>
            <p:nvPr/>
          </p:nvSpPr>
          <p:spPr>
            <a:xfrm>
              <a:off x="549343" y="2275964"/>
              <a:ext cx="95068" cy="22373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50" h="587">
                  <a:moveTo>
                    <a:pt x="250" y="0"/>
                  </a:moveTo>
                  <a:lnTo>
                    <a:pt x="250" y="587"/>
                  </a:lnTo>
                  <a:lnTo>
                    <a:pt x="0" y="3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3" name="Straight Connector 532"/>
            <p:cNvSpPr/>
            <p:nvPr/>
          </p:nvSpPr>
          <p:spPr>
            <a:xfrm>
              <a:off x="551252" y="2506571"/>
              <a:ext cx="5345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4" name="Freeform: Shape 531"/>
            <p:cNvSpPr/>
            <p:nvPr/>
          </p:nvSpPr>
          <p:spPr>
            <a:xfrm>
              <a:off x="4536486" y="2218312"/>
              <a:ext cx="116831" cy="27604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724">
                  <a:moveTo>
                    <a:pt x="307" y="0"/>
                  </a:moveTo>
                  <a:lnTo>
                    <a:pt x="307" y="724"/>
                  </a:lnTo>
                  <a:lnTo>
                    <a:pt x="0" y="48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5" name="Straight Connector 534"/>
            <p:cNvSpPr/>
            <p:nvPr/>
          </p:nvSpPr>
          <p:spPr>
            <a:xfrm>
              <a:off x="4538394" y="2502753"/>
              <a:ext cx="6567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6" name="Straight Connector 535"/>
            <p:cNvSpPr/>
            <p:nvPr/>
          </p:nvSpPr>
          <p:spPr>
            <a:xfrm>
              <a:off x="-1" y="2014812"/>
              <a:ext cx="100521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7" name="Straight Connector 536"/>
            <p:cNvSpPr/>
            <p:nvPr/>
          </p:nvSpPr>
          <p:spPr>
            <a:xfrm>
              <a:off x="53002" y="1773896"/>
              <a:ext cx="0" cy="33178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8" name="Straight Connector 537"/>
            <p:cNvSpPr/>
            <p:nvPr/>
          </p:nvSpPr>
          <p:spPr>
            <a:xfrm>
              <a:off x="912817" y="1773896"/>
              <a:ext cx="0" cy="33178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9" name="Freeform: Shape 536"/>
            <p:cNvSpPr/>
            <p:nvPr/>
          </p:nvSpPr>
          <p:spPr>
            <a:xfrm>
              <a:off x="54911" y="1800622"/>
              <a:ext cx="857524" cy="16226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47" h="426">
                  <a:moveTo>
                    <a:pt x="2247" y="0"/>
                  </a:moveTo>
                  <a:cubicBezTo>
                    <a:pt x="1971" y="261"/>
                    <a:pt x="1567" y="426"/>
                    <a:pt x="1117" y="426"/>
                  </a:cubicBezTo>
                  <a:cubicBezTo>
                    <a:pt x="674" y="426"/>
                    <a:pt x="276" y="266"/>
                    <a:pt x="0" y="1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0" name="Straight Connector 539"/>
            <p:cNvSpPr/>
            <p:nvPr/>
          </p:nvSpPr>
          <p:spPr>
            <a:xfrm>
              <a:off x="122490" y="1857892"/>
              <a:ext cx="0" cy="15424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1" name="Straight Connector 540"/>
            <p:cNvSpPr/>
            <p:nvPr/>
          </p:nvSpPr>
          <p:spPr>
            <a:xfrm>
              <a:off x="172888" y="1888054"/>
              <a:ext cx="0" cy="12675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2" name="Straight Connector 541"/>
            <p:cNvSpPr/>
            <p:nvPr/>
          </p:nvSpPr>
          <p:spPr>
            <a:xfrm>
              <a:off x="225576" y="1914780"/>
              <a:ext cx="0" cy="10003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3" name="Straight Connector 542"/>
            <p:cNvSpPr/>
            <p:nvPr/>
          </p:nvSpPr>
          <p:spPr>
            <a:xfrm>
              <a:off x="276738" y="1933489"/>
              <a:ext cx="0" cy="8132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4" name="Straight Connector 543"/>
            <p:cNvSpPr/>
            <p:nvPr/>
          </p:nvSpPr>
          <p:spPr>
            <a:xfrm>
              <a:off x="327899" y="1945706"/>
              <a:ext cx="0" cy="6910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5" name="Straight Connector 544"/>
            <p:cNvSpPr/>
            <p:nvPr/>
          </p:nvSpPr>
          <p:spPr>
            <a:xfrm>
              <a:off x="379060" y="1956778"/>
              <a:ext cx="0" cy="5803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6" name="Straight Connector 545"/>
            <p:cNvSpPr/>
            <p:nvPr/>
          </p:nvSpPr>
          <p:spPr>
            <a:xfrm>
              <a:off x="430603" y="1961360"/>
              <a:ext cx="0" cy="5345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7" name="Straight Connector 546"/>
            <p:cNvSpPr/>
            <p:nvPr/>
          </p:nvSpPr>
          <p:spPr>
            <a:xfrm>
              <a:off x="840657" y="1857892"/>
              <a:ext cx="0" cy="15424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8" name="Straight Connector 547"/>
            <p:cNvSpPr/>
            <p:nvPr/>
          </p:nvSpPr>
          <p:spPr>
            <a:xfrm>
              <a:off x="789877" y="1888054"/>
              <a:ext cx="0" cy="12675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9" name="Straight Connector 548"/>
            <p:cNvSpPr/>
            <p:nvPr/>
          </p:nvSpPr>
          <p:spPr>
            <a:xfrm>
              <a:off x="737571" y="1914780"/>
              <a:ext cx="0" cy="10003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0" name="Straight Connector 549"/>
            <p:cNvSpPr/>
            <p:nvPr/>
          </p:nvSpPr>
          <p:spPr>
            <a:xfrm>
              <a:off x="686409" y="1933489"/>
              <a:ext cx="0" cy="8132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1" name="Straight Connector 550"/>
            <p:cNvSpPr/>
            <p:nvPr/>
          </p:nvSpPr>
          <p:spPr>
            <a:xfrm>
              <a:off x="635248" y="1945706"/>
              <a:ext cx="0" cy="6910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2" name="Straight Connector 551"/>
            <p:cNvSpPr/>
            <p:nvPr/>
          </p:nvSpPr>
          <p:spPr>
            <a:xfrm>
              <a:off x="584087" y="1956778"/>
              <a:ext cx="0" cy="5803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3" name="Straight Connector 552"/>
            <p:cNvSpPr/>
            <p:nvPr/>
          </p:nvSpPr>
          <p:spPr>
            <a:xfrm>
              <a:off x="532544" y="1961360"/>
              <a:ext cx="0" cy="5345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4" name="Straight Connector 553"/>
            <p:cNvSpPr/>
            <p:nvPr/>
          </p:nvSpPr>
          <p:spPr>
            <a:xfrm>
              <a:off x="481765" y="1963269"/>
              <a:ext cx="0" cy="4887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5" name="Straight Connector 554"/>
            <p:cNvSpPr/>
            <p:nvPr/>
          </p:nvSpPr>
          <p:spPr>
            <a:xfrm>
              <a:off x="839131" y="2014812"/>
              <a:ext cx="17219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6" name="Freeform: Shape 562"/>
            <p:cNvSpPr/>
            <p:nvPr/>
          </p:nvSpPr>
          <p:spPr>
            <a:xfrm>
              <a:off x="915108" y="1804822"/>
              <a:ext cx="174101" cy="10957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57" h="288">
                  <a:moveTo>
                    <a:pt x="457" y="288"/>
                  </a:moveTo>
                  <a:cubicBezTo>
                    <a:pt x="284" y="217"/>
                    <a:pt x="129" y="119"/>
                    <a:pt x="0" y="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7" name="Straight Connector 556"/>
            <p:cNvSpPr/>
            <p:nvPr/>
          </p:nvSpPr>
          <p:spPr>
            <a:xfrm>
              <a:off x="981923" y="1857892"/>
              <a:ext cx="0" cy="15424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8" name="Straight Connector 557"/>
            <p:cNvSpPr/>
            <p:nvPr/>
          </p:nvSpPr>
          <p:spPr>
            <a:xfrm>
              <a:off x="1033084" y="1888054"/>
              <a:ext cx="0" cy="9926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9" name="Straight Connector 558"/>
            <p:cNvSpPr/>
            <p:nvPr/>
          </p:nvSpPr>
          <p:spPr>
            <a:xfrm>
              <a:off x="1085391" y="1914780"/>
              <a:ext cx="0" cy="572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0" name="Freeform: Shape 566"/>
            <p:cNvSpPr/>
            <p:nvPr/>
          </p:nvSpPr>
          <p:spPr>
            <a:xfrm>
              <a:off x="8772561" y="1252357"/>
              <a:ext cx="296277" cy="74451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77" h="1951" fill="none">
                  <a:moveTo>
                    <a:pt x="0" y="1949"/>
                  </a:moveTo>
                  <a:lnTo>
                    <a:pt x="399" y="0"/>
                  </a:lnTo>
                  <a:lnTo>
                    <a:pt x="777" y="195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1" name="Freeform: Shape 567"/>
            <p:cNvSpPr/>
            <p:nvPr/>
          </p:nvSpPr>
          <p:spPr>
            <a:xfrm>
              <a:off x="8843956" y="1400877"/>
              <a:ext cx="159593" cy="20846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9" h="547" fill="none">
                  <a:moveTo>
                    <a:pt x="20" y="547"/>
                  </a:moveTo>
                  <a:lnTo>
                    <a:pt x="0" y="0"/>
                  </a:lnTo>
                  <a:lnTo>
                    <a:pt x="419" y="0"/>
                  </a:lnTo>
                  <a:lnTo>
                    <a:pt x="390" y="5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2" name="Straight Connector 561"/>
            <p:cNvSpPr/>
            <p:nvPr/>
          </p:nvSpPr>
          <p:spPr>
            <a:xfrm>
              <a:off x="8911153" y="1435621"/>
              <a:ext cx="232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3" name="Straight Connector 562"/>
            <p:cNvSpPr/>
            <p:nvPr/>
          </p:nvSpPr>
          <p:spPr>
            <a:xfrm>
              <a:off x="8904664" y="1469219"/>
              <a:ext cx="3588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4" name="Straight Connector 563"/>
            <p:cNvSpPr/>
            <p:nvPr/>
          </p:nvSpPr>
          <p:spPr>
            <a:xfrm>
              <a:off x="8898937" y="1502817"/>
              <a:ext cx="4734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5" name="Straight Connector 564"/>
            <p:cNvSpPr/>
            <p:nvPr/>
          </p:nvSpPr>
          <p:spPr>
            <a:xfrm>
              <a:off x="8892828" y="1536033"/>
              <a:ext cx="591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6" name="Straight Connector 565"/>
            <p:cNvSpPr/>
            <p:nvPr/>
          </p:nvSpPr>
          <p:spPr>
            <a:xfrm>
              <a:off x="8886719" y="1569633"/>
              <a:ext cx="7139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7" name="Straight Connector 566"/>
            <p:cNvSpPr/>
            <p:nvPr/>
          </p:nvSpPr>
          <p:spPr>
            <a:xfrm>
              <a:off x="8880610" y="1603231"/>
              <a:ext cx="8323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8" name="Straight Connector 567"/>
            <p:cNvSpPr/>
            <p:nvPr/>
          </p:nvSpPr>
          <p:spPr>
            <a:xfrm>
              <a:off x="8874500" y="1636830"/>
              <a:ext cx="9545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9" name="Straight Connector 568"/>
            <p:cNvSpPr/>
            <p:nvPr/>
          </p:nvSpPr>
          <p:spPr>
            <a:xfrm>
              <a:off x="8868775" y="1670428"/>
              <a:ext cx="10728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0" name="Straight Connector 569"/>
            <p:cNvSpPr/>
            <p:nvPr/>
          </p:nvSpPr>
          <p:spPr>
            <a:xfrm>
              <a:off x="8862666" y="1704027"/>
              <a:ext cx="11912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1" name="Straight Connector 570"/>
            <p:cNvSpPr/>
            <p:nvPr/>
          </p:nvSpPr>
          <p:spPr>
            <a:xfrm>
              <a:off x="8856557" y="1737625"/>
              <a:ext cx="13095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2" name="Straight Connector 571"/>
            <p:cNvSpPr/>
            <p:nvPr/>
          </p:nvSpPr>
          <p:spPr>
            <a:xfrm>
              <a:off x="8850448" y="1770842"/>
              <a:ext cx="14317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3" name="Straight Connector 572"/>
            <p:cNvSpPr/>
            <p:nvPr/>
          </p:nvSpPr>
          <p:spPr>
            <a:xfrm>
              <a:off x="8844339" y="1804058"/>
              <a:ext cx="15501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4" name="Straight Connector 573"/>
            <p:cNvSpPr/>
            <p:nvPr/>
          </p:nvSpPr>
          <p:spPr>
            <a:xfrm>
              <a:off x="8838230" y="1837657"/>
              <a:ext cx="1672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5" name="Straight Connector 574"/>
            <p:cNvSpPr/>
            <p:nvPr/>
          </p:nvSpPr>
          <p:spPr>
            <a:xfrm>
              <a:off x="8832502" y="1871255"/>
              <a:ext cx="17868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6" name="Straight Connector 575"/>
            <p:cNvSpPr/>
            <p:nvPr/>
          </p:nvSpPr>
          <p:spPr>
            <a:xfrm>
              <a:off x="8826012" y="1904854"/>
              <a:ext cx="19128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7" name="Straight Connector 576"/>
            <p:cNvSpPr/>
            <p:nvPr/>
          </p:nvSpPr>
          <p:spPr>
            <a:xfrm>
              <a:off x="8820286" y="1938452"/>
              <a:ext cx="20311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8" name="Straight Connector 577"/>
            <p:cNvSpPr/>
            <p:nvPr/>
          </p:nvSpPr>
          <p:spPr>
            <a:xfrm>
              <a:off x="8814177" y="1972050"/>
              <a:ext cx="21495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9" name="Arc 578"/>
            <p:cNvSpPr/>
            <p:nvPr/>
          </p:nvSpPr>
          <p:spPr>
            <a:xfrm>
              <a:off x="-1444417" y="389303"/>
              <a:ext cx="1707410" cy="1707410"/>
            </a:xfrm>
            <a:prstGeom prst="arc">
              <a:avLst>
                <a:gd name="adj1" fmla="val 2456154"/>
                <a:gd name="adj2" fmla="val 2779844"/>
              </a:avLst>
            </a:prstGeom>
            <a:ln cap="rnd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457189"/>
              <a:endParaRPr lang="en-US">
                <a:solidFill>
                  <a:srgbClr val="282828"/>
                </a:solidFill>
              </a:endParaRPr>
            </a:p>
          </p:txBody>
        </p:sp>
        <p:sp>
          <p:nvSpPr>
            <p:cNvPr id="580" name="Straight Connector 579"/>
            <p:cNvSpPr/>
            <p:nvPr userDrawn="1"/>
          </p:nvSpPr>
          <p:spPr>
            <a:xfrm>
              <a:off x="8721398" y="2014813"/>
              <a:ext cx="42260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2" name="Straight Connector 581"/>
            <p:cNvSpPr/>
            <p:nvPr userDrawn="1"/>
          </p:nvSpPr>
          <p:spPr>
            <a:xfrm>
              <a:off x="9023402" y="2105024"/>
              <a:ext cx="12059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3" name="Straight Connector 582"/>
            <p:cNvSpPr/>
            <p:nvPr userDrawn="1"/>
          </p:nvSpPr>
          <p:spPr>
            <a:xfrm>
              <a:off x="9023402" y="2060575"/>
              <a:ext cx="0" cy="417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667702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64687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4489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gu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490231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60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2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596" indent="-399958" algn="l">
              <a:lnSpc>
                <a:spcPct val="90000"/>
              </a:lnSpc>
              <a:defRPr sz="4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839891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60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2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596" indent="-399958" algn="l">
              <a:lnSpc>
                <a:spcPct val="90000"/>
              </a:lnSpc>
              <a:defRPr sz="4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5924767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500064" y="3895663"/>
            <a:ext cx="8139112" cy="556563"/>
          </a:xfrm>
          <a:prstGeom prst="rect">
            <a:avLst/>
          </a:prstGeom>
          <a:noFill/>
          <a:extLst/>
        </p:spPr>
        <p:txBody>
          <a:bodyPr wrap="square" lIns="182880" tIns="91440" rIns="182880" bIns="91440" numCol="1" anchor="ctr" anchorCtr="0" compatLnSpc="1">
            <a:prstTxWarp prst="textNoShape">
              <a:avLst/>
            </a:prstTxWarp>
            <a:spAutoFit/>
          </a:bodyPr>
          <a:lstStyle>
            <a:lvl1pPr marL="0" indent="0" algn="ctr">
              <a:lnSpc>
                <a:spcPts val="2900"/>
              </a:lnSpc>
              <a:spcBef>
                <a:spcPts val="0"/>
              </a:spcBef>
              <a:buNone/>
              <a:defRPr sz="24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976720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" y="2"/>
            <a:ext cx="9301163" cy="2843212"/>
          </a:xfrm>
          <a:prstGeom prst="rect">
            <a:avLst/>
          </a:prstGeom>
          <a:solidFill>
            <a:schemeClr val="bg2"/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8786" y="3054518"/>
            <a:ext cx="8364236" cy="560153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619652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8889525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" y="0"/>
            <a:ext cx="90932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ltGray">
          <a:xfrm>
            <a:off x="477680" y="4741655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cs typeface="CiscoSans Thin"/>
              </a:rPr>
              <a:t>© 2017  Cisco and/or its affiliates. All rights reserved.   Cisco Confidentia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2"/>
            <a:ext cx="8480388" cy="4266646"/>
          </a:xfrm>
          <a:prstGeom prst="rect">
            <a:avLst/>
          </a:prstGeom>
          <a:solidFill>
            <a:schemeClr val="bg2"/>
          </a:solidFill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0427359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201738"/>
            <a:ext cx="8277344" cy="3389312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94" indent="-171446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457189" indent="-165096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85783" indent="-10953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1012" indent="-171411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082423" indent="-168236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781788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3399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1" indent="-11747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18" indent="-114297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15" indent="-114297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12" indent="-114297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09" indent="-114297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55866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1" indent="-11747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18" indent="-114297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15" indent="-114297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12" indent="-114297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09" indent="-114297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122695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508838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33400" y="1201738"/>
            <a:ext cx="8115300" cy="280477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 smtClean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4563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71920382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33400" y="1347789"/>
            <a:ext cx="8115300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8" y="4148221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60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325983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33400" y="1201739"/>
            <a:ext cx="8115300" cy="280828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8" y="4148221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60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922143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74662" y="1347789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83" marR="0" indent="-285683" algn="ctr" defTabSz="45709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28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_Pag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665183"/>
            <a:ext cx="3662024" cy="292586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174621" indent="-117472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60000"/>
              <a:buFont typeface="Arial"/>
              <a:buChar char="•"/>
              <a:defRPr sz="20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288918" indent="-114297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60000"/>
              <a:buFont typeface="Arial"/>
              <a:buChar char="•"/>
              <a:defRPr sz="18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403215" indent="-114297">
              <a:buClr>
                <a:schemeClr val="tx2"/>
              </a:buClr>
              <a:buSzPct val="60000"/>
              <a:buFont typeface="Arial"/>
              <a:buChar char="•"/>
              <a:defRPr sz="16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517512" indent="-114297">
              <a:buClr>
                <a:schemeClr val="tx2"/>
              </a:buClr>
              <a:buSzPct val="60000"/>
              <a:buFont typeface="Arial"/>
              <a:buChar char="•"/>
              <a:defRPr sz="14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631809" indent="-114297">
              <a:buClr>
                <a:schemeClr val="tx2"/>
              </a:buClr>
              <a:buSzPct val="60000"/>
              <a:buFont typeface="Arial"/>
              <a:buChar char="•"/>
              <a:defRPr sz="12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341314"/>
            <a:ext cx="3686559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5"/>
            <a:ext cx="35683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293256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">
          <p15:clr>
            <a:srgbClr val="FBAE40"/>
          </p15:clr>
        </p15:guide>
        <p15:guide id="2" pos="2598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19101" y="1657350"/>
            <a:ext cx="3827463" cy="18288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4" y="531812"/>
            <a:ext cx="3551237" cy="4059237"/>
          </a:xfrm>
          <a:prstGeom prst="rect">
            <a:avLst/>
          </a:prstGeom>
        </p:spPr>
        <p:txBody>
          <a:bodyPr lIns="0" rIns="0" anchor="ctr" anchorCtr="0"/>
          <a:lstStyle>
            <a:lvl1pPr marL="169859" indent="-169859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>
                <a:tab pos="228594" algn="l"/>
              </a:tabLst>
              <a:defRPr sz="2400"/>
            </a:lvl1pPr>
            <a:lvl2pPr marL="346067" indent="-171446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400"/>
            </a:lvl2pPr>
            <a:lvl3pPr marL="457189" indent="-117472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000"/>
            </a:lvl3pPr>
            <a:lvl4pPr marL="574661" indent="-117472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/>
              <a:defRPr sz="1800"/>
            </a:lvl4pPr>
            <a:lvl5pPr marL="744520" indent="-112710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477680" y="4741655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0211186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alf_Page_Tex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510540"/>
            <a:ext cx="3808797" cy="655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4" y="510540"/>
            <a:ext cx="3551237" cy="4080510"/>
          </a:xfrm>
          <a:prstGeom prst="rect">
            <a:avLst/>
          </a:prstGeom>
        </p:spPr>
        <p:txBody>
          <a:bodyPr lIns="0" rIns="0"/>
          <a:lstStyle>
            <a:lvl1pPr marL="114297" indent="-114297">
              <a:lnSpc>
                <a:spcPct val="100000"/>
              </a:lnSpc>
              <a:buClr>
                <a:schemeClr val="tx1"/>
              </a:buClr>
              <a:buSzPct val="60000"/>
              <a:defRPr sz="2000"/>
            </a:lvl1pPr>
            <a:lvl2pPr marL="228594" indent="-114297">
              <a:lnSpc>
                <a:spcPct val="100000"/>
              </a:lnSpc>
              <a:buClr>
                <a:schemeClr val="tx1"/>
              </a:buClr>
              <a:buSzPct val="60000"/>
              <a:defRPr sz="2000"/>
            </a:lvl2pPr>
            <a:lvl3pPr marL="342892" indent="-114297">
              <a:lnSpc>
                <a:spcPct val="100000"/>
              </a:lnSpc>
              <a:buClr>
                <a:schemeClr val="tx1"/>
              </a:buClr>
              <a:buSzPct val="60000"/>
              <a:defRPr sz="1800"/>
            </a:lvl3pPr>
            <a:lvl4pPr marL="457189" indent="-123822">
              <a:lnSpc>
                <a:spcPct val="100000"/>
              </a:lnSpc>
              <a:buClr>
                <a:schemeClr val="tx1"/>
              </a:buClr>
              <a:buSzPct val="60000"/>
              <a:defRPr sz="1600"/>
            </a:lvl4pPr>
            <a:lvl5pPr marL="574661" indent="-117472">
              <a:lnSpc>
                <a:spcPct val="100000"/>
              </a:lnSpc>
              <a:buClr>
                <a:schemeClr val="tx1"/>
              </a:buClr>
              <a:buSzPct val="60000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37767" y="1659843"/>
            <a:ext cx="3808797" cy="2931208"/>
          </a:xfrm>
          <a:prstGeom prst="rect">
            <a:avLst/>
          </a:prstGeom>
        </p:spPr>
        <p:txBody>
          <a:bodyPr/>
          <a:lstStyle>
            <a:lvl1pPr marL="114297" indent="-114297">
              <a:buClr>
                <a:schemeClr val="tx2"/>
              </a:buClr>
              <a:buSzPct val="60000"/>
              <a:defRPr lang="en-US" sz="2000" kern="1200" dirty="0" smtClean="0">
                <a:solidFill>
                  <a:schemeClr val="bg1"/>
                </a:solidFill>
                <a:latin typeface="+mn-lt"/>
                <a:ea typeface="ＭＳ Ｐゴシック" charset="0"/>
                <a:cs typeface="CiscoSans"/>
              </a:defRPr>
            </a:lvl1pPr>
            <a:lvl2pPr marL="228594" indent="-114297">
              <a:buClr>
                <a:schemeClr val="tx2"/>
              </a:buClr>
              <a:buSzPct val="60000"/>
              <a:defRPr sz="2000">
                <a:solidFill>
                  <a:schemeClr val="bg1"/>
                </a:solidFill>
              </a:defRPr>
            </a:lvl2pPr>
            <a:lvl3pPr marL="342892" indent="-114297">
              <a:buClr>
                <a:schemeClr val="tx2"/>
              </a:buClr>
              <a:buSzPct val="60000"/>
              <a:defRPr sz="1800">
                <a:solidFill>
                  <a:schemeClr val="bg1"/>
                </a:solidFill>
              </a:defRPr>
            </a:lvl3pPr>
            <a:lvl4pPr marL="457189" indent="-123822">
              <a:buClr>
                <a:schemeClr val="tx2"/>
              </a:buClr>
              <a:buSzPct val="60000"/>
              <a:defRPr sz="1600">
                <a:solidFill>
                  <a:schemeClr val="bg1"/>
                </a:solidFill>
              </a:defRPr>
            </a:lvl4pPr>
            <a:lvl5pPr marL="574661" indent="-117472">
              <a:buClr>
                <a:schemeClr val="tx2"/>
              </a:buClr>
              <a:buSzPct val="60000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5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263764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675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alf_Page_Pictur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1659732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6" y="531813"/>
            <a:ext cx="3559175" cy="336484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089526" y="4062351"/>
            <a:ext cx="3559175" cy="5251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477680" y="4741655"/>
            <a:ext cx="286316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691623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5" pos="3206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alf_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1659732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6" y="531814"/>
            <a:ext cx="3559175" cy="405923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5"/>
            <a:ext cx="32635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5407042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5" pos="3206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Half_Page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1659732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5"/>
            <a:ext cx="2946839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83389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orient="horz" pos="2193">
          <p15:clr>
            <a:srgbClr val="FBAE40"/>
          </p15:clr>
        </p15:guide>
        <p15:guide id="3" pos="2675">
          <p15:clr>
            <a:srgbClr val="FBAE40"/>
          </p15:clr>
        </p15:guide>
        <p15:guide id="4" pos="3206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33400" y="1201738"/>
            <a:ext cx="8115300" cy="280828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9945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alf_Page_Picture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1659732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4580093" y="0"/>
            <a:ext cx="4563907" cy="5143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5"/>
            <a:ext cx="32994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89083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orient="horz" pos="2193">
          <p15:clr>
            <a:srgbClr val="FBAE40"/>
          </p15:clr>
        </p15:guide>
        <p15:guide id="3" pos="2675">
          <p15:clr>
            <a:srgbClr val="FBAE40"/>
          </p15:clr>
        </p15:guide>
        <p15:guide id="4" pos="3206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Half_Pag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1659732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5089526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5"/>
            <a:ext cx="3179921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284903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96">
          <p15:clr>
            <a:srgbClr val="FBAE40"/>
          </p15:clr>
        </p15:guide>
        <p15:guide id="2" pos="2675">
          <p15:clr>
            <a:srgbClr val="FBAE40"/>
          </p15:clr>
        </p15:guide>
        <p15:guide id="3" pos="3206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Half_Pag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1659732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5089526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5"/>
            <a:ext cx="3407027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8216401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orient="horz" pos="2196">
          <p15:clr>
            <a:srgbClr val="FBAE40"/>
          </p15:clr>
        </p15:guide>
        <p15:guide id="3" pos="2675">
          <p15:clr>
            <a:srgbClr val="FBAE40"/>
          </p15:clr>
        </p15:guide>
        <p15:guide id="4" pos="3206">
          <p15:clr>
            <a:srgbClr val="FBAE40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6"/>
          <p:cNvSpPr>
            <a:spLocks noChangeAspect="1" noEditPoints="1"/>
          </p:cNvSpPr>
          <p:nvPr userDrawn="1"/>
        </p:nvSpPr>
        <p:spPr bwMode="auto">
          <a:xfrm>
            <a:off x="3762995" y="2129077"/>
            <a:ext cx="1618012" cy="859571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en-US">
              <a:solidFill>
                <a:srgbClr val="005073"/>
              </a:solidFill>
              <a:cs typeface=""/>
            </a:endParaRPr>
          </a:p>
        </p:txBody>
      </p:sp>
      <p:grpSp>
        <p:nvGrpSpPr>
          <p:cNvPr id="6" name="Group 5"/>
          <p:cNvGrpSpPr>
            <a:grpSpLocks noChangeAspect="1"/>
          </p:cNvGrpSpPr>
          <p:nvPr userDrawn="1"/>
        </p:nvGrpSpPr>
        <p:grpSpPr>
          <a:xfrm>
            <a:off x="151952" y="3800884"/>
            <a:ext cx="8840097" cy="1216152"/>
            <a:chOff x="-5539320" y="3765960"/>
            <a:chExt cx="9964800" cy="1370880"/>
          </a:xfrm>
        </p:grpSpPr>
        <p:sp>
          <p:nvSpPr>
            <p:cNvPr id="7" name="Freeform: Shape 2"/>
            <p:cNvSpPr/>
            <p:nvPr/>
          </p:nvSpPr>
          <p:spPr>
            <a:xfrm>
              <a:off x="-777239" y="4393080"/>
              <a:ext cx="321840" cy="321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95" h="895">
                  <a:moveTo>
                    <a:pt x="895" y="448"/>
                  </a:moveTo>
                  <a:cubicBezTo>
                    <a:pt x="895" y="530"/>
                    <a:pt x="876" y="600"/>
                    <a:pt x="835" y="672"/>
                  </a:cubicBezTo>
                  <a:cubicBezTo>
                    <a:pt x="794" y="743"/>
                    <a:pt x="742" y="793"/>
                    <a:pt x="671" y="835"/>
                  </a:cubicBezTo>
                  <a:cubicBezTo>
                    <a:pt x="599" y="876"/>
                    <a:pt x="529" y="895"/>
                    <a:pt x="447" y="895"/>
                  </a:cubicBezTo>
                  <a:cubicBezTo>
                    <a:pt x="364" y="895"/>
                    <a:pt x="294" y="876"/>
                    <a:pt x="223" y="835"/>
                  </a:cubicBezTo>
                  <a:cubicBezTo>
                    <a:pt x="151" y="793"/>
                    <a:pt x="101" y="743"/>
                    <a:pt x="60" y="672"/>
                  </a:cubicBezTo>
                  <a:cubicBezTo>
                    <a:pt x="18" y="600"/>
                    <a:pt x="0" y="530"/>
                    <a:pt x="0" y="448"/>
                  </a:cubicBezTo>
                  <a:cubicBezTo>
                    <a:pt x="0" y="365"/>
                    <a:pt x="18" y="295"/>
                    <a:pt x="60" y="224"/>
                  </a:cubicBezTo>
                  <a:cubicBezTo>
                    <a:pt x="101" y="153"/>
                    <a:pt x="151" y="101"/>
                    <a:pt x="223" y="60"/>
                  </a:cubicBezTo>
                  <a:cubicBezTo>
                    <a:pt x="294" y="19"/>
                    <a:pt x="365" y="0"/>
                    <a:pt x="447" y="0"/>
                  </a:cubicBezTo>
                  <a:cubicBezTo>
                    <a:pt x="530" y="0"/>
                    <a:pt x="599" y="19"/>
                    <a:pt x="671" y="60"/>
                  </a:cubicBezTo>
                  <a:cubicBezTo>
                    <a:pt x="742" y="101"/>
                    <a:pt x="794" y="153"/>
                    <a:pt x="835" y="224"/>
                  </a:cubicBezTo>
                  <a:cubicBezTo>
                    <a:pt x="876" y="295"/>
                    <a:pt x="895" y="365"/>
                    <a:pt x="895" y="44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" name="Straight Connector 7"/>
            <p:cNvSpPr/>
            <p:nvPr/>
          </p:nvSpPr>
          <p:spPr>
            <a:xfrm>
              <a:off x="-616320" y="4386240"/>
              <a:ext cx="0" cy="212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" name="Straight Connector 8"/>
            <p:cNvSpPr/>
            <p:nvPr/>
          </p:nvSpPr>
          <p:spPr>
            <a:xfrm>
              <a:off x="-616320" y="4707360"/>
              <a:ext cx="0" cy="2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Straight Connector 9"/>
            <p:cNvSpPr/>
            <p:nvPr/>
          </p:nvSpPr>
          <p:spPr>
            <a:xfrm flipH="1">
              <a:off x="-559080" y="4399200"/>
              <a:ext cx="792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Straight Connector 10"/>
            <p:cNvSpPr/>
            <p:nvPr/>
          </p:nvSpPr>
          <p:spPr>
            <a:xfrm flipH="1">
              <a:off x="-681120" y="4696200"/>
              <a:ext cx="792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Straight Connector 11"/>
            <p:cNvSpPr/>
            <p:nvPr/>
          </p:nvSpPr>
          <p:spPr>
            <a:xfrm flipH="1">
              <a:off x="-509399" y="4437360"/>
              <a:ext cx="14759" cy="14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Straight Connector 12"/>
            <p:cNvSpPr/>
            <p:nvPr/>
          </p:nvSpPr>
          <p:spPr>
            <a:xfrm flipH="1">
              <a:off x="-737999" y="4663080"/>
              <a:ext cx="15119" cy="14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Straight Connector 13"/>
            <p:cNvSpPr/>
            <p:nvPr/>
          </p:nvSpPr>
          <p:spPr>
            <a:xfrm flipH="1">
              <a:off x="-477360" y="4492800"/>
              <a:ext cx="19440" cy="7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Straight Connector 14"/>
            <p:cNvSpPr/>
            <p:nvPr/>
          </p:nvSpPr>
          <p:spPr>
            <a:xfrm flipH="1">
              <a:off x="-775080" y="4613760"/>
              <a:ext cx="19800" cy="7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" name="Straight Connector 15"/>
            <p:cNvSpPr/>
            <p:nvPr/>
          </p:nvSpPr>
          <p:spPr>
            <a:xfrm flipH="1">
              <a:off x="-466560" y="4556880"/>
              <a:ext cx="212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" name="Straight Connector 16"/>
            <p:cNvSpPr/>
            <p:nvPr/>
          </p:nvSpPr>
          <p:spPr>
            <a:xfrm flipH="1">
              <a:off x="-787320" y="4557600"/>
              <a:ext cx="2088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" name="Straight Connector 17"/>
            <p:cNvSpPr/>
            <p:nvPr/>
          </p:nvSpPr>
          <p:spPr>
            <a:xfrm flipH="1" flipV="1">
              <a:off x="-477360" y="4613760"/>
              <a:ext cx="19801" cy="75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" name="Straight Connector 18"/>
            <p:cNvSpPr/>
            <p:nvPr/>
          </p:nvSpPr>
          <p:spPr>
            <a:xfrm flipH="1" flipV="1">
              <a:off x="-775080" y="4493160"/>
              <a:ext cx="19800" cy="7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" name="Straight Connector 19"/>
            <p:cNvSpPr/>
            <p:nvPr/>
          </p:nvSpPr>
          <p:spPr>
            <a:xfrm>
              <a:off x="-736559" y="4435920"/>
              <a:ext cx="14759" cy="14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Straight Connector 20"/>
            <p:cNvSpPr/>
            <p:nvPr/>
          </p:nvSpPr>
          <p:spPr>
            <a:xfrm>
              <a:off x="-510839" y="4664160"/>
              <a:ext cx="14759" cy="14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Straight Connector 21"/>
            <p:cNvSpPr/>
            <p:nvPr/>
          </p:nvSpPr>
          <p:spPr>
            <a:xfrm>
              <a:off x="-685079" y="4400639"/>
              <a:ext cx="8639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Straight Connector 22"/>
            <p:cNvSpPr/>
            <p:nvPr/>
          </p:nvSpPr>
          <p:spPr>
            <a:xfrm>
              <a:off x="-555840" y="4694759"/>
              <a:ext cx="828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Freeform: Shape 19"/>
            <p:cNvSpPr/>
            <p:nvPr/>
          </p:nvSpPr>
          <p:spPr>
            <a:xfrm>
              <a:off x="-667080" y="4551120"/>
              <a:ext cx="100800" cy="299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81" h="834" fill="none">
                  <a:moveTo>
                    <a:pt x="0" y="834"/>
                  </a:moveTo>
                  <a:lnTo>
                    <a:pt x="159" y="0"/>
                  </a:lnTo>
                  <a:lnTo>
                    <a:pt x="281" y="65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Straight Connector 24"/>
            <p:cNvSpPr/>
            <p:nvPr/>
          </p:nvSpPr>
          <p:spPr>
            <a:xfrm>
              <a:off x="-765000" y="4831200"/>
              <a:ext cx="0" cy="10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Freeform: Shape 21"/>
            <p:cNvSpPr/>
            <p:nvPr/>
          </p:nvSpPr>
          <p:spPr>
            <a:xfrm>
              <a:off x="-375480" y="4592880"/>
              <a:ext cx="149400" cy="335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Freeform: Shape 22"/>
            <p:cNvSpPr/>
            <p:nvPr/>
          </p:nvSpPr>
          <p:spPr>
            <a:xfrm>
              <a:off x="-344160" y="4791600"/>
              <a:ext cx="87120" cy="143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60" y="0"/>
                  </a:lnTo>
                  <a:cubicBezTo>
                    <a:pt x="206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Straight Connector 27"/>
            <p:cNvSpPr/>
            <p:nvPr/>
          </p:nvSpPr>
          <p:spPr>
            <a:xfrm>
              <a:off x="-353880" y="4683240"/>
              <a:ext cx="106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Freeform: Shape 24"/>
            <p:cNvSpPr/>
            <p:nvPr/>
          </p:nvSpPr>
          <p:spPr>
            <a:xfrm>
              <a:off x="-737280" y="4592880"/>
              <a:ext cx="355320" cy="309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8" h="860">
                  <a:moveTo>
                    <a:pt x="988" y="0"/>
                  </a:moveTo>
                  <a:cubicBezTo>
                    <a:pt x="909" y="478"/>
                    <a:pt x="499" y="846"/>
                    <a:pt x="0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Straight Connector 29"/>
            <p:cNvSpPr/>
            <p:nvPr/>
          </p:nvSpPr>
          <p:spPr>
            <a:xfrm>
              <a:off x="-563400" y="4858560"/>
              <a:ext cx="170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Freeform: Shape 26"/>
            <p:cNvSpPr/>
            <p:nvPr/>
          </p:nvSpPr>
          <p:spPr>
            <a:xfrm>
              <a:off x="314280" y="4592880"/>
              <a:ext cx="354960" cy="309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7" h="860">
                  <a:moveTo>
                    <a:pt x="0" y="0"/>
                  </a:moveTo>
                  <a:cubicBezTo>
                    <a:pt x="79" y="478"/>
                    <a:pt x="489" y="846"/>
                    <a:pt x="987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Straight Connector 31"/>
            <p:cNvSpPr/>
            <p:nvPr/>
          </p:nvSpPr>
          <p:spPr>
            <a:xfrm flipH="1">
              <a:off x="325080" y="4858560"/>
              <a:ext cx="171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Straight Connector 32"/>
            <p:cNvSpPr/>
            <p:nvPr/>
          </p:nvSpPr>
          <p:spPr>
            <a:xfrm>
              <a:off x="-723959" y="4946040"/>
              <a:ext cx="201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Straight Connector 33"/>
            <p:cNvSpPr/>
            <p:nvPr/>
          </p:nvSpPr>
          <p:spPr>
            <a:xfrm>
              <a:off x="-225720" y="460260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Straight Connector 34"/>
            <p:cNvSpPr/>
            <p:nvPr/>
          </p:nvSpPr>
          <p:spPr>
            <a:xfrm>
              <a:off x="-225720" y="462780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Straight Connector 35"/>
            <p:cNvSpPr/>
            <p:nvPr/>
          </p:nvSpPr>
          <p:spPr>
            <a:xfrm>
              <a:off x="-225720" y="467568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Straight Connector 36"/>
            <p:cNvSpPr/>
            <p:nvPr/>
          </p:nvSpPr>
          <p:spPr>
            <a:xfrm>
              <a:off x="-225720" y="484632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Straight Connector 37"/>
            <p:cNvSpPr/>
            <p:nvPr/>
          </p:nvSpPr>
          <p:spPr>
            <a:xfrm>
              <a:off x="-225720" y="489528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Freeform: Shape 34"/>
            <p:cNvSpPr/>
            <p:nvPr/>
          </p:nvSpPr>
          <p:spPr>
            <a:xfrm>
              <a:off x="-378720" y="4497840"/>
              <a:ext cx="3672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2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Freeform: Shape 35"/>
            <p:cNvSpPr/>
            <p:nvPr/>
          </p:nvSpPr>
          <p:spPr>
            <a:xfrm>
              <a:off x="-257760" y="4497840"/>
              <a:ext cx="3636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0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Freeform: Shape 36"/>
            <p:cNvSpPr/>
            <p:nvPr/>
          </p:nvSpPr>
          <p:spPr>
            <a:xfrm>
              <a:off x="-354600" y="4426560"/>
              <a:ext cx="107640" cy="13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49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Freeform: Shape 37"/>
            <p:cNvSpPr/>
            <p:nvPr/>
          </p:nvSpPr>
          <p:spPr>
            <a:xfrm>
              <a:off x="-314640" y="4617720"/>
              <a:ext cx="27720" cy="33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Freeform: Shape 38"/>
            <p:cNvSpPr/>
            <p:nvPr/>
          </p:nvSpPr>
          <p:spPr>
            <a:xfrm>
              <a:off x="158040" y="4592880"/>
              <a:ext cx="149400" cy="335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Freeform: Shape 39"/>
            <p:cNvSpPr/>
            <p:nvPr/>
          </p:nvSpPr>
          <p:spPr>
            <a:xfrm>
              <a:off x="189360" y="4791600"/>
              <a:ext cx="87120" cy="143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59" y="0"/>
                  </a:lnTo>
                  <a:cubicBezTo>
                    <a:pt x="205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Straight Connector 44"/>
            <p:cNvSpPr/>
            <p:nvPr/>
          </p:nvSpPr>
          <p:spPr>
            <a:xfrm>
              <a:off x="179280" y="4683240"/>
              <a:ext cx="1072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Freeform: Shape 41"/>
            <p:cNvSpPr/>
            <p:nvPr/>
          </p:nvSpPr>
          <p:spPr>
            <a:xfrm>
              <a:off x="154800" y="4497840"/>
              <a:ext cx="3636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2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Freeform: Shape 42"/>
            <p:cNvSpPr/>
            <p:nvPr/>
          </p:nvSpPr>
          <p:spPr>
            <a:xfrm>
              <a:off x="275400" y="4497840"/>
              <a:ext cx="3672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1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Freeform: Shape 43"/>
            <p:cNvSpPr/>
            <p:nvPr/>
          </p:nvSpPr>
          <p:spPr>
            <a:xfrm>
              <a:off x="178560" y="4426560"/>
              <a:ext cx="107640" cy="13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51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Freeform: Shape 44"/>
            <p:cNvSpPr/>
            <p:nvPr/>
          </p:nvSpPr>
          <p:spPr>
            <a:xfrm>
              <a:off x="1934639" y="4760280"/>
              <a:ext cx="256680" cy="38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14" h="107">
                  <a:moveTo>
                    <a:pt x="357" y="0"/>
                  </a:moveTo>
                  <a:lnTo>
                    <a:pt x="0" y="107"/>
                  </a:lnTo>
                  <a:lnTo>
                    <a:pt x="714" y="10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Freeform: Shape 45"/>
            <p:cNvSpPr/>
            <p:nvPr/>
          </p:nvSpPr>
          <p:spPr>
            <a:xfrm>
              <a:off x="218880" y="4617720"/>
              <a:ext cx="27720" cy="33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Straight Connector 50"/>
            <p:cNvSpPr/>
            <p:nvPr/>
          </p:nvSpPr>
          <p:spPr>
            <a:xfrm>
              <a:off x="-419760" y="4946040"/>
              <a:ext cx="7484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" name="Straight Connector 51"/>
            <p:cNvSpPr/>
            <p:nvPr/>
          </p:nvSpPr>
          <p:spPr>
            <a:xfrm>
              <a:off x="-309960" y="4977720"/>
              <a:ext cx="0" cy="51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" name="Straight Connector 52"/>
            <p:cNvSpPr/>
            <p:nvPr/>
          </p:nvSpPr>
          <p:spPr>
            <a:xfrm>
              <a:off x="-252000" y="4975200"/>
              <a:ext cx="4294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" name="Straight Connector 53"/>
            <p:cNvSpPr/>
            <p:nvPr/>
          </p:nvSpPr>
          <p:spPr>
            <a:xfrm>
              <a:off x="-122400" y="5016960"/>
              <a:ext cx="156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" name="Straight Connector 54"/>
            <p:cNvSpPr/>
            <p:nvPr/>
          </p:nvSpPr>
          <p:spPr>
            <a:xfrm>
              <a:off x="-78480" y="5043600"/>
              <a:ext cx="75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" name="Straight Connector 55"/>
            <p:cNvSpPr/>
            <p:nvPr/>
          </p:nvSpPr>
          <p:spPr>
            <a:xfrm>
              <a:off x="1734119" y="5067000"/>
              <a:ext cx="1569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" name="Straight Connector 56"/>
            <p:cNvSpPr/>
            <p:nvPr/>
          </p:nvSpPr>
          <p:spPr>
            <a:xfrm>
              <a:off x="1778040" y="5094000"/>
              <a:ext cx="75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" name="Straight Connector 57"/>
            <p:cNvSpPr/>
            <p:nvPr/>
          </p:nvSpPr>
          <p:spPr>
            <a:xfrm>
              <a:off x="1966680" y="5038920"/>
              <a:ext cx="3779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" name="Straight Connector 58"/>
            <p:cNvSpPr/>
            <p:nvPr/>
          </p:nvSpPr>
          <p:spPr>
            <a:xfrm>
              <a:off x="321480" y="4970160"/>
              <a:ext cx="0" cy="75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0" name="Straight Connector 59"/>
            <p:cNvSpPr/>
            <p:nvPr/>
          </p:nvSpPr>
          <p:spPr>
            <a:xfrm flipH="1">
              <a:off x="344880" y="4979880"/>
              <a:ext cx="342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1" name="Straight Connector 60"/>
            <p:cNvSpPr/>
            <p:nvPr/>
          </p:nvSpPr>
          <p:spPr>
            <a:xfrm flipV="1">
              <a:off x="344880" y="4865040"/>
              <a:ext cx="0" cy="431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2" name="Freeform: Shape 57"/>
            <p:cNvSpPr/>
            <p:nvPr/>
          </p:nvSpPr>
          <p:spPr>
            <a:xfrm>
              <a:off x="382680" y="4920480"/>
              <a:ext cx="286560" cy="39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7" h="112">
                  <a:moveTo>
                    <a:pt x="399" y="112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797" y="0"/>
                  </a:lnTo>
                  <a:lnTo>
                    <a:pt x="797" y="11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3" name="Freeform: Shape 58"/>
            <p:cNvSpPr/>
            <p:nvPr/>
          </p:nvSpPr>
          <p:spPr>
            <a:xfrm>
              <a:off x="473760" y="4308120"/>
              <a:ext cx="79200" cy="556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1" h="1548" fill="none">
                  <a:moveTo>
                    <a:pt x="0" y="1421"/>
                  </a:moveTo>
                  <a:lnTo>
                    <a:pt x="0" y="0"/>
                  </a:lnTo>
                  <a:lnTo>
                    <a:pt x="221" y="0"/>
                  </a:lnTo>
                  <a:lnTo>
                    <a:pt x="221" y="154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4" name="Freeform: Shape 59"/>
            <p:cNvSpPr/>
            <p:nvPr/>
          </p:nvSpPr>
          <p:spPr>
            <a:xfrm>
              <a:off x="523079" y="4191479"/>
              <a:ext cx="269640" cy="691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50" h="1922" fill="none">
                  <a:moveTo>
                    <a:pt x="0" y="1839"/>
                  </a:moveTo>
                  <a:lnTo>
                    <a:pt x="0" y="0"/>
                  </a:lnTo>
                  <a:lnTo>
                    <a:pt x="276" y="0"/>
                  </a:lnTo>
                  <a:lnTo>
                    <a:pt x="276" y="1922"/>
                  </a:lnTo>
                  <a:lnTo>
                    <a:pt x="750" y="1922"/>
                  </a:lnTo>
                  <a:lnTo>
                    <a:pt x="550" y="1831"/>
                  </a:lnTo>
                  <a:lnTo>
                    <a:pt x="407" y="183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5" name="Freeform: Shape 60"/>
            <p:cNvSpPr/>
            <p:nvPr/>
          </p:nvSpPr>
          <p:spPr>
            <a:xfrm>
              <a:off x="553320" y="4240440"/>
              <a:ext cx="99000" cy="624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6" h="1736" fill="none">
                  <a:moveTo>
                    <a:pt x="276" y="1736"/>
                  </a:moveTo>
                  <a:lnTo>
                    <a:pt x="276" y="0"/>
                  </a:lnTo>
                  <a:lnTo>
                    <a:pt x="0" y="0"/>
                  </a:lnTo>
                  <a:lnTo>
                    <a:pt x="0" y="19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6" name="Straight Connector 65"/>
            <p:cNvSpPr/>
            <p:nvPr/>
          </p:nvSpPr>
          <p:spPr>
            <a:xfrm>
              <a:off x="673560" y="4639680"/>
              <a:ext cx="28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7" name="Straight Connector 66"/>
            <p:cNvSpPr/>
            <p:nvPr/>
          </p:nvSpPr>
          <p:spPr>
            <a:xfrm>
              <a:off x="686160" y="4679280"/>
              <a:ext cx="0" cy="20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8" name="Freeform: Shape 63"/>
            <p:cNvSpPr/>
            <p:nvPr/>
          </p:nvSpPr>
          <p:spPr>
            <a:xfrm>
              <a:off x="721080" y="4161240"/>
              <a:ext cx="72000" cy="689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1" h="1915" fill="none">
                  <a:moveTo>
                    <a:pt x="0" y="1915"/>
                  </a:moveTo>
                  <a:lnTo>
                    <a:pt x="0" y="617"/>
                  </a:lnTo>
                  <a:lnTo>
                    <a:pt x="201" y="474"/>
                  </a:lnTo>
                  <a:lnTo>
                    <a:pt x="95" y="474"/>
                  </a:lnTo>
                  <a:lnTo>
                    <a:pt x="95" y="0"/>
                  </a:lnTo>
                  <a:lnTo>
                    <a:pt x="20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9" name="Freeform: Shape 64"/>
            <p:cNvSpPr/>
            <p:nvPr/>
          </p:nvSpPr>
          <p:spPr>
            <a:xfrm>
              <a:off x="793440" y="3839400"/>
              <a:ext cx="105840" cy="1087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5" h="3023" fill="none">
                  <a:moveTo>
                    <a:pt x="0" y="3023"/>
                  </a:moveTo>
                  <a:lnTo>
                    <a:pt x="0" y="503"/>
                  </a:lnTo>
                  <a:lnTo>
                    <a:pt x="198" y="306"/>
                  </a:lnTo>
                  <a:lnTo>
                    <a:pt x="198" y="0"/>
                  </a:lnTo>
                  <a:lnTo>
                    <a:pt x="295" y="190"/>
                  </a:lnTo>
                  <a:lnTo>
                    <a:pt x="295" y="89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0" name="Straight Connector 69"/>
            <p:cNvSpPr/>
            <p:nvPr/>
          </p:nvSpPr>
          <p:spPr>
            <a:xfrm>
              <a:off x="813960" y="4029480"/>
              <a:ext cx="0" cy="898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1" name="Freeform: Shape 66"/>
            <p:cNvSpPr/>
            <p:nvPr/>
          </p:nvSpPr>
          <p:spPr>
            <a:xfrm>
              <a:off x="793440" y="4106520"/>
              <a:ext cx="152640" cy="821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5" h="2283" fill="none">
                  <a:moveTo>
                    <a:pt x="0" y="2283"/>
                  </a:moveTo>
                  <a:lnTo>
                    <a:pt x="138" y="2283"/>
                  </a:lnTo>
                  <a:lnTo>
                    <a:pt x="138" y="356"/>
                  </a:lnTo>
                  <a:lnTo>
                    <a:pt x="425" y="70"/>
                  </a:lnTo>
                  <a:lnTo>
                    <a:pt x="295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2" name="Freeform: Shape 67"/>
            <p:cNvSpPr/>
            <p:nvPr/>
          </p:nvSpPr>
          <p:spPr>
            <a:xfrm>
              <a:off x="899639" y="4081320"/>
              <a:ext cx="106920" cy="68939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916" fill="none">
                  <a:moveTo>
                    <a:pt x="0" y="0"/>
                  </a:moveTo>
                  <a:lnTo>
                    <a:pt x="200" y="106"/>
                  </a:lnTo>
                  <a:lnTo>
                    <a:pt x="200" y="1916"/>
                  </a:lnTo>
                  <a:lnTo>
                    <a:pt x="298" y="1916"/>
                  </a:lnTo>
                  <a:lnTo>
                    <a:pt x="298" y="654"/>
                  </a:lnTo>
                  <a:lnTo>
                    <a:pt x="207" y="58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3" name="Straight Connector 72"/>
            <p:cNvSpPr/>
            <p:nvPr/>
          </p:nvSpPr>
          <p:spPr>
            <a:xfrm>
              <a:off x="939240" y="4200120"/>
              <a:ext cx="0" cy="551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4" name="Freeform: Shape 69"/>
            <p:cNvSpPr/>
            <p:nvPr/>
          </p:nvSpPr>
          <p:spPr>
            <a:xfrm>
              <a:off x="897119" y="4787640"/>
              <a:ext cx="377280" cy="138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49" h="385" fill="none">
                  <a:moveTo>
                    <a:pt x="0" y="385"/>
                  </a:moveTo>
                  <a:lnTo>
                    <a:pt x="0" y="0"/>
                  </a:lnTo>
                  <a:lnTo>
                    <a:pt x="437" y="0"/>
                  </a:lnTo>
                  <a:lnTo>
                    <a:pt x="437" y="335"/>
                  </a:lnTo>
                  <a:lnTo>
                    <a:pt x="512" y="335"/>
                  </a:lnTo>
                  <a:lnTo>
                    <a:pt x="512" y="0"/>
                  </a:lnTo>
                  <a:lnTo>
                    <a:pt x="793" y="0"/>
                  </a:lnTo>
                  <a:lnTo>
                    <a:pt x="793" y="344"/>
                  </a:lnTo>
                  <a:lnTo>
                    <a:pt x="1049" y="34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5" name="Straight Connector 74"/>
            <p:cNvSpPr/>
            <p:nvPr/>
          </p:nvSpPr>
          <p:spPr>
            <a:xfrm>
              <a:off x="779760" y="4958280"/>
              <a:ext cx="1854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6" name="Straight Connector 75"/>
            <p:cNvSpPr/>
            <p:nvPr/>
          </p:nvSpPr>
          <p:spPr>
            <a:xfrm>
              <a:off x="762480" y="4970160"/>
              <a:ext cx="0" cy="56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7" name="Straight Connector 76"/>
            <p:cNvSpPr/>
            <p:nvPr/>
          </p:nvSpPr>
          <p:spPr>
            <a:xfrm>
              <a:off x="1021679" y="4606560"/>
              <a:ext cx="748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8" name="Straight Connector 77"/>
            <p:cNvSpPr/>
            <p:nvPr/>
          </p:nvSpPr>
          <p:spPr>
            <a:xfrm>
              <a:off x="1042919" y="4552560"/>
              <a:ext cx="0" cy="54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9" name="Straight Connector 78"/>
            <p:cNvSpPr/>
            <p:nvPr/>
          </p:nvSpPr>
          <p:spPr>
            <a:xfrm>
              <a:off x="1065600" y="4552560"/>
              <a:ext cx="0" cy="54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0" name="Freeform: Shape 75"/>
            <p:cNvSpPr/>
            <p:nvPr/>
          </p:nvSpPr>
          <p:spPr>
            <a:xfrm>
              <a:off x="1042919" y="4679280"/>
              <a:ext cx="38160" cy="86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7" h="240">
                  <a:moveTo>
                    <a:pt x="54" y="240"/>
                  </a:moveTo>
                  <a:lnTo>
                    <a:pt x="0" y="240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2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1" name="Freeform: Shape 76"/>
            <p:cNvSpPr/>
            <p:nvPr/>
          </p:nvSpPr>
          <p:spPr>
            <a:xfrm>
              <a:off x="934199" y="4899960"/>
              <a:ext cx="72720" cy="29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3" h="84">
                  <a:moveTo>
                    <a:pt x="101" y="84"/>
                  </a:moveTo>
                  <a:lnTo>
                    <a:pt x="0" y="84"/>
                  </a:lnTo>
                  <a:lnTo>
                    <a:pt x="0" y="0"/>
                  </a:lnTo>
                  <a:lnTo>
                    <a:pt x="203" y="0"/>
                  </a:lnTo>
                  <a:lnTo>
                    <a:pt x="203" y="8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2" name="Freeform: Shape 77"/>
            <p:cNvSpPr/>
            <p:nvPr/>
          </p:nvSpPr>
          <p:spPr>
            <a:xfrm>
              <a:off x="1074600" y="4926240"/>
              <a:ext cx="168840" cy="41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70" h="117">
                  <a:moveTo>
                    <a:pt x="235" y="117"/>
                  </a:moveTo>
                  <a:lnTo>
                    <a:pt x="0" y="117"/>
                  </a:lnTo>
                  <a:lnTo>
                    <a:pt x="0" y="0"/>
                  </a:lnTo>
                  <a:lnTo>
                    <a:pt x="470" y="0"/>
                  </a:lnTo>
                  <a:lnTo>
                    <a:pt x="470" y="11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3" name="Freeform: Shape 78"/>
            <p:cNvSpPr/>
            <p:nvPr/>
          </p:nvSpPr>
          <p:spPr>
            <a:xfrm>
              <a:off x="741600" y="4759200"/>
              <a:ext cx="51480" cy="85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4" h="238" fill="none">
                  <a:moveTo>
                    <a:pt x="144" y="238"/>
                  </a:moveTo>
                  <a:lnTo>
                    <a:pt x="0" y="238"/>
                  </a:lnTo>
                  <a:lnTo>
                    <a:pt x="0" y="0"/>
                  </a:lnTo>
                  <a:lnTo>
                    <a:pt x="144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4" name="Straight Connector 83"/>
            <p:cNvSpPr/>
            <p:nvPr/>
          </p:nvSpPr>
          <p:spPr>
            <a:xfrm>
              <a:off x="736200" y="43902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5" name="Straight Connector 84"/>
            <p:cNvSpPr/>
            <p:nvPr/>
          </p:nvSpPr>
          <p:spPr>
            <a:xfrm>
              <a:off x="736200" y="44190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6" name="Straight Connector 85"/>
            <p:cNvSpPr/>
            <p:nvPr/>
          </p:nvSpPr>
          <p:spPr>
            <a:xfrm>
              <a:off x="736200" y="44478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" name="Straight Connector 86"/>
            <p:cNvSpPr/>
            <p:nvPr/>
          </p:nvSpPr>
          <p:spPr>
            <a:xfrm>
              <a:off x="736200" y="44762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8" name="Straight Connector 87"/>
            <p:cNvSpPr/>
            <p:nvPr/>
          </p:nvSpPr>
          <p:spPr>
            <a:xfrm>
              <a:off x="736200" y="45050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9" name="Straight Connector 88"/>
            <p:cNvSpPr/>
            <p:nvPr/>
          </p:nvSpPr>
          <p:spPr>
            <a:xfrm>
              <a:off x="736200" y="45338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0" name="Straight Connector 89"/>
            <p:cNvSpPr/>
            <p:nvPr/>
          </p:nvSpPr>
          <p:spPr>
            <a:xfrm>
              <a:off x="736200" y="45626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1" name="Straight Connector 90"/>
            <p:cNvSpPr/>
            <p:nvPr/>
          </p:nvSpPr>
          <p:spPr>
            <a:xfrm>
              <a:off x="736200" y="45914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2" name="Straight Connector 91"/>
            <p:cNvSpPr/>
            <p:nvPr/>
          </p:nvSpPr>
          <p:spPr>
            <a:xfrm>
              <a:off x="736200" y="46202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3" name="Straight Connector 92"/>
            <p:cNvSpPr/>
            <p:nvPr/>
          </p:nvSpPr>
          <p:spPr>
            <a:xfrm>
              <a:off x="736200" y="46494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4" name="Straight Connector 93"/>
            <p:cNvSpPr/>
            <p:nvPr/>
          </p:nvSpPr>
          <p:spPr>
            <a:xfrm>
              <a:off x="736200" y="46778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5" name="Straight Connector 94"/>
            <p:cNvSpPr/>
            <p:nvPr/>
          </p:nvSpPr>
          <p:spPr>
            <a:xfrm>
              <a:off x="736200" y="47066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6" name="Straight Connector 95"/>
            <p:cNvSpPr/>
            <p:nvPr/>
          </p:nvSpPr>
          <p:spPr>
            <a:xfrm>
              <a:off x="974160" y="4316760"/>
              <a:ext cx="32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7" name="Straight Connector 96"/>
            <p:cNvSpPr/>
            <p:nvPr/>
          </p:nvSpPr>
          <p:spPr>
            <a:xfrm>
              <a:off x="1169640" y="4992480"/>
              <a:ext cx="2077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8" name="Straight Connector 97"/>
            <p:cNvSpPr/>
            <p:nvPr/>
          </p:nvSpPr>
          <p:spPr>
            <a:xfrm>
              <a:off x="1305000" y="4922640"/>
              <a:ext cx="250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9" name="Freeform: Shape 94"/>
            <p:cNvSpPr/>
            <p:nvPr/>
          </p:nvSpPr>
          <p:spPr>
            <a:xfrm>
              <a:off x="1096560" y="4136760"/>
              <a:ext cx="285480" cy="740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4" h="2058">
                  <a:moveTo>
                    <a:pt x="0" y="1774"/>
                  </a:moveTo>
                  <a:lnTo>
                    <a:pt x="0" y="0"/>
                  </a:lnTo>
                  <a:lnTo>
                    <a:pt x="541" y="0"/>
                  </a:lnTo>
                  <a:lnTo>
                    <a:pt x="794" y="1518"/>
                  </a:lnTo>
                  <a:lnTo>
                    <a:pt x="655" y="1518"/>
                  </a:lnTo>
                  <a:lnTo>
                    <a:pt x="655" y="1746"/>
                  </a:lnTo>
                  <a:lnTo>
                    <a:pt x="541" y="1746"/>
                  </a:lnTo>
                  <a:lnTo>
                    <a:pt x="541" y="2058"/>
                  </a:lnTo>
                  <a:lnTo>
                    <a:pt x="456" y="2058"/>
                  </a:lnTo>
                  <a:lnTo>
                    <a:pt x="158" y="78"/>
                  </a:lnTo>
                  <a:lnTo>
                    <a:pt x="77" y="78"/>
                  </a:lnTo>
                  <a:lnTo>
                    <a:pt x="77" y="177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0" name="Freeform: Shape 95"/>
            <p:cNvSpPr/>
            <p:nvPr/>
          </p:nvSpPr>
          <p:spPr>
            <a:xfrm>
              <a:off x="1348920" y="4669560"/>
              <a:ext cx="316440" cy="212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0" h="592" fill="none">
                  <a:moveTo>
                    <a:pt x="0" y="85"/>
                  </a:moveTo>
                  <a:lnTo>
                    <a:pt x="275" y="85"/>
                  </a:lnTo>
                  <a:lnTo>
                    <a:pt x="275" y="0"/>
                  </a:lnTo>
                  <a:lnTo>
                    <a:pt x="412" y="0"/>
                  </a:lnTo>
                  <a:lnTo>
                    <a:pt x="412" y="209"/>
                  </a:lnTo>
                  <a:lnTo>
                    <a:pt x="582" y="209"/>
                  </a:lnTo>
                  <a:lnTo>
                    <a:pt x="582" y="592"/>
                  </a:lnTo>
                  <a:lnTo>
                    <a:pt x="880" y="59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1" name="Straight Connector 100"/>
            <p:cNvSpPr/>
            <p:nvPr/>
          </p:nvSpPr>
          <p:spPr>
            <a:xfrm>
              <a:off x="1428120" y="4977720"/>
              <a:ext cx="516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2" name="Freeform: Shape 97"/>
            <p:cNvSpPr/>
            <p:nvPr/>
          </p:nvSpPr>
          <p:spPr>
            <a:xfrm>
              <a:off x="1352520" y="4721760"/>
              <a:ext cx="54000" cy="176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490">
                  <a:moveTo>
                    <a:pt x="76" y="490"/>
                  </a:moveTo>
                  <a:lnTo>
                    <a:pt x="0" y="490"/>
                  </a:lnTo>
                  <a:lnTo>
                    <a:pt x="0" y="0"/>
                  </a:lnTo>
                  <a:lnTo>
                    <a:pt x="151" y="0"/>
                  </a:lnTo>
                  <a:lnTo>
                    <a:pt x="151" y="49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3" name="Freeform: Shape 98"/>
            <p:cNvSpPr/>
            <p:nvPr/>
          </p:nvSpPr>
          <p:spPr>
            <a:xfrm>
              <a:off x="1435320" y="4842720"/>
              <a:ext cx="104760" cy="24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2" h="69">
                  <a:moveTo>
                    <a:pt x="146" y="69"/>
                  </a:moveTo>
                  <a:lnTo>
                    <a:pt x="0" y="69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292" y="6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4" name="Straight Connector 103"/>
            <p:cNvSpPr/>
            <p:nvPr/>
          </p:nvSpPr>
          <p:spPr>
            <a:xfrm>
              <a:off x="1377359" y="4548239"/>
              <a:ext cx="0" cy="31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5" name="Freeform: Shape 100"/>
            <p:cNvSpPr/>
            <p:nvPr/>
          </p:nvSpPr>
          <p:spPr>
            <a:xfrm>
              <a:off x="1396439" y="4129200"/>
              <a:ext cx="240480" cy="694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69" h="1929">
                  <a:moveTo>
                    <a:pt x="4" y="1419"/>
                  </a:moveTo>
                  <a:cubicBezTo>
                    <a:pt x="4" y="1419"/>
                    <a:pt x="-63" y="664"/>
                    <a:pt x="337" y="0"/>
                  </a:cubicBezTo>
                  <a:cubicBezTo>
                    <a:pt x="337" y="0"/>
                    <a:pt x="845" y="812"/>
                    <a:pt x="603" y="192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6" name="Freeform: Shape 101"/>
            <p:cNvSpPr/>
            <p:nvPr/>
          </p:nvSpPr>
          <p:spPr>
            <a:xfrm>
              <a:off x="1485359" y="4201560"/>
              <a:ext cx="99360" cy="114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7" h="320">
                  <a:moveTo>
                    <a:pt x="0" y="0"/>
                  </a:moveTo>
                  <a:cubicBezTo>
                    <a:pt x="0" y="0"/>
                    <a:pt x="103" y="215"/>
                    <a:pt x="277" y="32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7" name="Freeform: Shape 102"/>
            <p:cNvSpPr/>
            <p:nvPr/>
          </p:nvSpPr>
          <p:spPr>
            <a:xfrm>
              <a:off x="1468800" y="4279680"/>
              <a:ext cx="127080" cy="144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0" y="0"/>
                  </a:moveTo>
                  <a:cubicBezTo>
                    <a:pt x="0" y="0"/>
                    <a:pt x="132" y="269"/>
                    <a:pt x="354" y="40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8" name="Freeform: Shape 103"/>
            <p:cNvSpPr/>
            <p:nvPr/>
          </p:nvSpPr>
          <p:spPr>
            <a:xfrm>
              <a:off x="1452240" y="4358520"/>
              <a:ext cx="149400" cy="168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0" y="0"/>
                  </a:moveTo>
                  <a:cubicBezTo>
                    <a:pt x="0" y="0"/>
                    <a:pt x="155" y="315"/>
                    <a:pt x="416" y="46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9" name="Freeform: Shape 104"/>
            <p:cNvSpPr/>
            <p:nvPr/>
          </p:nvSpPr>
          <p:spPr>
            <a:xfrm>
              <a:off x="1435320" y="4435920"/>
              <a:ext cx="175320" cy="195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8" h="543">
                  <a:moveTo>
                    <a:pt x="0" y="0"/>
                  </a:moveTo>
                  <a:cubicBezTo>
                    <a:pt x="0" y="0"/>
                    <a:pt x="181" y="365"/>
                    <a:pt x="488" y="5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0" name="Freeform: Shape 105"/>
            <p:cNvSpPr/>
            <p:nvPr/>
          </p:nvSpPr>
          <p:spPr>
            <a:xfrm>
              <a:off x="1418760" y="4515480"/>
              <a:ext cx="194400" cy="2178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41" h="606">
                  <a:moveTo>
                    <a:pt x="0" y="0"/>
                  </a:moveTo>
                  <a:cubicBezTo>
                    <a:pt x="0" y="0"/>
                    <a:pt x="202" y="407"/>
                    <a:pt x="541" y="606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1" name="Freeform: Shape 106"/>
            <p:cNvSpPr/>
            <p:nvPr/>
          </p:nvSpPr>
          <p:spPr>
            <a:xfrm>
              <a:off x="1449719" y="4208760"/>
              <a:ext cx="99720" cy="115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321">
                  <a:moveTo>
                    <a:pt x="278" y="0"/>
                  </a:moveTo>
                  <a:cubicBezTo>
                    <a:pt x="278" y="0"/>
                    <a:pt x="174" y="216"/>
                    <a:pt x="0" y="32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2" name="Freeform: Shape 107"/>
            <p:cNvSpPr/>
            <p:nvPr/>
          </p:nvSpPr>
          <p:spPr>
            <a:xfrm>
              <a:off x="1438559" y="4286880"/>
              <a:ext cx="127080" cy="144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354" y="0"/>
                  </a:moveTo>
                  <a:cubicBezTo>
                    <a:pt x="354" y="0"/>
                    <a:pt x="222" y="270"/>
                    <a:pt x="0" y="40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3" name="Freeform: Shape 108"/>
            <p:cNvSpPr/>
            <p:nvPr/>
          </p:nvSpPr>
          <p:spPr>
            <a:xfrm>
              <a:off x="1432800" y="4366079"/>
              <a:ext cx="149400" cy="168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416" y="0"/>
                  </a:moveTo>
                  <a:cubicBezTo>
                    <a:pt x="416" y="0"/>
                    <a:pt x="261" y="315"/>
                    <a:pt x="0" y="46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4" name="Freeform: Shape 109"/>
            <p:cNvSpPr/>
            <p:nvPr/>
          </p:nvSpPr>
          <p:spPr>
            <a:xfrm>
              <a:off x="1424159" y="4443120"/>
              <a:ext cx="174960" cy="195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7" h="543">
                  <a:moveTo>
                    <a:pt x="487" y="0"/>
                  </a:moveTo>
                  <a:cubicBezTo>
                    <a:pt x="487" y="0"/>
                    <a:pt x="306" y="365"/>
                    <a:pt x="0" y="5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5" name="Freeform: Shape 110"/>
            <p:cNvSpPr/>
            <p:nvPr/>
          </p:nvSpPr>
          <p:spPr>
            <a:xfrm>
              <a:off x="1510199" y="4523040"/>
              <a:ext cx="105480" cy="146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4" h="409">
                  <a:moveTo>
                    <a:pt x="294" y="0"/>
                  </a:moveTo>
                  <a:cubicBezTo>
                    <a:pt x="294" y="0"/>
                    <a:pt x="188" y="215"/>
                    <a:pt x="0" y="40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6" name="Freeform: Shape 111"/>
            <p:cNvSpPr/>
            <p:nvPr/>
          </p:nvSpPr>
          <p:spPr>
            <a:xfrm>
              <a:off x="1690919" y="4317120"/>
              <a:ext cx="233280" cy="557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49" h="1549">
                  <a:moveTo>
                    <a:pt x="67" y="1549"/>
                  </a:moveTo>
                  <a:cubicBezTo>
                    <a:pt x="67" y="1549"/>
                    <a:pt x="-71" y="262"/>
                    <a:pt x="48" y="48"/>
                  </a:cubicBezTo>
                  <a:cubicBezTo>
                    <a:pt x="48" y="48"/>
                    <a:pt x="366" y="-69"/>
                    <a:pt x="605" y="61"/>
                  </a:cubicBezTo>
                  <a:cubicBezTo>
                    <a:pt x="605" y="61"/>
                    <a:pt x="723" y="431"/>
                    <a:pt x="573" y="1548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7" name="Freeform: Shape 112"/>
            <p:cNvSpPr/>
            <p:nvPr/>
          </p:nvSpPr>
          <p:spPr>
            <a:xfrm>
              <a:off x="1654919" y="4283280"/>
              <a:ext cx="54000" cy="585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1626">
                  <a:moveTo>
                    <a:pt x="79" y="1626"/>
                  </a:moveTo>
                  <a:cubicBezTo>
                    <a:pt x="79" y="1626"/>
                    <a:pt x="-95" y="347"/>
                    <a:pt x="73" y="0"/>
                  </a:cubicBezTo>
                  <a:lnTo>
                    <a:pt x="151" y="11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8" name="Freeform: Shape 113"/>
            <p:cNvSpPr/>
            <p:nvPr/>
          </p:nvSpPr>
          <p:spPr>
            <a:xfrm>
              <a:off x="1689479" y="4257720"/>
              <a:ext cx="252360" cy="511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2" h="1422">
                  <a:moveTo>
                    <a:pt x="0" y="47"/>
                  </a:moveTo>
                  <a:cubicBezTo>
                    <a:pt x="0" y="47"/>
                    <a:pt x="380" y="-73"/>
                    <a:pt x="608" y="71"/>
                  </a:cubicBezTo>
                  <a:cubicBezTo>
                    <a:pt x="608" y="71"/>
                    <a:pt x="782" y="185"/>
                    <a:pt x="657" y="142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9" name="Straight Connector 118"/>
            <p:cNvSpPr/>
            <p:nvPr/>
          </p:nvSpPr>
          <p:spPr>
            <a:xfrm flipV="1">
              <a:off x="1715039" y="4365000"/>
              <a:ext cx="188641" cy="107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0" name="Straight Connector 119"/>
            <p:cNvSpPr/>
            <p:nvPr/>
          </p:nvSpPr>
          <p:spPr>
            <a:xfrm flipV="1">
              <a:off x="1716480" y="4392720"/>
              <a:ext cx="18576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1" name="Straight Connector 120"/>
            <p:cNvSpPr/>
            <p:nvPr/>
          </p:nvSpPr>
          <p:spPr>
            <a:xfrm flipV="1">
              <a:off x="1718280" y="4420440"/>
              <a:ext cx="18252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2" name="Straight Connector 121"/>
            <p:cNvSpPr/>
            <p:nvPr/>
          </p:nvSpPr>
          <p:spPr>
            <a:xfrm flipV="1">
              <a:off x="1720080" y="4448160"/>
              <a:ext cx="17928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3" name="Straight Connector 122"/>
            <p:cNvSpPr/>
            <p:nvPr/>
          </p:nvSpPr>
          <p:spPr>
            <a:xfrm flipV="1">
              <a:off x="1721880" y="4475520"/>
              <a:ext cx="17640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4" name="Straight Connector 123"/>
            <p:cNvSpPr/>
            <p:nvPr/>
          </p:nvSpPr>
          <p:spPr>
            <a:xfrm flipV="1">
              <a:off x="1723680" y="4503240"/>
              <a:ext cx="17316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5" name="Straight Connector 124"/>
            <p:cNvSpPr/>
            <p:nvPr/>
          </p:nvSpPr>
          <p:spPr>
            <a:xfrm flipV="1">
              <a:off x="1725480" y="4530960"/>
              <a:ext cx="17028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6" name="Straight Connector 125"/>
            <p:cNvSpPr/>
            <p:nvPr/>
          </p:nvSpPr>
          <p:spPr>
            <a:xfrm flipV="1">
              <a:off x="1727280" y="4558680"/>
              <a:ext cx="16668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7" name="Straight Connector 126"/>
            <p:cNvSpPr/>
            <p:nvPr/>
          </p:nvSpPr>
          <p:spPr>
            <a:xfrm flipV="1">
              <a:off x="1728719" y="4586399"/>
              <a:ext cx="16380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8" name="Straight Connector 127"/>
            <p:cNvSpPr/>
            <p:nvPr/>
          </p:nvSpPr>
          <p:spPr>
            <a:xfrm flipV="1">
              <a:off x="1730519" y="4614120"/>
              <a:ext cx="16092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9" name="Straight Connector 128"/>
            <p:cNvSpPr/>
            <p:nvPr/>
          </p:nvSpPr>
          <p:spPr>
            <a:xfrm flipV="1">
              <a:off x="1732319" y="4641840"/>
              <a:ext cx="157681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0" name="Straight Connector 129"/>
            <p:cNvSpPr/>
            <p:nvPr/>
          </p:nvSpPr>
          <p:spPr>
            <a:xfrm>
              <a:off x="1734119" y="4669560"/>
              <a:ext cx="1548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1" name="Straight Connector 130"/>
            <p:cNvSpPr/>
            <p:nvPr/>
          </p:nvSpPr>
          <p:spPr>
            <a:xfrm flipV="1">
              <a:off x="1735919" y="4697279"/>
              <a:ext cx="151561" cy="3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2" name="Straight Connector 131"/>
            <p:cNvSpPr/>
            <p:nvPr/>
          </p:nvSpPr>
          <p:spPr>
            <a:xfrm>
              <a:off x="1737719" y="4725000"/>
              <a:ext cx="1483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3" name="Straight Connector 132"/>
            <p:cNvSpPr/>
            <p:nvPr/>
          </p:nvSpPr>
          <p:spPr>
            <a:xfrm>
              <a:off x="1739160" y="4752720"/>
              <a:ext cx="1454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4" name="Straight Connector 133"/>
            <p:cNvSpPr/>
            <p:nvPr/>
          </p:nvSpPr>
          <p:spPr>
            <a:xfrm>
              <a:off x="1740960" y="4780440"/>
              <a:ext cx="142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5" name="Straight Connector 134"/>
            <p:cNvSpPr/>
            <p:nvPr/>
          </p:nvSpPr>
          <p:spPr>
            <a:xfrm>
              <a:off x="1742760" y="4808160"/>
              <a:ext cx="139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6" name="Straight Connector 135"/>
            <p:cNvSpPr/>
            <p:nvPr/>
          </p:nvSpPr>
          <p:spPr>
            <a:xfrm>
              <a:off x="1744560" y="4835880"/>
              <a:ext cx="1360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7" name="Straight Connector 136"/>
            <p:cNvSpPr/>
            <p:nvPr/>
          </p:nvSpPr>
          <p:spPr>
            <a:xfrm>
              <a:off x="1745999" y="4863600"/>
              <a:ext cx="1332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8" name="Straight Connector 137"/>
            <p:cNvSpPr/>
            <p:nvPr/>
          </p:nvSpPr>
          <p:spPr>
            <a:xfrm>
              <a:off x="1628999" y="4732560"/>
              <a:ext cx="392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9" name="Straight Connector 138"/>
            <p:cNvSpPr/>
            <p:nvPr/>
          </p:nvSpPr>
          <p:spPr>
            <a:xfrm>
              <a:off x="1646640" y="4785120"/>
              <a:ext cx="0" cy="576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0" name="Straight Connector 139"/>
            <p:cNvSpPr/>
            <p:nvPr/>
          </p:nvSpPr>
          <p:spPr>
            <a:xfrm>
              <a:off x="1704240" y="4898160"/>
              <a:ext cx="1537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1" name="Straight Connector 140"/>
            <p:cNvSpPr/>
            <p:nvPr/>
          </p:nvSpPr>
          <p:spPr>
            <a:xfrm>
              <a:off x="1907280" y="4919400"/>
              <a:ext cx="46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2" name="Straight Connector 141"/>
            <p:cNvSpPr/>
            <p:nvPr/>
          </p:nvSpPr>
          <p:spPr>
            <a:xfrm>
              <a:off x="2045880" y="4927680"/>
              <a:ext cx="0" cy="82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3" name="Straight Connector 142"/>
            <p:cNvSpPr/>
            <p:nvPr/>
          </p:nvSpPr>
          <p:spPr>
            <a:xfrm>
              <a:off x="2111760" y="4963320"/>
              <a:ext cx="65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4" name="Straight Connector 143"/>
            <p:cNvSpPr/>
            <p:nvPr/>
          </p:nvSpPr>
          <p:spPr>
            <a:xfrm>
              <a:off x="2116800" y="4997160"/>
              <a:ext cx="56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5" name="Straight Connector 144"/>
            <p:cNvSpPr/>
            <p:nvPr/>
          </p:nvSpPr>
          <p:spPr>
            <a:xfrm>
              <a:off x="1916639" y="4771440"/>
              <a:ext cx="878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6" name="Straight Connector 145"/>
            <p:cNvSpPr/>
            <p:nvPr/>
          </p:nvSpPr>
          <p:spPr>
            <a:xfrm>
              <a:off x="2136240" y="4767839"/>
              <a:ext cx="511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7" name="Straight Connector 146"/>
            <p:cNvSpPr/>
            <p:nvPr/>
          </p:nvSpPr>
          <p:spPr>
            <a:xfrm>
              <a:off x="2167920" y="4729319"/>
              <a:ext cx="0" cy="38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8" name="Straight Connector 147"/>
            <p:cNvSpPr/>
            <p:nvPr/>
          </p:nvSpPr>
          <p:spPr>
            <a:xfrm>
              <a:off x="2180160" y="4842720"/>
              <a:ext cx="0" cy="694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9" name="Straight Connector 148"/>
            <p:cNvSpPr/>
            <p:nvPr/>
          </p:nvSpPr>
          <p:spPr>
            <a:xfrm>
              <a:off x="1990079" y="4697279"/>
              <a:ext cx="0" cy="486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0" name="Straight Connector 149"/>
            <p:cNvSpPr/>
            <p:nvPr/>
          </p:nvSpPr>
          <p:spPr>
            <a:xfrm>
              <a:off x="2014200" y="4697640"/>
              <a:ext cx="0" cy="48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1" name="Straight Connector 150"/>
            <p:cNvSpPr/>
            <p:nvPr/>
          </p:nvSpPr>
          <p:spPr>
            <a:xfrm>
              <a:off x="2038679" y="4697640"/>
              <a:ext cx="0" cy="48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2" name="Straight Connector 151"/>
            <p:cNvSpPr/>
            <p:nvPr/>
          </p:nvSpPr>
          <p:spPr>
            <a:xfrm>
              <a:off x="2063160" y="4697640"/>
              <a:ext cx="0" cy="48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3" name="Straight Connector 152"/>
            <p:cNvSpPr/>
            <p:nvPr/>
          </p:nvSpPr>
          <p:spPr>
            <a:xfrm>
              <a:off x="2087640" y="4698000"/>
              <a:ext cx="0" cy="47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4" name="Straight Connector 153"/>
            <p:cNvSpPr/>
            <p:nvPr/>
          </p:nvSpPr>
          <p:spPr>
            <a:xfrm>
              <a:off x="2111760" y="4698000"/>
              <a:ext cx="0" cy="47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5" name="Straight Connector 154"/>
            <p:cNvSpPr/>
            <p:nvPr/>
          </p:nvSpPr>
          <p:spPr>
            <a:xfrm>
              <a:off x="2136240" y="4698360"/>
              <a:ext cx="0" cy="47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6" name="Straight Connector 155"/>
            <p:cNvSpPr/>
            <p:nvPr/>
          </p:nvSpPr>
          <p:spPr>
            <a:xfrm>
              <a:off x="1971360" y="479880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7" name="Straight Connector 156"/>
            <p:cNvSpPr/>
            <p:nvPr/>
          </p:nvSpPr>
          <p:spPr>
            <a:xfrm>
              <a:off x="2156760" y="479880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8" name="Straight Connector 157"/>
            <p:cNvSpPr/>
            <p:nvPr/>
          </p:nvSpPr>
          <p:spPr>
            <a:xfrm>
              <a:off x="1979640" y="467280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9" name="Freeform: Shape 154"/>
            <p:cNvSpPr/>
            <p:nvPr/>
          </p:nvSpPr>
          <p:spPr>
            <a:xfrm>
              <a:off x="1982160" y="4551480"/>
              <a:ext cx="160920" cy="96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48" h="268">
                  <a:moveTo>
                    <a:pt x="448" y="268"/>
                  </a:moveTo>
                  <a:lnTo>
                    <a:pt x="0" y="268"/>
                  </a:lnTo>
                  <a:cubicBezTo>
                    <a:pt x="0" y="268"/>
                    <a:pt x="60" y="0"/>
                    <a:pt x="225" y="0"/>
                  </a:cubicBezTo>
                  <a:cubicBezTo>
                    <a:pt x="390" y="0"/>
                    <a:pt x="448" y="268"/>
                    <a:pt x="448" y="26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0" name="Straight Connector 159"/>
            <p:cNvSpPr/>
            <p:nvPr/>
          </p:nvSpPr>
          <p:spPr>
            <a:xfrm>
              <a:off x="2045880" y="4528440"/>
              <a:ext cx="34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1" name="Straight Connector 160"/>
            <p:cNvSpPr/>
            <p:nvPr/>
          </p:nvSpPr>
          <p:spPr>
            <a:xfrm>
              <a:off x="2052000" y="4505760"/>
              <a:ext cx="241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2" name="Straight Connector 161"/>
            <p:cNvSpPr/>
            <p:nvPr/>
          </p:nvSpPr>
          <p:spPr>
            <a:xfrm>
              <a:off x="2064240" y="4431960"/>
              <a:ext cx="0" cy="43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3" name="Straight Connector 162"/>
            <p:cNvSpPr/>
            <p:nvPr/>
          </p:nvSpPr>
          <p:spPr>
            <a:xfrm>
              <a:off x="2031480" y="4878720"/>
              <a:ext cx="644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4" name="Straight Connector 163"/>
            <p:cNvSpPr/>
            <p:nvPr/>
          </p:nvSpPr>
          <p:spPr>
            <a:xfrm>
              <a:off x="2223360" y="4723559"/>
              <a:ext cx="72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5" name="Straight Connector 164"/>
            <p:cNvSpPr/>
            <p:nvPr/>
          </p:nvSpPr>
          <p:spPr>
            <a:xfrm>
              <a:off x="2210040" y="4627440"/>
              <a:ext cx="0" cy="84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6" name="Straight Connector 165"/>
            <p:cNvSpPr/>
            <p:nvPr/>
          </p:nvSpPr>
          <p:spPr>
            <a:xfrm>
              <a:off x="2305080" y="4627440"/>
              <a:ext cx="0" cy="84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7" name="Straight Connector 166"/>
            <p:cNvSpPr/>
            <p:nvPr/>
          </p:nvSpPr>
          <p:spPr>
            <a:xfrm>
              <a:off x="2214719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8" name="Straight Connector 167"/>
            <p:cNvSpPr/>
            <p:nvPr/>
          </p:nvSpPr>
          <p:spPr>
            <a:xfrm>
              <a:off x="223704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9" name="Straight Connector 168"/>
            <p:cNvSpPr/>
            <p:nvPr/>
          </p:nvSpPr>
          <p:spPr>
            <a:xfrm>
              <a:off x="225900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0" name="Straight Connector 169"/>
            <p:cNvSpPr/>
            <p:nvPr/>
          </p:nvSpPr>
          <p:spPr>
            <a:xfrm>
              <a:off x="228096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1" name="Straight Connector 170"/>
            <p:cNvSpPr/>
            <p:nvPr/>
          </p:nvSpPr>
          <p:spPr>
            <a:xfrm>
              <a:off x="230292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2" name="Freeform: Shape 167"/>
            <p:cNvSpPr/>
            <p:nvPr/>
          </p:nvSpPr>
          <p:spPr>
            <a:xfrm>
              <a:off x="2206440" y="4525560"/>
              <a:ext cx="99720" cy="85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239" fill="none">
                  <a:moveTo>
                    <a:pt x="0" y="239"/>
                  </a:moveTo>
                  <a:lnTo>
                    <a:pt x="72" y="123"/>
                  </a:lnTo>
                  <a:lnTo>
                    <a:pt x="72" y="0"/>
                  </a:lnTo>
                  <a:lnTo>
                    <a:pt x="204" y="0"/>
                  </a:lnTo>
                  <a:lnTo>
                    <a:pt x="204" y="119"/>
                  </a:lnTo>
                  <a:lnTo>
                    <a:pt x="278" y="2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3" name="Freeform: Shape 168"/>
            <p:cNvSpPr/>
            <p:nvPr/>
          </p:nvSpPr>
          <p:spPr>
            <a:xfrm>
              <a:off x="2235960" y="4650120"/>
              <a:ext cx="43920" cy="43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3" h="123">
                  <a:moveTo>
                    <a:pt x="123" y="61"/>
                  </a:moveTo>
                  <a:cubicBezTo>
                    <a:pt x="123" y="73"/>
                    <a:pt x="121" y="82"/>
                    <a:pt x="115" y="92"/>
                  </a:cubicBezTo>
                  <a:cubicBezTo>
                    <a:pt x="109" y="102"/>
                    <a:pt x="101" y="109"/>
                    <a:pt x="92" y="115"/>
                  </a:cubicBezTo>
                  <a:cubicBezTo>
                    <a:pt x="82" y="120"/>
                    <a:pt x="73" y="123"/>
                    <a:pt x="62" y="123"/>
                  </a:cubicBezTo>
                  <a:cubicBezTo>
                    <a:pt x="50" y="123"/>
                    <a:pt x="41" y="120"/>
                    <a:pt x="31" y="115"/>
                  </a:cubicBezTo>
                  <a:cubicBezTo>
                    <a:pt x="21" y="109"/>
                    <a:pt x="14" y="102"/>
                    <a:pt x="8" y="92"/>
                  </a:cubicBezTo>
                  <a:cubicBezTo>
                    <a:pt x="2" y="82"/>
                    <a:pt x="0" y="72"/>
                    <a:pt x="0" y="61"/>
                  </a:cubicBezTo>
                  <a:cubicBezTo>
                    <a:pt x="0" y="49"/>
                    <a:pt x="2" y="40"/>
                    <a:pt x="8" y="30"/>
                  </a:cubicBezTo>
                  <a:cubicBezTo>
                    <a:pt x="14" y="20"/>
                    <a:pt x="21" y="14"/>
                    <a:pt x="31" y="8"/>
                  </a:cubicBezTo>
                  <a:cubicBezTo>
                    <a:pt x="41" y="2"/>
                    <a:pt x="50" y="0"/>
                    <a:pt x="62" y="0"/>
                  </a:cubicBezTo>
                  <a:cubicBezTo>
                    <a:pt x="73" y="0"/>
                    <a:pt x="82" y="2"/>
                    <a:pt x="92" y="8"/>
                  </a:cubicBezTo>
                  <a:cubicBezTo>
                    <a:pt x="101" y="14"/>
                    <a:pt x="109" y="20"/>
                    <a:pt x="115" y="30"/>
                  </a:cubicBezTo>
                  <a:cubicBezTo>
                    <a:pt x="121" y="39"/>
                    <a:pt x="123" y="50"/>
                    <a:pt x="123" y="61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4" name="Straight Connector 173"/>
            <p:cNvSpPr/>
            <p:nvPr/>
          </p:nvSpPr>
          <p:spPr>
            <a:xfrm>
              <a:off x="2231640" y="4603320"/>
              <a:ext cx="50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5" name="Straight Connector 174"/>
            <p:cNvSpPr/>
            <p:nvPr/>
          </p:nvSpPr>
          <p:spPr>
            <a:xfrm>
              <a:off x="2231640" y="4620600"/>
              <a:ext cx="50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6" name="Straight Connector 175"/>
            <p:cNvSpPr/>
            <p:nvPr/>
          </p:nvSpPr>
          <p:spPr>
            <a:xfrm>
              <a:off x="2232360" y="4569840"/>
              <a:ext cx="47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7" name="Freeform: Shape 172"/>
            <p:cNvSpPr/>
            <p:nvPr/>
          </p:nvSpPr>
          <p:spPr>
            <a:xfrm>
              <a:off x="2232360" y="4487760"/>
              <a:ext cx="47160" cy="37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2" h="105" fill="none">
                  <a:moveTo>
                    <a:pt x="0" y="105"/>
                  </a:moveTo>
                  <a:lnTo>
                    <a:pt x="67" y="0"/>
                  </a:lnTo>
                  <a:lnTo>
                    <a:pt x="132" y="10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8" name="Straight Connector 177"/>
            <p:cNvSpPr/>
            <p:nvPr/>
          </p:nvSpPr>
          <p:spPr>
            <a:xfrm>
              <a:off x="2257200" y="4539600"/>
              <a:ext cx="0" cy="20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9" name="Straight Connector 178"/>
            <p:cNvSpPr/>
            <p:nvPr/>
          </p:nvSpPr>
          <p:spPr>
            <a:xfrm flipV="1">
              <a:off x="2256480" y="4451760"/>
              <a:ext cx="0" cy="36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0" name="Straight Connector 179"/>
            <p:cNvSpPr/>
            <p:nvPr/>
          </p:nvSpPr>
          <p:spPr>
            <a:xfrm>
              <a:off x="2345039" y="4777560"/>
              <a:ext cx="0" cy="81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1" name="Straight Connector 180"/>
            <p:cNvSpPr/>
            <p:nvPr/>
          </p:nvSpPr>
          <p:spPr>
            <a:xfrm>
              <a:off x="2319120" y="4858920"/>
              <a:ext cx="50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2" name="Straight Connector 181"/>
            <p:cNvSpPr/>
            <p:nvPr/>
          </p:nvSpPr>
          <p:spPr>
            <a:xfrm>
              <a:off x="2247480" y="4997160"/>
              <a:ext cx="4143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3" name="Freeform: Shape 178"/>
            <p:cNvSpPr/>
            <p:nvPr/>
          </p:nvSpPr>
          <p:spPr>
            <a:xfrm>
              <a:off x="2357280" y="3765960"/>
              <a:ext cx="304200" cy="1213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46" h="3372" fill="none">
                  <a:moveTo>
                    <a:pt x="0" y="3372"/>
                  </a:moveTo>
                  <a:lnTo>
                    <a:pt x="348" y="0"/>
                  </a:lnTo>
                  <a:lnTo>
                    <a:pt x="408" y="169"/>
                  </a:lnTo>
                  <a:lnTo>
                    <a:pt x="468" y="0"/>
                  </a:lnTo>
                  <a:lnTo>
                    <a:pt x="846" y="336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4" name="Straight Connector 183"/>
            <p:cNvSpPr/>
            <p:nvPr/>
          </p:nvSpPr>
          <p:spPr>
            <a:xfrm>
              <a:off x="2508841" y="3855598"/>
              <a:ext cx="123081" cy="111600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5" name="Straight Connector 184"/>
            <p:cNvSpPr/>
            <p:nvPr/>
          </p:nvSpPr>
          <p:spPr>
            <a:xfrm>
              <a:off x="2644560" y="4823280"/>
              <a:ext cx="121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6" name="Straight Connector 185"/>
            <p:cNvSpPr/>
            <p:nvPr/>
          </p:nvSpPr>
          <p:spPr>
            <a:xfrm>
              <a:off x="2693520" y="4893480"/>
              <a:ext cx="0" cy="11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7" name="Straight Connector 186"/>
            <p:cNvSpPr/>
            <p:nvPr/>
          </p:nvSpPr>
          <p:spPr>
            <a:xfrm>
              <a:off x="3372120" y="4893480"/>
              <a:ext cx="0" cy="11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8" name="Straight Connector 187"/>
            <p:cNvSpPr/>
            <p:nvPr/>
          </p:nvSpPr>
          <p:spPr>
            <a:xfrm>
              <a:off x="2856960" y="4997160"/>
              <a:ext cx="2509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9" name="Straight Connector 188"/>
            <p:cNvSpPr/>
            <p:nvPr/>
          </p:nvSpPr>
          <p:spPr>
            <a:xfrm>
              <a:off x="2905560" y="5026680"/>
              <a:ext cx="72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0" name="Straight Connector 189"/>
            <p:cNvSpPr/>
            <p:nvPr/>
          </p:nvSpPr>
          <p:spPr>
            <a:xfrm>
              <a:off x="2657880" y="4673160"/>
              <a:ext cx="64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1" name="Straight Connector 190"/>
            <p:cNvSpPr/>
            <p:nvPr/>
          </p:nvSpPr>
          <p:spPr>
            <a:xfrm>
              <a:off x="2809800" y="4673160"/>
              <a:ext cx="1411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2" name="Straight Connector 191"/>
            <p:cNvSpPr/>
            <p:nvPr/>
          </p:nvSpPr>
          <p:spPr>
            <a:xfrm>
              <a:off x="2724480" y="4582440"/>
              <a:ext cx="0" cy="189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3" name="Freeform: Shape 188"/>
            <p:cNvSpPr/>
            <p:nvPr/>
          </p:nvSpPr>
          <p:spPr>
            <a:xfrm>
              <a:off x="2809800" y="4582440"/>
              <a:ext cx="333720" cy="307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8" h="855" fill="none">
                  <a:moveTo>
                    <a:pt x="0" y="0"/>
                  </a:moveTo>
                  <a:lnTo>
                    <a:pt x="0" y="855"/>
                  </a:lnTo>
                  <a:lnTo>
                    <a:pt x="928" y="855"/>
                  </a:lnTo>
                  <a:lnTo>
                    <a:pt x="883" y="782"/>
                  </a:lnTo>
                  <a:lnTo>
                    <a:pt x="77" y="78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4" name="Straight Connector 193"/>
            <p:cNvSpPr/>
            <p:nvPr/>
          </p:nvSpPr>
          <p:spPr>
            <a:xfrm>
              <a:off x="2765880" y="4582440"/>
              <a:ext cx="0" cy="42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5" name="Straight Connector 194"/>
            <p:cNvSpPr/>
            <p:nvPr/>
          </p:nvSpPr>
          <p:spPr>
            <a:xfrm>
              <a:off x="2765880" y="4669920"/>
              <a:ext cx="0" cy="18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6" name="Straight Connector 195"/>
            <p:cNvSpPr/>
            <p:nvPr/>
          </p:nvSpPr>
          <p:spPr>
            <a:xfrm>
              <a:off x="2700000" y="4565160"/>
              <a:ext cx="133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7" name="Freeform: Shape 192"/>
            <p:cNvSpPr/>
            <p:nvPr/>
          </p:nvSpPr>
          <p:spPr>
            <a:xfrm>
              <a:off x="2710800" y="4506840"/>
              <a:ext cx="106920" cy="44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8" name="Straight Connector 197"/>
            <p:cNvSpPr/>
            <p:nvPr/>
          </p:nvSpPr>
          <p:spPr>
            <a:xfrm>
              <a:off x="2766960" y="4424040"/>
              <a:ext cx="0" cy="83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9" name="Freeform: Shape 194"/>
            <p:cNvSpPr/>
            <p:nvPr/>
          </p:nvSpPr>
          <p:spPr>
            <a:xfrm>
              <a:off x="3039120" y="4673160"/>
              <a:ext cx="411480" cy="626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44" h="175" fill="none">
                  <a:moveTo>
                    <a:pt x="0" y="0"/>
                  </a:moveTo>
                  <a:lnTo>
                    <a:pt x="1144" y="0"/>
                  </a:lnTo>
                  <a:lnTo>
                    <a:pt x="1144" y="175"/>
                  </a:lnTo>
                  <a:lnTo>
                    <a:pt x="780" y="175"/>
                  </a:lnTo>
                  <a:lnTo>
                    <a:pt x="780" y="8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0" name="Straight Connector 199"/>
            <p:cNvSpPr/>
            <p:nvPr/>
          </p:nvSpPr>
          <p:spPr>
            <a:xfrm>
              <a:off x="2953800" y="4582440"/>
              <a:ext cx="0" cy="189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1" name="Straight Connector 200"/>
            <p:cNvSpPr/>
            <p:nvPr/>
          </p:nvSpPr>
          <p:spPr>
            <a:xfrm>
              <a:off x="3039120" y="4582440"/>
              <a:ext cx="0" cy="189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2" name="Straight Connector 201"/>
            <p:cNvSpPr/>
            <p:nvPr/>
          </p:nvSpPr>
          <p:spPr>
            <a:xfrm>
              <a:off x="2995560" y="4582440"/>
              <a:ext cx="0" cy="42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3" name="Straight Connector 202"/>
            <p:cNvSpPr/>
            <p:nvPr/>
          </p:nvSpPr>
          <p:spPr>
            <a:xfrm>
              <a:off x="2995560" y="4669920"/>
              <a:ext cx="0" cy="18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4" name="Straight Connector 203"/>
            <p:cNvSpPr/>
            <p:nvPr/>
          </p:nvSpPr>
          <p:spPr>
            <a:xfrm>
              <a:off x="2929679" y="4565160"/>
              <a:ext cx="1339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5" name="Freeform: Shape 200"/>
            <p:cNvSpPr/>
            <p:nvPr/>
          </p:nvSpPr>
          <p:spPr>
            <a:xfrm>
              <a:off x="2940479" y="4506840"/>
              <a:ext cx="106920" cy="44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6" name="Straight Connector 205"/>
            <p:cNvSpPr/>
            <p:nvPr/>
          </p:nvSpPr>
          <p:spPr>
            <a:xfrm>
              <a:off x="2996640" y="4424040"/>
              <a:ext cx="0" cy="83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7" name="Freeform: Shape 202"/>
            <p:cNvSpPr/>
            <p:nvPr/>
          </p:nvSpPr>
          <p:spPr>
            <a:xfrm>
              <a:off x="3064320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8" name="Freeform: Shape 203"/>
            <p:cNvSpPr/>
            <p:nvPr/>
          </p:nvSpPr>
          <p:spPr>
            <a:xfrm>
              <a:off x="3151440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9" name="Freeform: Shape 204"/>
            <p:cNvSpPr/>
            <p:nvPr/>
          </p:nvSpPr>
          <p:spPr>
            <a:xfrm>
              <a:off x="3238560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0" name="Freeform: Shape 205"/>
            <p:cNvSpPr/>
            <p:nvPr/>
          </p:nvSpPr>
          <p:spPr>
            <a:xfrm>
              <a:off x="3325679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1" name="Freeform: Shape 206"/>
            <p:cNvSpPr/>
            <p:nvPr/>
          </p:nvSpPr>
          <p:spPr>
            <a:xfrm>
              <a:off x="2714040" y="4930200"/>
              <a:ext cx="18900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2" name="Freeform: Shape 207"/>
            <p:cNvSpPr/>
            <p:nvPr/>
          </p:nvSpPr>
          <p:spPr>
            <a:xfrm>
              <a:off x="2940120" y="4930200"/>
              <a:ext cx="18864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5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5" y="132"/>
                    <a:pt x="525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3" name="Freeform: Shape 208"/>
            <p:cNvSpPr/>
            <p:nvPr/>
          </p:nvSpPr>
          <p:spPr>
            <a:xfrm>
              <a:off x="3166200" y="4930200"/>
              <a:ext cx="18900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3" y="0"/>
                    <a:pt x="277" y="0"/>
                  </a:cubicBezTo>
                  <a:cubicBezTo>
                    <a:pt x="491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4" name="Straight Connector 213"/>
            <p:cNvSpPr/>
            <p:nvPr/>
          </p:nvSpPr>
          <p:spPr>
            <a:xfrm>
              <a:off x="3506039" y="4715280"/>
              <a:ext cx="5212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5" name="Straight Connector 214"/>
            <p:cNvSpPr/>
            <p:nvPr/>
          </p:nvSpPr>
          <p:spPr>
            <a:xfrm>
              <a:off x="3629160" y="4756680"/>
              <a:ext cx="274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6" name="Straight Connector 215"/>
            <p:cNvSpPr/>
            <p:nvPr/>
          </p:nvSpPr>
          <p:spPr>
            <a:xfrm>
              <a:off x="3711960" y="4797360"/>
              <a:ext cx="109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7" name="Freeform: Shape 212"/>
            <p:cNvSpPr/>
            <p:nvPr/>
          </p:nvSpPr>
          <p:spPr>
            <a:xfrm>
              <a:off x="4082040" y="4701600"/>
              <a:ext cx="54720" cy="1368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3" h="381">
                  <a:moveTo>
                    <a:pt x="153" y="0"/>
                  </a:moveTo>
                  <a:lnTo>
                    <a:pt x="153" y="381"/>
                  </a:lnTo>
                  <a:lnTo>
                    <a:pt x="0" y="25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8" name="Straight Connector 217"/>
            <p:cNvSpPr/>
            <p:nvPr/>
          </p:nvSpPr>
          <p:spPr>
            <a:xfrm>
              <a:off x="4082040" y="4852440"/>
              <a:ext cx="414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9" name="Freeform: Shape 214"/>
            <p:cNvSpPr/>
            <p:nvPr/>
          </p:nvSpPr>
          <p:spPr>
            <a:xfrm>
              <a:off x="3835440" y="4838760"/>
              <a:ext cx="95400" cy="191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6" h="533">
                  <a:moveTo>
                    <a:pt x="266" y="0"/>
                  </a:moveTo>
                  <a:lnTo>
                    <a:pt x="266" y="533"/>
                  </a:lnTo>
                  <a:lnTo>
                    <a:pt x="0" y="35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0" name="Straight Connector 219"/>
            <p:cNvSpPr/>
            <p:nvPr/>
          </p:nvSpPr>
          <p:spPr>
            <a:xfrm>
              <a:off x="3835440" y="5044320"/>
              <a:ext cx="54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1" name="Straight Connector 220"/>
            <p:cNvSpPr/>
            <p:nvPr/>
          </p:nvSpPr>
          <p:spPr>
            <a:xfrm>
              <a:off x="3506039" y="4866120"/>
              <a:ext cx="1094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2" name="Straight Connector 221"/>
            <p:cNvSpPr/>
            <p:nvPr/>
          </p:nvSpPr>
          <p:spPr>
            <a:xfrm>
              <a:off x="3409920" y="4618440"/>
              <a:ext cx="0" cy="55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3" name="Straight Connector 222"/>
            <p:cNvSpPr/>
            <p:nvPr/>
          </p:nvSpPr>
          <p:spPr>
            <a:xfrm>
              <a:off x="4205880" y="4715280"/>
              <a:ext cx="219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4" name="Straight Connector 223"/>
            <p:cNvSpPr/>
            <p:nvPr/>
          </p:nvSpPr>
          <p:spPr>
            <a:xfrm>
              <a:off x="-5216400" y="4862160"/>
              <a:ext cx="190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5" name="Straight Connector 224"/>
            <p:cNvSpPr/>
            <p:nvPr/>
          </p:nvSpPr>
          <p:spPr>
            <a:xfrm>
              <a:off x="-5132520" y="4893480"/>
              <a:ext cx="0" cy="1162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6" name="Straight Connector 225"/>
            <p:cNvSpPr/>
            <p:nvPr/>
          </p:nvSpPr>
          <p:spPr>
            <a:xfrm>
              <a:off x="-4992480" y="4796640"/>
              <a:ext cx="535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7" name="Straight Connector 226"/>
            <p:cNvSpPr/>
            <p:nvPr/>
          </p:nvSpPr>
          <p:spPr>
            <a:xfrm>
              <a:off x="-4873320" y="4839120"/>
              <a:ext cx="289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8" name="Straight Connector 227"/>
            <p:cNvSpPr/>
            <p:nvPr/>
          </p:nvSpPr>
          <p:spPr>
            <a:xfrm>
              <a:off x="-4781520" y="4879440"/>
              <a:ext cx="106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9" name="Straight Connector 228"/>
            <p:cNvSpPr/>
            <p:nvPr/>
          </p:nvSpPr>
          <p:spPr>
            <a:xfrm>
              <a:off x="-4398840" y="4768559"/>
              <a:ext cx="0" cy="32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0" name="Straight Connector 229"/>
            <p:cNvSpPr/>
            <p:nvPr/>
          </p:nvSpPr>
          <p:spPr>
            <a:xfrm>
              <a:off x="-4361040" y="4801320"/>
              <a:ext cx="358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1" name="Freeform: Shape 226"/>
            <p:cNvSpPr/>
            <p:nvPr/>
          </p:nvSpPr>
          <p:spPr>
            <a:xfrm>
              <a:off x="-4316040" y="4453920"/>
              <a:ext cx="516599" cy="330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36" h="918" fill="none">
                  <a:moveTo>
                    <a:pt x="0" y="918"/>
                  </a:moveTo>
                  <a:lnTo>
                    <a:pt x="718" y="0"/>
                  </a:lnTo>
                  <a:lnTo>
                    <a:pt x="1436" y="918"/>
                  </a:lnTo>
                  <a:lnTo>
                    <a:pt x="1436" y="75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2" name="Freeform: Shape 227"/>
            <p:cNvSpPr/>
            <p:nvPr/>
          </p:nvSpPr>
          <p:spPr>
            <a:xfrm>
              <a:off x="-3766320" y="4149360"/>
              <a:ext cx="319680" cy="6735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9" h="1872" fill="none">
                  <a:moveTo>
                    <a:pt x="0" y="1872"/>
                  </a:moveTo>
                  <a:lnTo>
                    <a:pt x="0" y="0"/>
                  </a:lnTo>
                  <a:lnTo>
                    <a:pt x="889" y="0"/>
                  </a:lnTo>
                  <a:lnTo>
                    <a:pt x="889" y="142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3" name="Freeform: Shape 228"/>
            <p:cNvSpPr/>
            <p:nvPr/>
          </p:nvSpPr>
          <p:spPr>
            <a:xfrm>
              <a:off x="-3577320" y="4686480"/>
              <a:ext cx="262080" cy="204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29" h="570" fill="none">
                  <a:moveTo>
                    <a:pt x="0" y="570"/>
                  </a:moveTo>
                  <a:lnTo>
                    <a:pt x="0" y="0"/>
                  </a:lnTo>
                  <a:lnTo>
                    <a:pt x="729" y="0"/>
                  </a:lnTo>
                  <a:lnTo>
                    <a:pt x="729" y="56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4" name="Straight Connector 233"/>
            <p:cNvSpPr/>
            <p:nvPr/>
          </p:nvSpPr>
          <p:spPr>
            <a:xfrm>
              <a:off x="-3409920" y="4643280"/>
              <a:ext cx="7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5" name="Straight Connector 234"/>
            <p:cNvSpPr/>
            <p:nvPr/>
          </p:nvSpPr>
          <p:spPr>
            <a:xfrm>
              <a:off x="-3385440" y="4595040"/>
              <a:ext cx="0" cy="27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6" name="Straight Connector 235"/>
            <p:cNvSpPr/>
            <p:nvPr/>
          </p:nvSpPr>
          <p:spPr>
            <a:xfrm>
              <a:off x="-3625560" y="4035240"/>
              <a:ext cx="39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7" name="Straight Connector 236"/>
            <p:cNvSpPr/>
            <p:nvPr/>
          </p:nvSpPr>
          <p:spPr>
            <a:xfrm>
              <a:off x="-3654360" y="4070160"/>
              <a:ext cx="97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8" name="Freeform: Shape 233"/>
            <p:cNvSpPr/>
            <p:nvPr/>
          </p:nvSpPr>
          <p:spPr>
            <a:xfrm>
              <a:off x="-3675959" y="4097160"/>
              <a:ext cx="142920" cy="51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98" h="145" fill="none">
                  <a:moveTo>
                    <a:pt x="0" y="145"/>
                  </a:moveTo>
                  <a:lnTo>
                    <a:pt x="0" y="0"/>
                  </a:lnTo>
                  <a:lnTo>
                    <a:pt x="398" y="0"/>
                  </a:lnTo>
                  <a:lnTo>
                    <a:pt x="398" y="14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9" name="Straight Connector 238"/>
            <p:cNvSpPr/>
            <p:nvPr/>
          </p:nvSpPr>
          <p:spPr>
            <a:xfrm>
              <a:off x="-3684600" y="4907520"/>
              <a:ext cx="1864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0" name="Straight Connector 239"/>
            <p:cNvSpPr/>
            <p:nvPr/>
          </p:nvSpPr>
          <p:spPr>
            <a:xfrm flipV="1">
              <a:off x="-3395520" y="4727159"/>
              <a:ext cx="0" cy="158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1" name="Straight Connector 240"/>
            <p:cNvSpPr/>
            <p:nvPr/>
          </p:nvSpPr>
          <p:spPr>
            <a:xfrm flipV="1">
              <a:off x="-3260880" y="4207320"/>
              <a:ext cx="0" cy="497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2" name="Straight Connector 241"/>
            <p:cNvSpPr/>
            <p:nvPr/>
          </p:nvSpPr>
          <p:spPr>
            <a:xfrm flipV="1">
              <a:off x="-3137039" y="4207320"/>
              <a:ext cx="0" cy="497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3" name="Freeform: Shape 238"/>
            <p:cNvSpPr/>
            <p:nvPr/>
          </p:nvSpPr>
          <p:spPr>
            <a:xfrm>
              <a:off x="-3254759" y="4184639"/>
              <a:ext cx="110160" cy="33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95" fill="none">
                  <a:moveTo>
                    <a:pt x="0" y="95"/>
                  </a:moveTo>
                  <a:lnTo>
                    <a:pt x="155" y="0"/>
                  </a:lnTo>
                  <a:lnTo>
                    <a:pt x="307" y="9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4" name="Straight Connector 243"/>
            <p:cNvSpPr/>
            <p:nvPr/>
          </p:nvSpPr>
          <p:spPr>
            <a:xfrm flipV="1">
              <a:off x="-3198960" y="4076640"/>
              <a:ext cx="0" cy="107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5" name="Freeform: Shape 240"/>
            <p:cNvSpPr/>
            <p:nvPr/>
          </p:nvSpPr>
          <p:spPr>
            <a:xfrm>
              <a:off x="-3226680" y="4241520"/>
              <a:ext cx="54720" cy="30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3" h="85">
                  <a:moveTo>
                    <a:pt x="76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153" y="0"/>
                  </a:lnTo>
                  <a:lnTo>
                    <a:pt x="153" y="8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6" name="Freeform: Shape 241"/>
            <p:cNvSpPr/>
            <p:nvPr/>
          </p:nvSpPr>
          <p:spPr>
            <a:xfrm>
              <a:off x="-3241080" y="4300560"/>
              <a:ext cx="82080" cy="15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9" h="44">
                  <a:moveTo>
                    <a:pt x="115" y="44"/>
                  </a:moveTo>
                  <a:lnTo>
                    <a:pt x="0" y="44"/>
                  </a:lnTo>
                  <a:lnTo>
                    <a:pt x="0" y="0"/>
                  </a:lnTo>
                  <a:lnTo>
                    <a:pt x="229" y="0"/>
                  </a:lnTo>
                  <a:lnTo>
                    <a:pt x="229" y="4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7" name="Freeform: Shape 242"/>
            <p:cNvSpPr/>
            <p:nvPr/>
          </p:nvSpPr>
          <p:spPr>
            <a:xfrm>
              <a:off x="-3244320" y="433836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8" name="Freeform: Shape 243"/>
            <p:cNvSpPr/>
            <p:nvPr/>
          </p:nvSpPr>
          <p:spPr>
            <a:xfrm>
              <a:off x="-3244320" y="4368239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9" name="Freeform: Shape 244"/>
            <p:cNvSpPr/>
            <p:nvPr/>
          </p:nvSpPr>
          <p:spPr>
            <a:xfrm>
              <a:off x="-3244320" y="439776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0" name="Freeform: Shape 245"/>
            <p:cNvSpPr/>
            <p:nvPr/>
          </p:nvSpPr>
          <p:spPr>
            <a:xfrm>
              <a:off x="-3244320" y="4427279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1" name="Freeform: Shape 246"/>
            <p:cNvSpPr/>
            <p:nvPr/>
          </p:nvSpPr>
          <p:spPr>
            <a:xfrm>
              <a:off x="-3244320" y="445680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2" name="Freeform: Shape 247"/>
            <p:cNvSpPr/>
            <p:nvPr/>
          </p:nvSpPr>
          <p:spPr>
            <a:xfrm>
              <a:off x="-3244320" y="448632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3" name="Freeform: Shape 248"/>
            <p:cNvSpPr/>
            <p:nvPr/>
          </p:nvSpPr>
          <p:spPr>
            <a:xfrm>
              <a:off x="-3244320" y="45158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4" name="Freeform: Shape 249"/>
            <p:cNvSpPr/>
            <p:nvPr/>
          </p:nvSpPr>
          <p:spPr>
            <a:xfrm>
              <a:off x="-3244320" y="454572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5" name="Freeform: Shape 250"/>
            <p:cNvSpPr/>
            <p:nvPr/>
          </p:nvSpPr>
          <p:spPr>
            <a:xfrm>
              <a:off x="-3244320" y="45752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6" name="Freeform: Shape 251"/>
            <p:cNvSpPr/>
            <p:nvPr/>
          </p:nvSpPr>
          <p:spPr>
            <a:xfrm>
              <a:off x="-3244320" y="4604759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7" name="Freeform: Shape 252"/>
            <p:cNvSpPr/>
            <p:nvPr/>
          </p:nvSpPr>
          <p:spPr>
            <a:xfrm>
              <a:off x="-3244320" y="46346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8" name="Freeform: Shape 253"/>
            <p:cNvSpPr/>
            <p:nvPr/>
          </p:nvSpPr>
          <p:spPr>
            <a:xfrm>
              <a:off x="-3244320" y="466452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9" name="Freeform: Shape 254"/>
            <p:cNvSpPr/>
            <p:nvPr/>
          </p:nvSpPr>
          <p:spPr>
            <a:xfrm>
              <a:off x="-3244320" y="46940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0" name="Freeform: Shape 255"/>
            <p:cNvSpPr/>
            <p:nvPr/>
          </p:nvSpPr>
          <p:spPr>
            <a:xfrm>
              <a:off x="-3121200" y="441252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1" name="Freeform: Shape 256"/>
            <p:cNvSpPr/>
            <p:nvPr/>
          </p:nvSpPr>
          <p:spPr>
            <a:xfrm>
              <a:off x="-3121200" y="443268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2" name="Freeform: Shape 257"/>
            <p:cNvSpPr/>
            <p:nvPr/>
          </p:nvSpPr>
          <p:spPr>
            <a:xfrm>
              <a:off x="-3121200" y="445248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3" name="Freeform: Shape 258"/>
            <p:cNvSpPr/>
            <p:nvPr/>
          </p:nvSpPr>
          <p:spPr>
            <a:xfrm>
              <a:off x="-3121200" y="44726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4" name="Freeform: Shape 259"/>
            <p:cNvSpPr/>
            <p:nvPr/>
          </p:nvSpPr>
          <p:spPr>
            <a:xfrm>
              <a:off x="-3121200" y="449280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5" name="Freeform: Shape 260"/>
            <p:cNvSpPr/>
            <p:nvPr/>
          </p:nvSpPr>
          <p:spPr>
            <a:xfrm>
              <a:off x="-3121200" y="451296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6" name="Freeform: Shape 261"/>
            <p:cNvSpPr/>
            <p:nvPr/>
          </p:nvSpPr>
          <p:spPr>
            <a:xfrm>
              <a:off x="-3121200" y="453312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7" name="Freeform: Shape 262"/>
            <p:cNvSpPr/>
            <p:nvPr/>
          </p:nvSpPr>
          <p:spPr>
            <a:xfrm>
              <a:off x="-3121200" y="45536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8" name="Freeform: Shape 263"/>
            <p:cNvSpPr/>
            <p:nvPr/>
          </p:nvSpPr>
          <p:spPr>
            <a:xfrm>
              <a:off x="-3121200" y="45734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9" name="Freeform: Shape 264"/>
            <p:cNvSpPr/>
            <p:nvPr/>
          </p:nvSpPr>
          <p:spPr>
            <a:xfrm>
              <a:off x="-3121200" y="459360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0" name="Freeform: Shape 265"/>
            <p:cNvSpPr/>
            <p:nvPr/>
          </p:nvSpPr>
          <p:spPr>
            <a:xfrm>
              <a:off x="-3121200" y="461376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1" name="Freeform: Shape 266"/>
            <p:cNvSpPr/>
            <p:nvPr/>
          </p:nvSpPr>
          <p:spPr>
            <a:xfrm>
              <a:off x="-3121200" y="463392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2" name="Freeform: Shape 267"/>
            <p:cNvSpPr/>
            <p:nvPr/>
          </p:nvSpPr>
          <p:spPr>
            <a:xfrm>
              <a:off x="-3121200" y="465408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3" name="Freeform: Shape 268"/>
            <p:cNvSpPr/>
            <p:nvPr/>
          </p:nvSpPr>
          <p:spPr>
            <a:xfrm>
              <a:off x="-3121200" y="46742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4" name="Freeform: Shape 269"/>
            <p:cNvSpPr/>
            <p:nvPr/>
          </p:nvSpPr>
          <p:spPr>
            <a:xfrm>
              <a:off x="-3121200" y="4694759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5" name="Straight Connector 274"/>
            <p:cNvSpPr/>
            <p:nvPr/>
          </p:nvSpPr>
          <p:spPr>
            <a:xfrm>
              <a:off x="-2967839" y="4408200"/>
              <a:ext cx="0" cy="29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6" name="Freeform: Shape 271"/>
            <p:cNvSpPr/>
            <p:nvPr/>
          </p:nvSpPr>
          <p:spPr>
            <a:xfrm>
              <a:off x="-3223800" y="4715640"/>
              <a:ext cx="615240" cy="100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10" h="279" fill="none">
                  <a:moveTo>
                    <a:pt x="0" y="0"/>
                  </a:moveTo>
                  <a:lnTo>
                    <a:pt x="1034" y="0"/>
                  </a:lnTo>
                  <a:lnTo>
                    <a:pt x="1034" y="170"/>
                  </a:lnTo>
                  <a:lnTo>
                    <a:pt x="1710" y="170"/>
                  </a:lnTo>
                  <a:lnTo>
                    <a:pt x="1710" y="27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7" name="Freeform: Shape 272"/>
            <p:cNvSpPr/>
            <p:nvPr/>
          </p:nvSpPr>
          <p:spPr>
            <a:xfrm>
              <a:off x="-2857680" y="4826160"/>
              <a:ext cx="456119" cy="49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68" h="138" fill="none">
                  <a:moveTo>
                    <a:pt x="0" y="0"/>
                  </a:moveTo>
                  <a:lnTo>
                    <a:pt x="491" y="0"/>
                  </a:lnTo>
                  <a:lnTo>
                    <a:pt x="491" y="138"/>
                  </a:lnTo>
                  <a:lnTo>
                    <a:pt x="1268" y="13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8" name="Straight Connector 277"/>
            <p:cNvSpPr/>
            <p:nvPr/>
          </p:nvSpPr>
          <p:spPr>
            <a:xfrm>
              <a:off x="-3296520" y="4572360"/>
              <a:ext cx="0" cy="136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9" name="Straight Connector 278"/>
            <p:cNvSpPr/>
            <p:nvPr/>
          </p:nvSpPr>
          <p:spPr>
            <a:xfrm>
              <a:off x="-3279600" y="4572360"/>
              <a:ext cx="0" cy="136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0" name="Freeform: Shape 275"/>
            <p:cNvSpPr/>
            <p:nvPr/>
          </p:nvSpPr>
          <p:spPr>
            <a:xfrm>
              <a:off x="-3272400" y="4766040"/>
              <a:ext cx="179280" cy="95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99" h="267" fill="none">
                  <a:moveTo>
                    <a:pt x="0" y="267"/>
                  </a:moveTo>
                  <a:lnTo>
                    <a:pt x="0" y="0"/>
                  </a:lnTo>
                  <a:lnTo>
                    <a:pt x="499" y="0"/>
                  </a:lnTo>
                  <a:lnTo>
                    <a:pt x="499" y="26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1" name="Freeform: Shape 276"/>
            <p:cNvSpPr/>
            <p:nvPr/>
          </p:nvSpPr>
          <p:spPr>
            <a:xfrm>
              <a:off x="-3244320" y="4791240"/>
              <a:ext cx="97200" cy="24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1" h="70">
                  <a:moveTo>
                    <a:pt x="135" y="70"/>
                  </a:moveTo>
                  <a:lnTo>
                    <a:pt x="0" y="70"/>
                  </a:lnTo>
                  <a:lnTo>
                    <a:pt x="0" y="0"/>
                  </a:lnTo>
                  <a:lnTo>
                    <a:pt x="271" y="0"/>
                  </a:lnTo>
                  <a:lnTo>
                    <a:pt x="271" y="7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2" name="Freeform: Shape 277"/>
            <p:cNvSpPr/>
            <p:nvPr/>
          </p:nvSpPr>
          <p:spPr>
            <a:xfrm>
              <a:off x="-3013560" y="4733279"/>
              <a:ext cx="138240" cy="22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85" h="64">
                  <a:moveTo>
                    <a:pt x="192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385" y="0"/>
                  </a:lnTo>
                  <a:lnTo>
                    <a:pt x="385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3" name="Freeform: Shape 278"/>
            <p:cNvSpPr/>
            <p:nvPr/>
          </p:nvSpPr>
          <p:spPr>
            <a:xfrm>
              <a:off x="-2806920" y="4721760"/>
              <a:ext cx="83880" cy="22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4" h="64">
                  <a:moveTo>
                    <a:pt x="117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234" y="0"/>
                  </a:lnTo>
                  <a:lnTo>
                    <a:pt x="234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4" name="Freeform: Shape 279"/>
            <p:cNvSpPr/>
            <p:nvPr/>
          </p:nvSpPr>
          <p:spPr>
            <a:xfrm>
              <a:off x="-2592360" y="4716000"/>
              <a:ext cx="77760" cy="52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7" h="146">
                  <a:moveTo>
                    <a:pt x="109" y="146"/>
                  </a:moveTo>
                  <a:lnTo>
                    <a:pt x="0" y="146"/>
                  </a:lnTo>
                  <a:lnTo>
                    <a:pt x="0" y="0"/>
                  </a:lnTo>
                  <a:lnTo>
                    <a:pt x="217" y="0"/>
                  </a:lnTo>
                  <a:lnTo>
                    <a:pt x="217" y="14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5" name="Freeform: Shape 280"/>
            <p:cNvSpPr/>
            <p:nvPr/>
          </p:nvSpPr>
          <p:spPr>
            <a:xfrm>
              <a:off x="-2577240" y="4798080"/>
              <a:ext cx="29520" cy="50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3" h="141">
                  <a:moveTo>
                    <a:pt x="42" y="141"/>
                  </a:moveTo>
                  <a:lnTo>
                    <a:pt x="0" y="141"/>
                  </a:lnTo>
                  <a:lnTo>
                    <a:pt x="0" y="0"/>
                  </a:lnTo>
                  <a:lnTo>
                    <a:pt x="83" y="0"/>
                  </a:lnTo>
                  <a:lnTo>
                    <a:pt x="83" y="141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6" name="Freeform: Shape 281"/>
            <p:cNvSpPr/>
            <p:nvPr/>
          </p:nvSpPr>
          <p:spPr>
            <a:xfrm>
              <a:off x="-2904480" y="4563000"/>
              <a:ext cx="56880" cy="18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9" h="53">
                  <a:moveTo>
                    <a:pt x="80" y="53"/>
                  </a:moveTo>
                  <a:lnTo>
                    <a:pt x="0" y="53"/>
                  </a:lnTo>
                  <a:lnTo>
                    <a:pt x="0" y="0"/>
                  </a:lnTo>
                  <a:lnTo>
                    <a:pt x="159" y="0"/>
                  </a:lnTo>
                  <a:lnTo>
                    <a:pt x="159" y="5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7" name="Freeform: Shape 282"/>
            <p:cNvSpPr/>
            <p:nvPr/>
          </p:nvSpPr>
          <p:spPr>
            <a:xfrm>
              <a:off x="-2922479" y="4545720"/>
              <a:ext cx="129240" cy="151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0" h="421" fill="none">
                  <a:moveTo>
                    <a:pt x="0" y="421"/>
                  </a:moveTo>
                  <a:lnTo>
                    <a:pt x="0" y="0"/>
                  </a:lnTo>
                  <a:lnTo>
                    <a:pt x="360" y="0"/>
                  </a:lnTo>
                  <a:lnTo>
                    <a:pt x="360" y="42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8" name="Freeform: Shape 283"/>
            <p:cNvSpPr/>
            <p:nvPr/>
          </p:nvSpPr>
          <p:spPr>
            <a:xfrm>
              <a:off x="-3839400" y="4632120"/>
              <a:ext cx="39960" cy="57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" h="162">
                  <a:moveTo>
                    <a:pt x="56" y="162"/>
                  </a:moveTo>
                  <a:lnTo>
                    <a:pt x="0" y="162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16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9" name="Freeform: Shape 284"/>
            <p:cNvSpPr/>
            <p:nvPr/>
          </p:nvSpPr>
          <p:spPr>
            <a:xfrm>
              <a:off x="-3866039" y="4824360"/>
              <a:ext cx="69840" cy="23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95" h="65">
                  <a:moveTo>
                    <a:pt x="98" y="65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195" y="0"/>
                  </a:lnTo>
                  <a:lnTo>
                    <a:pt x="195" y="6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0" name="Freeform: Shape 285"/>
            <p:cNvSpPr/>
            <p:nvPr/>
          </p:nvSpPr>
          <p:spPr>
            <a:xfrm>
              <a:off x="-1710720" y="4671000"/>
              <a:ext cx="32400" cy="59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1" h="166">
                  <a:moveTo>
                    <a:pt x="46" y="166"/>
                  </a:moveTo>
                  <a:lnTo>
                    <a:pt x="0" y="166"/>
                  </a:lnTo>
                  <a:lnTo>
                    <a:pt x="0" y="0"/>
                  </a:lnTo>
                  <a:lnTo>
                    <a:pt x="91" y="0"/>
                  </a:lnTo>
                  <a:lnTo>
                    <a:pt x="91" y="16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1" name="Freeform: Shape 286"/>
            <p:cNvSpPr/>
            <p:nvPr/>
          </p:nvSpPr>
          <p:spPr>
            <a:xfrm>
              <a:off x="-1661759" y="4772520"/>
              <a:ext cx="56160" cy="21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7" h="60">
                  <a:moveTo>
                    <a:pt x="79" y="60"/>
                  </a:moveTo>
                  <a:lnTo>
                    <a:pt x="0" y="60"/>
                  </a:lnTo>
                  <a:lnTo>
                    <a:pt x="0" y="0"/>
                  </a:lnTo>
                  <a:lnTo>
                    <a:pt x="157" y="0"/>
                  </a:lnTo>
                  <a:lnTo>
                    <a:pt x="157" y="6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2" name="Freeform: Shape 287"/>
            <p:cNvSpPr/>
            <p:nvPr/>
          </p:nvSpPr>
          <p:spPr>
            <a:xfrm>
              <a:off x="-1556279" y="4707360"/>
              <a:ext cx="15120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1" h="132">
                  <a:moveTo>
                    <a:pt x="211" y="132"/>
                  </a:moveTo>
                  <a:lnTo>
                    <a:pt x="0" y="132"/>
                  </a:lnTo>
                  <a:lnTo>
                    <a:pt x="0" y="0"/>
                  </a:lnTo>
                  <a:lnTo>
                    <a:pt x="421" y="0"/>
                  </a:lnTo>
                  <a:lnTo>
                    <a:pt x="421" y="13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3" name="Straight Connector 292"/>
            <p:cNvSpPr/>
            <p:nvPr/>
          </p:nvSpPr>
          <p:spPr>
            <a:xfrm>
              <a:off x="-3120120" y="4336200"/>
              <a:ext cx="47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4" name="Straight Connector 293"/>
            <p:cNvSpPr/>
            <p:nvPr/>
          </p:nvSpPr>
          <p:spPr>
            <a:xfrm>
              <a:off x="-3120120" y="4360680"/>
              <a:ext cx="47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5" name="Straight Connector 294"/>
            <p:cNvSpPr/>
            <p:nvPr/>
          </p:nvSpPr>
          <p:spPr>
            <a:xfrm>
              <a:off x="-3120120" y="4385520"/>
              <a:ext cx="47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6" name="Straight Connector 295"/>
            <p:cNvSpPr/>
            <p:nvPr/>
          </p:nvSpPr>
          <p:spPr>
            <a:xfrm>
              <a:off x="-3106079" y="4290480"/>
              <a:ext cx="0" cy="27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7" name="Straight Connector 296"/>
            <p:cNvSpPr/>
            <p:nvPr/>
          </p:nvSpPr>
          <p:spPr>
            <a:xfrm>
              <a:off x="-2738519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8" name="Straight Connector 297"/>
            <p:cNvSpPr/>
            <p:nvPr/>
          </p:nvSpPr>
          <p:spPr>
            <a:xfrm>
              <a:off x="-271764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9" name="Straight Connector 298"/>
            <p:cNvSpPr/>
            <p:nvPr/>
          </p:nvSpPr>
          <p:spPr>
            <a:xfrm>
              <a:off x="-269676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0" name="Straight Connector 299"/>
            <p:cNvSpPr/>
            <p:nvPr/>
          </p:nvSpPr>
          <p:spPr>
            <a:xfrm>
              <a:off x="-267588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1" name="Straight Connector 300"/>
            <p:cNvSpPr/>
            <p:nvPr/>
          </p:nvSpPr>
          <p:spPr>
            <a:xfrm>
              <a:off x="-265500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2" name="Straight Connector 301"/>
            <p:cNvSpPr/>
            <p:nvPr/>
          </p:nvSpPr>
          <p:spPr>
            <a:xfrm>
              <a:off x="-2634119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3" name="Straight Connector 302"/>
            <p:cNvSpPr/>
            <p:nvPr/>
          </p:nvSpPr>
          <p:spPr>
            <a:xfrm>
              <a:off x="-261288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4" name="Straight Connector 303"/>
            <p:cNvSpPr/>
            <p:nvPr/>
          </p:nvSpPr>
          <p:spPr>
            <a:xfrm>
              <a:off x="-259236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5" name="Straight Connector 304"/>
            <p:cNvSpPr/>
            <p:nvPr/>
          </p:nvSpPr>
          <p:spPr>
            <a:xfrm>
              <a:off x="-1901520" y="4359240"/>
              <a:ext cx="0" cy="460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6" name="Straight Connector 305"/>
            <p:cNvSpPr/>
            <p:nvPr/>
          </p:nvSpPr>
          <p:spPr>
            <a:xfrm>
              <a:off x="-1745640" y="4359240"/>
              <a:ext cx="0" cy="460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7" name="Freeform: Shape 302"/>
            <p:cNvSpPr/>
            <p:nvPr/>
          </p:nvSpPr>
          <p:spPr>
            <a:xfrm>
              <a:off x="-2757960" y="4209840"/>
              <a:ext cx="182520" cy="500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08" h="1390" fill="none">
                  <a:moveTo>
                    <a:pt x="0" y="1390"/>
                  </a:moveTo>
                  <a:lnTo>
                    <a:pt x="0" y="0"/>
                  </a:lnTo>
                  <a:lnTo>
                    <a:pt x="508" y="0"/>
                  </a:lnTo>
                  <a:lnTo>
                    <a:pt x="508" y="138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8" name="Straight Connector 307"/>
            <p:cNvSpPr/>
            <p:nvPr/>
          </p:nvSpPr>
          <p:spPr>
            <a:xfrm>
              <a:off x="-2769480" y="4182479"/>
              <a:ext cx="2084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9" name="Straight Connector 308"/>
            <p:cNvSpPr/>
            <p:nvPr/>
          </p:nvSpPr>
          <p:spPr>
            <a:xfrm>
              <a:off x="-2526480" y="4595040"/>
              <a:ext cx="0" cy="514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0" name="Straight Connector 309"/>
            <p:cNvSpPr/>
            <p:nvPr/>
          </p:nvSpPr>
          <p:spPr>
            <a:xfrm>
              <a:off x="-2555640" y="4651560"/>
              <a:ext cx="58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1" name="Straight Connector 310"/>
            <p:cNvSpPr/>
            <p:nvPr/>
          </p:nvSpPr>
          <p:spPr>
            <a:xfrm>
              <a:off x="-2212560" y="4663800"/>
              <a:ext cx="1022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2" name="Straight Connector 311"/>
            <p:cNvSpPr/>
            <p:nvPr/>
          </p:nvSpPr>
          <p:spPr>
            <a:xfrm>
              <a:off x="-2124720" y="4632120"/>
              <a:ext cx="0" cy="291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3" name="Straight Connector 312"/>
            <p:cNvSpPr/>
            <p:nvPr/>
          </p:nvSpPr>
          <p:spPr>
            <a:xfrm>
              <a:off x="-2022840" y="4656600"/>
              <a:ext cx="1094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4" name="Straight Connector 313"/>
            <p:cNvSpPr/>
            <p:nvPr/>
          </p:nvSpPr>
          <p:spPr>
            <a:xfrm>
              <a:off x="-1966680" y="4598640"/>
              <a:ext cx="0" cy="424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5" name="Straight Connector 314"/>
            <p:cNvSpPr/>
            <p:nvPr/>
          </p:nvSpPr>
          <p:spPr>
            <a:xfrm>
              <a:off x="-1980360" y="4830480"/>
              <a:ext cx="0" cy="80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6" name="Straight Connector 315"/>
            <p:cNvSpPr/>
            <p:nvPr/>
          </p:nvSpPr>
          <p:spPr>
            <a:xfrm>
              <a:off x="-1877760" y="4881960"/>
              <a:ext cx="175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7" name="Straight Connector 316"/>
            <p:cNvSpPr/>
            <p:nvPr/>
          </p:nvSpPr>
          <p:spPr>
            <a:xfrm>
              <a:off x="-1885680" y="4794120"/>
              <a:ext cx="124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8" name="Straight Connector 317"/>
            <p:cNvSpPr/>
            <p:nvPr/>
          </p:nvSpPr>
          <p:spPr>
            <a:xfrm>
              <a:off x="-1885680" y="4643640"/>
              <a:ext cx="124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9" name="Straight Connector 318"/>
            <p:cNvSpPr/>
            <p:nvPr/>
          </p:nvSpPr>
          <p:spPr>
            <a:xfrm>
              <a:off x="-1885680" y="4496760"/>
              <a:ext cx="124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0" name="Straight Connector 319"/>
            <p:cNvSpPr/>
            <p:nvPr/>
          </p:nvSpPr>
          <p:spPr>
            <a:xfrm>
              <a:off x="-1866599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1" name="Straight Connector 320"/>
            <p:cNvSpPr/>
            <p:nvPr/>
          </p:nvSpPr>
          <p:spPr>
            <a:xfrm>
              <a:off x="-1837799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2" name="Straight Connector 321"/>
            <p:cNvSpPr/>
            <p:nvPr/>
          </p:nvSpPr>
          <p:spPr>
            <a:xfrm>
              <a:off x="-1808999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3" name="Straight Connector 322"/>
            <p:cNvSpPr/>
            <p:nvPr/>
          </p:nvSpPr>
          <p:spPr>
            <a:xfrm>
              <a:off x="-1780560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4" name="Straight Connector 323"/>
            <p:cNvSpPr/>
            <p:nvPr/>
          </p:nvSpPr>
          <p:spPr>
            <a:xfrm>
              <a:off x="-1866599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5" name="Straight Connector 324"/>
            <p:cNvSpPr/>
            <p:nvPr/>
          </p:nvSpPr>
          <p:spPr>
            <a:xfrm>
              <a:off x="-1837799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6" name="Straight Connector 325"/>
            <p:cNvSpPr/>
            <p:nvPr/>
          </p:nvSpPr>
          <p:spPr>
            <a:xfrm>
              <a:off x="-1808999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7" name="Straight Connector 326"/>
            <p:cNvSpPr/>
            <p:nvPr/>
          </p:nvSpPr>
          <p:spPr>
            <a:xfrm>
              <a:off x="-1780560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8" name="Straight Connector 327"/>
            <p:cNvSpPr/>
            <p:nvPr/>
          </p:nvSpPr>
          <p:spPr>
            <a:xfrm>
              <a:off x="-1866599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9" name="Straight Connector 328"/>
            <p:cNvSpPr/>
            <p:nvPr/>
          </p:nvSpPr>
          <p:spPr>
            <a:xfrm>
              <a:off x="-1837799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0" name="Straight Connector 329"/>
            <p:cNvSpPr/>
            <p:nvPr/>
          </p:nvSpPr>
          <p:spPr>
            <a:xfrm>
              <a:off x="-1808999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1" name="Straight Connector 330"/>
            <p:cNvSpPr/>
            <p:nvPr/>
          </p:nvSpPr>
          <p:spPr>
            <a:xfrm>
              <a:off x="-1780560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2" name="Freeform: Shape 327"/>
            <p:cNvSpPr/>
            <p:nvPr/>
          </p:nvSpPr>
          <p:spPr>
            <a:xfrm>
              <a:off x="-1891800" y="4267800"/>
              <a:ext cx="136080" cy="78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79" h="218">
                  <a:moveTo>
                    <a:pt x="0" y="218"/>
                  </a:moveTo>
                  <a:lnTo>
                    <a:pt x="379" y="218"/>
                  </a:lnTo>
                  <a:lnTo>
                    <a:pt x="309" y="0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3" name="Freeform: Shape 328"/>
            <p:cNvSpPr/>
            <p:nvPr/>
          </p:nvSpPr>
          <p:spPr>
            <a:xfrm>
              <a:off x="-3009240" y="4879440"/>
              <a:ext cx="981000" cy="39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26" h="111" fill="none">
                  <a:moveTo>
                    <a:pt x="0" y="90"/>
                  </a:moveTo>
                  <a:lnTo>
                    <a:pt x="190" y="0"/>
                  </a:lnTo>
                  <a:lnTo>
                    <a:pt x="782" y="0"/>
                  </a:lnTo>
                  <a:lnTo>
                    <a:pt x="782" y="111"/>
                  </a:lnTo>
                  <a:lnTo>
                    <a:pt x="2726" y="11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4" name="Freeform: Shape 329"/>
            <p:cNvSpPr/>
            <p:nvPr/>
          </p:nvSpPr>
          <p:spPr>
            <a:xfrm>
              <a:off x="-2525400" y="4731480"/>
              <a:ext cx="414720" cy="110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53" h="307" fill="none">
                  <a:moveTo>
                    <a:pt x="0" y="307"/>
                  </a:moveTo>
                  <a:lnTo>
                    <a:pt x="658" y="307"/>
                  </a:lnTo>
                  <a:lnTo>
                    <a:pt x="658" y="88"/>
                  </a:lnTo>
                  <a:lnTo>
                    <a:pt x="973" y="88"/>
                  </a:lnTo>
                  <a:lnTo>
                    <a:pt x="973" y="0"/>
                  </a:lnTo>
                  <a:lnTo>
                    <a:pt x="1153" y="0"/>
                  </a:lnTo>
                  <a:lnTo>
                    <a:pt x="1153" y="236"/>
                  </a:lnTo>
                  <a:lnTo>
                    <a:pt x="936" y="23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5" name="Freeform: Shape 330"/>
            <p:cNvSpPr/>
            <p:nvPr/>
          </p:nvSpPr>
          <p:spPr>
            <a:xfrm>
              <a:off x="-2084040" y="4683240"/>
              <a:ext cx="55800" cy="38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6" h="107" fill="none">
                  <a:moveTo>
                    <a:pt x="0" y="95"/>
                  </a:moveTo>
                  <a:lnTo>
                    <a:pt x="0" y="0"/>
                  </a:lnTo>
                  <a:lnTo>
                    <a:pt x="156" y="0"/>
                  </a:lnTo>
                  <a:lnTo>
                    <a:pt x="156" y="10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6" name="Freeform: Shape 331"/>
            <p:cNvSpPr/>
            <p:nvPr/>
          </p:nvSpPr>
          <p:spPr>
            <a:xfrm>
              <a:off x="-2032560" y="4742280"/>
              <a:ext cx="95760" cy="39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7" h="110" fill="none">
                  <a:moveTo>
                    <a:pt x="267" y="0"/>
                  </a:moveTo>
                  <a:lnTo>
                    <a:pt x="0" y="0"/>
                  </a:lnTo>
                  <a:lnTo>
                    <a:pt x="0" y="110"/>
                  </a:lnTo>
                  <a:lnTo>
                    <a:pt x="267" y="11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7" name="Freeform: Shape 332"/>
            <p:cNvSpPr/>
            <p:nvPr/>
          </p:nvSpPr>
          <p:spPr>
            <a:xfrm>
              <a:off x="-1643039" y="4342320"/>
              <a:ext cx="252000" cy="36899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1" h="1026">
                  <a:moveTo>
                    <a:pt x="0" y="1026"/>
                  </a:moveTo>
                  <a:lnTo>
                    <a:pt x="0" y="93"/>
                  </a:lnTo>
                  <a:cubicBezTo>
                    <a:pt x="0" y="93"/>
                    <a:pt x="-13" y="0"/>
                    <a:pt x="340" y="0"/>
                  </a:cubicBezTo>
                  <a:cubicBezTo>
                    <a:pt x="718" y="0"/>
                    <a:pt x="701" y="98"/>
                    <a:pt x="701" y="98"/>
                  </a:cubicBezTo>
                  <a:lnTo>
                    <a:pt x="701" y="1003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8" name="Straight Connector 337"/>
            <p:cNvSpPr/>
            <p:nvPr/>
          </p:nvSpPr>
          <p:spPr>
            <a:xfrm>
              <a:off x="-1589040" y="4842720"/>
              <a:ext cx="806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9" name="Straight Connector 338"/>
            <p:cNvSpPr/>
            <p:nvPr/>
          </p:nvSpPr>
          <p:spPr>
            <a:xfrm>
              <a:off x="-1377000" y="4817160"/>
              <a:ext cx="3128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0" name="Straight Connector 339"/>
            <p:cNvSpPr/>
            <p:nvPr/>
          </p:nvSpPr>
          <p:spPr>
            <a:xfrm>
              <a:off x="-1046520" y="4794120"/>
              <a:ext cx="0" cy="1094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1" name="Freeform: Shape 336"/>
            <p:cNvSpPr/>
            <p:nvPr/>
          </p:nvSpPr>
          <p:spPr>
            <a:xfrm>
              <a:off x="-1307519" y="4671000"/>
              <a:ext cx="417240" cy="1713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60" h="477" fill="none">
                  <a:moveTo>
                    <a:pt x="840" y="282"/>
                  </a:moveTo>
                  <a:lnTo>
                    <a:pt x="840" y="477"/>
                  </a:lnTo>
                  <a:lnTo>
                    <a:pt x="1160" y="477"/>
                  </a:lnTo>
                  <a:lnTo>
                    <a:pt x="1160" y="312"/>
                  </a:lnTo>
                  <a:lnTo>
                    <a:pt x="1020" y="312"/>
                  </a:lnTo>
                  <a:lnTo>
                    <a:pt x="1020" y="176"/>
                  </a:lnTo>
                  <a:lnTo>
                    <a:pt x="288" y="176"/>
                  </a:lnTo>
                  <a:lnTo>
                    <a:pt x="288" y="0"/>
                  </a:lnTo>
                  <a:lnTo>
                    <a:pt x="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2" name="Straight Connector 341"/>
            <p:cNvSpPr/>
            <p:nvPr/>
          </p:nvSpPr>
          <p:spPr>
            <a:xfrm>
              <a:off x="-1122120" y="4694040"/>
              <a:ext cx="0" cy="377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3" name="Straight Connector 342"/>
            <p:cNvSpPr/>
            <p:nvPr/>
          </p:nvSpPr>
          <p:spPr>
            <a:xfrm>
              <a:off x="-1715400" y="4609800"/>
              <a:ext cx="0" cy="262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4" name="Freeform: Shape 339"/>
            <p:cNvSpPr/>
            <p:nvPr/>
          </p:nvSpPr>
          <p:spPr>
            <a:xfrm>
              <a:off x="-1364760" y="4393800"/>
              <a:ext cx="32760" cy="337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" h="939">
                  <a:moveTo>
                    <a:pt x="46" y="939"/>
                  </a:moveTo>
                  <a:lnTo>
                    <a:pt x="0" y="939"/>
                  </a:lnTo>
                  <a:lnTo>
                    <a:pt x="0" y="0"/>
                  </a:lnTo>
                  <a:lnTo>
                    <a:pt x="92" y="0"/>
                  </a:lnTo>
                  <a:lnTo>
                    <a:pt x="92" y="93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5" name="Straight Connector 344"/>
            <p:cNvSpPr/>
            <p:nvPr/>
          </p:nvSpPr>
          <p:spPr>
            <a:xfrm>
              <a:off x="-3700440" y="4998600"/>
              <a:ext cx="0" cy="72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6" name="Straight Connector 345"/>
            <p:cNvSpPr/>
            <p:nvPr/>
          </p:nvSpPr>
          <p:spPr>
            <a:xfrm>
              <a:off x="-2594520" y="5011200"/>
              <a:ext cx="0" cy="64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7" name="Freeform: Shape 342"/>
            <p:cNvSpPr/>
            <p:nvPr/>
          </p:nvSpPr>
          <p:spPr>
            <a:xfrm>
              <a:off x="-4553279" y="4837680"/>
              <a:ext cx="3673080" cy="111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04" h="311">
                  <a:moveTo>
                    <a:pt x="10204" y="309"/>
                  </a:moveTo>
                  <a:lnTo>
                    <a:pt x="3216" y="309"/>
                  </a:lnTo>
                  <a:cubicBezTo>
                    <a:pt x="3216" y="309"/>
                    <a:pt x="0" y="336"/>
                    <a:pt x="0" y="129"/>
                  </a:cubicBezTo>
                  <a:cubicBezTo>
                    <a:pt x="0" y="-37"/>
                    <a:pt x="1652" y="4"/>
                    <a:pt x="1652" y="4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8" name="Freeform: Shape 343"/>
            <p:cNvSpPr/>
            <p:nvPr/>
          </p:nvSpPr>
          <p:spPr>
            <a:xfrm>
              <a:off x="-4382640" y="4862160"/>
              <a:ext cx="478440" cy="30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30" h="87" fill="none">
                  <a:moveTo>
                    <a:pt x="0" y="87"/>
                  </a:moveTo>
                  <a:lnTo>
                    <a:pt x="248" y="0"/>
                  </a:lnTo>
                  <a:lnTo>
                    <a:pt x="133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9" name="Straight Connector 348"/>
            <p:cNvSpPr/>
            <p:nvPr/>
          </p:nvSpPr>
          <p:spPr>
            <a:xfrm>
              <a:off x="-4212720" y="4979160"/>
              <a:ext cx="3232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0" name="Straight Connector 349"/>
            <p:cNvSpPr/>
            <p:nvPr/>
          </p:nvSpPr>
          <p:spPr>
            <a:xfrm>
              <a:off x="-4090320" y="5024520"/>
              <a:ext cx="103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1" name="Straight Connector 350"/>
            <p:cNvSpPr/>
            <p:nvPr/>
          </p:nvSpPr>
          <p:spPr>
            <a:xfrm>
              <a:off x="-3622320" y="4978080"/>
              <a:ext cx="148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2" name="Straight Connector 351"/>
            <p:cNvSpPr/>
            <p:nvPr/>
          </p:nvSpPr>
          <p:spPr>
            <a:xfrm>
              <a:off x="-2055960" y="4992840"/>
              <a:ext cx="295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3" name="Straight Connector 352"/>
            <p:cNvSpPr/>
            <p:nvPr/>
          </p:nvSpPr>
          <p:spPr>
            <a:xfrm>
              <a:off x="-1899720" y="5032800"/>
              <a:ext cx="149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4" name="Straight Connector 353"/>
            <p:cNvSpPr/>
            <p:nvPr/>
          </p:nvSpPr>
          <p:spPr>
            <a:xfrm>
              <a:off x="-1457280" y="4979160"/>
              <a:ext cx="5522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5" name="Straight Connector 354"/>
            <p:cNvSpPr/>
            <p:nvPr/>
          </p:nvSpPr>
          <p:spPr>
            <a:xfrm>
              <a:off x="-3120120" y="4881960"/>
              <a:ext cx="500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6" name="Freeform: Shape 351"/>
            <p:cNvSpPr/>
            <p:nvPr/>
          </p:nvSpPr>
          <p:spPr>
            <a:xfrm>
              <a:off x="-2479320" y="4246200"/>
              <a:ext cx="265680" cy="587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39" h="1634" fill="none">
                  <a:moveTo>
                    <a:pt x="0" y="1634"/>
                  </a:moveTo>
                  <a:lnTo>
                    <a:pt x="0" y="0"/>
                  </a:lnTo>
                  <a:lnTo>
                    <a:pt x="739" y="0"/>
                  </a:lnTo>
                  <a:lnTo>
                    <a:pt x="739" y="136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7" name="Straight Connector 356"/>
            <p:cNvSpPr/>
            <p:nvPr/>
          </p:nvSpPr>
          <p:spPr>
            <a:xfrm>
              <a:off x="-2479320" y="43326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8" name="Straight Connector 357"/>
            <p:cNvSpPr/>
            <p:nvPr/>
          </p:nvSpPr>
          <p:spPr>
            <a:xfrm>
              <a:off x="-2479320" y="437256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9" name="Straight Connector 358"/>
            <p:cNvSpPr/>
            <p:nvPr/>
          </p:nvSpPr>
          <p:spPr>
            <a:xfrm>
              <a:off x="-2479320" y="4402799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0" name="Straight Connector 359"/>
            <p:cNvSpPr/>
            <p:nvPr/>
          </p:nvSpPr>
          <p:spPr>
            <a:xfrm>
              <a:off x="-2479320" y="443304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1" name="Straight Connector 360"/>
            <p:cNvSpPr/>
            <p:nvPr/>
          </p:nvSpPr>
          <p:spPr>
            <a:xfrm>
              <a:off x="-2479320" y="446292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2" name="Straight Connector 361"/>
            <p:cNvSpPr/>
            <p:nvPr/>
          </p:nvSpPr>
          <p:spPr>
            <a:xfrm>
              <a:off x="-2479320" y="44928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3" name="Straight Connector 362"/>
            <p:cNvSpPr/>
            <p:nvPr/>
          </p:nvSpPr>
          <p:spPr>
            <a:xfrm>
              <a:off x="-2479320" y="452304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4" name="Straight Connector 363"/>
            <p:cNvSpPr/>
            <p:nvPr/>
          </p:nvSpPr>
          <p:spPr>
            <a:xfrm>
              <a:off x="-2479320" y="4553279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5" name="Straight Connector 364"/>
            <p:cNvSpPr/>
            <p:nvPr/>
          </p:nvSpPr>
          <p:spPr>
            <a:xfrm>
              <a:off x="-2479320" y="4583159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6" name="Straight Connector 365"/>
            <p:cNvSpPr/>
            <p:nvPr/>
          </p:nvSpPr>
          <p:spPr>
            <a:xfrm>
              <a:off x="-2479320" y="46134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7" name="Straight Connector 366"/>
            <p:cNvSpPr/>
            <p:nvPr/>
          </p:nvSpPr>
          <p:spPr>
            <a:xfrm>
              <a:off x="-2479320" y="464328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8" name="Straight Connector 367"/>
            <p:cNvSpPr/>
            <p:nvPr/>
          </p:nvSpPr>
          <p:spPr>
            <a:xfrm>
              <a:off x="-2479320" y="467352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9" name="Straight Connector 368"/>
            <p:cNvSpPr/>
            <p:nvPr/>
          </p:nvSpPr>
          <p:spPr>
            <a:xfrm>
              <a:off x="-2479320" y="470376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0" name="Straight Connector 369"/>
            <p:cNvSpPr/>
            <p:nvPr/>
          </p:nvSpPr>
          <p:spPr>
            <a:xfrm>
              <a:off x="-2479320" y="47340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1" name="Straight Connector 370"/>
            <p:cNvSpPr/>
            <p:nvPr/>
          </p:nvSpPr>
          <p:spPr>
            <a:xfrm>
              <a:off x="-2479320" y="476028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2" name="Straight Connector 371"/>
            <p:cNvSpPr/>
            <p:nvPr/>
          </p:nvSpPr>
          <p:spPr>
            <a:xfrm>
              <a:off x="-2479320" y="479052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3" name="Straight Connector 372"/>
            <p:cNvSpPr/>
            <p:nvPr/>
          </p:nvSpPr>
          <p:spPr>
            <a:xfrm>
              <a:off x="-2479320" y="482076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4" name="Freeform: Shape 369"/>
            <p:cNvSpPr/>
            <p:nvPr/>
          </p:nvSpPr>
          <p:spPr>
            <a:xfrm>
              <a:off x="-2432880" y="4208760"/>
              <a:ext cx="76680" cy="76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4" h="214">
                  <a:moveTo>
                    <a:pt x="214" y="107"/>
                  </a:moveTo>
                  <a:cubicBezTo>
                    <a:pt x="214" y="126"/>
                    <a:pt x="209" y="143"/>
                    <a:pt x="199" y="160"/>
                  </a:cubicBezTo>
                  <a:cubicBezTo>
                    <a:pt x="189" y="177"/>
                    <a:pt x="177" y="189"/>
                    <a:pt x="160" y="199"/>
                  </a:cubicBezTo>
                  <a:cubicBezTo>
                    <a:pt x="143" y="208"/>
                    <a:pt x="126" y="214"/>
                    <a:pt x="107" y="214"/>
                  </a:cubicBezTo>
                  <a:cubicBezTo>
                    <a:pt x="87" y="214"/>
                    <a:pt x="70" y="208"/>
                    <a:pt x="53" y="199"/>
                  </a:cubicBezTo>
                  <a:cubicBezTo>
                    <a:pt x="36" y="189"/>
                    <a:pt x="24" y="177"/>
                    <a:pt x="14" y="160"/>
                  </a:cubicBezTo>
                  <a:cubicBezTo>
                    <a:pt x="4" y="143"/>
                    <a:pt x="0" y="126"/>
                    <a:pt x="0" y="107"/>
                  </a:cubicBezTo>
                  <a:cubicBezTo>
                    <a:pt x="0" y="87"/>
                    <a:pt x="4" y="70"/>
                    <a:pt x="14" y="53"/>
                  </a:cubicBezTo>
                  <a:cubicBezTo>
                    <a:pt x="24" y="36"/>
                    <a:pt x="36" y="24"/>
                    <a:pt x="53" y="14"/>
                  </a:cubicBezTo>
                  <a:cubicBezTo>
                    <a:pt x="70" y="4"/>
                    <a:pt x="87" y="0"/>
                    <a:pt x="107" y="0"/>
                  </a:cubicBezTo>
                  <a:cubicBezTo>
                    <a:pt x="126" y="0"/>
                    <a:pt x="143" y="4"/>
                    <a:pt x="160" y="14"/>
                  </a:cubicBezTo>
                  <a:cubicBezTo>
                    <a:pt x="177" y="24"/>
                    <a:pt x="189" y="36"/>
                    <a:pt x="199" y="53"/>
                  </a:cubicBezTo>
                  <a:cubicBezTo>
                    <a:pt x="209" y="70"/>
                    <a:pt x="214" y="87"/>
                    <a:pt x="214" y="107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5" name="Straight Connector 374"/>
            <p:cNvSpPr/>
            <p:nvPr/>
          </p:nvSpPr>
          <p:spPr>
            <a:xfrm>
              <a:off x="-2336400" y="4272480"/>
              <a:ext cx="73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6" name="Straight Connector 375"/>
            <p:cNvSpPr/>
            <p:nvPr/>
          </p:nvSpPr>
          <p:spPr>
            <a:xfrm>
              <a:off x="-373716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7" name="Straight Connector 376"/>
            <p:cNvSpPr/>
            <p:nvPr/>
          </p:nvSpPr>
          <p:spPr>
            <a:xfrm>
              <a:off x="-373716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8" name="Straight Connector 377"/>
            <p:cNvSpPr/>
            <p:nvPr/>
          </p:nvSpPr>
          <p:spPr>
            <a:xfrm>
              <a:off x="-373716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9" name="Straight Connector 378"/>
            <p:cNvSpPr/>
            <p:nvPr/>
          </p:nvSpPr>
          <p:spPr>
            <a:xfrm>
              <a:off x="-373716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0" name="Straight Connector 379"/>
            <p:cNvSpPr/>
            <p:nvPr/>
          </p:nvSpPr>
          <p:spPr>
            <a:xfrm>
              <a:off x="-373716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1" name="Straight Connector 380"/>
            <p:cNvSpPr/>
            <p:nvPr/>
          </p:nvSpPr>
          <p:spPr>
            <a:xfrm>
              <a:off x="-373716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2" name="Straight Connector 381"/>
            <p:cNvSpPr/>
            <p:nvPr/>
          </p:nvSpPr>
          <p:spPr>
            <a:xfrm>
              <a:off x="-373716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3" name="Straight Connector 382"/>
            <p:cNvSpPr/>
            <p:nvPr/>
          </p:nvSpPr>
          <p:spPr>
            <a:xfrm>
              <a:off x="-373716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4" name="Straight Connector 383"/>
            <p:cNvSpPr/>
            <p:nvPr/>
          </p:nvSpPr>
          <p:spPr>
            <a:xfrm>
              <a:off x="-373716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5" name="Straight Connector 384"/>
            <p:cNvSpPr/>
            <p:nvPr/>
          </p:nvSpPr>
          <p:spPr>
            <a:xfrm>
              <a:off x="-373716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6" name="Straight Connector 385"/>
            <p:cNvSpPr/>
            <p:nvPr/>
          </p:nvSpPr>
          <p:spPr>
            <a:xfrm>
              <a:off x="-373716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7" name="Straight Connector 386"/>
            <p:cNvSpPr/>
            <p:nvPr/>
          </p:nvSpPr>
          <p:spPr>
            <a:xfrm>
              <a:off x="-373716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8" name="Straight Connector 387"/>
            <p:cNvSpPr/>
            <p:nvPr/>
          </p:nvSpPr>
          <p:spPr>
            <a:xfrm>
              <a:off x="-373716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9" name="Straight Connector 388"/>
            <p:cNvSpPr/>
            <p:nvPr/>
          </p:nvSpPr>
          <p:spPr>
            <a:xfrm>
              <a:off x="-373716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0" name="Straight Connector 389"/>
            <p:cNvSpPr/>
            <p:nvPr/>
          </p:nvSpPr>
          <p:spPr>
            <a:xfrm>
              <a:off x="-373716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1" name="Straight Connector 390"/>
            <p:cNvSpPr/>
            <p:nvPr/>
          </p:nvSpPr>
          <p:spPr>
            <a:xfrm>
              <a:off x="-373716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2" name="Straight Connector 391"/>
            <p:cNvSpPr/>
            <p:nvPr/>
          </p:nvSpPr>
          <p:spPr>
            <a:xfrm>
              <a:off x="-373716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3" name="Straight Connector 392"/>
            <p:cNvSpPr/>
            <p:nvPr/>
          </p:nvSpPr>
          <p:spPr>
            <a:xfrm>
              <a:off x="-37087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4" name="Straight Connector 393"/>
            <p:cNvSpPr/>
            <p:nvPr/>
          </p:nvSpPr>
          <p:spPr>
            <a:xfrm>
              <a:off x="-37087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5" name="Straight Connector 394"/>
            <p:cNvSpPr/>
            <p:nvPr/>
          </p:nvSpPr>
          <p:spPr>
            <a:xfrm>
              <a:off x="-37087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6" name="Straight Connector 395"/>
            <p:cNvSpPr/>
            <p:nvPr/>
          </p:nvSpPr>
          <p:spPr>
            <a:xfrm>
              <a:off x="-37087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7" name="Straight Connector 396"/>
            <p:cNvSpPr/>
            <p:nvPr/>
          </p:nvSpPr>
          <p:spPr>
            <a:xfrm>
              <a:off x="-37087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8" name="Straight Connector 397"/>
            <p:cNvSpPr/>
            <p:nvPr/>
          </p:nvSpPr>
          <p:spPr>
            <a:xfrm>
              <a:off x="-37087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9" name="Straight Connector 398"/>
            <p:cNvSpPr/>
            <p:nvPr/>
          </p:nvSpPr>
          <p:spPr>
            <a:xfrm>
              <a:off x="-37087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0" name="Straight Connector 399"/>
            <p:cNvSpPr/>
            <p:nvPr/>
          </p:nvSpPr>
          <p:spPr>
            <a:xfrm>
              <a:off x="-37087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1" name="Straight Connector 400"/>
            <p:cNvSpPr/>
            <p:nvPr/>
          </p:nvSpPr>
          <p:spPr>
            <a:xfrm>
              <a:off x="-37087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2" name="Straight Connector 401"/>
            <p:cNvSpPr/>
            <p:nvPr/>
          </p:nvSpPr>
          <p:spPr>
            <a:xfrm>
              <a:off x="-37087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3" name="Straight Connector 402"/>
            <p:cNvSpPr/>
            <p:nvPr/>
          </p:nvSpPr>
          <p:spPr>
            <a:xfrm>
              <a:off x="-37087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4" name="Straight Connector 403"/>
            <p:cNvSpPr/>
            <p:nvPr/>
          </p:nvSpPr>
          <p:spPr>
            <a:xfrm>
              <a:off x="-37087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5" name="Straight Connector 404"/>
            <p:cNvSpPr/>
            <p:nvPr/>
          </p:nvSpPr>
          <p:spPr>
            <a:xfrm>
              <a:off x="-37087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6" name="Straight Connector 405"/>
            <p:cNvSpPr/>
            <p:nvPr/>
          </p:nvSpPr>
          <p:spPr>
            <a:xfrm>
              <a:off x="-37087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7" name="Straight Connector 406"/>
            <p:cNvSpPr/>
            <p:nvPr/>
          </p:nvSpPr>
          <p:spPr>
            <a:xfrm>
              <a:off x="-37087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8" name="Straight Connector 407"/>
            <p:cNvSpPr/>
            <p:nvPr/>
          </p:nvSpPr>
          <p:spPr>
            <a:xfrm>
              <a:off x="-37087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9" name="Straight Connector 408"/>
            <p:cNvSpPr/>
            <p:nvPr/>
          </p:nvSpPr>
          <p:spPr>
            <a:xfrm>
              <a:off x="-37087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0" name="Straight Connector 409"/>
            <p:cNvSpPr/>
            <p:nvPr/>
          </p:nvSpPr>
          <p:spPr>
            <a:xfrm>
              <a:off x="-36799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1" name="Straight Connector 410"/>
            <p:cNvSpPr/>
            <p:nvPr/>
          </p:nvSpPr>
          <p:spPr>
            <a:xfrm>
              <a:off x="-36799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2" name="Straight Connector 411"/>
            <p:cNvSpPr/>
            <p:nvPr/>
          </p:nvSpPr>
          <p:spPr>
            <a:xfrm>
              <a:off x="-36799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3" name="Straight Connector 412"/>
            <p:cNvSpPr/>
            <p:nvPr/>
          </p:nvSpPr>
          <p:spPr>
            <a:xfrm>
              <a:off x="-36799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4" name="Straight Connector 413"/>
            <p:cNvSpPr/>
            <p:nvPr/>
          </p:nvSpPr>
          <p:spPr>
            <a:xfrm>
              <a:off x="-36799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5" name="Straight Connector 414"/>
            <p:cNvSpPr/>
            <p:nvPr/>
          </p:nvSpPr>
          <p:spPr>
            <a:xfrm>
              <a:off x="-36799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6" name="Straight Connector 415"/>
            <p:cNvSpPr/>
            <p:nvPr/>
          </p:nvSpPr>
          <p:spPr>
            <a:xfrm>
              <a:off x="-36799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7" name="Straight Connector 416"/>
            <p:cNvSpPr/>
            <p:nvPr/>
          </p:nvSpPr>
          <p:spPr>
            <a:xfrm>
              <a:off x="-36799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8" name="Straight Connector 417"/>
            <p:cNvSpPr/>
            <p:nvPr/>
          </p:nvSpPr>
          <p:spPr>
            <a:xfrm>
              <a:off x="-36799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9" name="Straight Connector 418"/>
            <p:cNvSpPr/>
            <p:nvPr/>
          </p:nvSpPr>
          <p:spPr>
            <a:xfrm>
              <a:off x="-36799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0" name="Straight Connector 419"/>
            <p:cNvSpPr/>
            <p:nvPr/>
          </p:nvSpPr>
          <p:spPr>
            <a:xfrm>
              <a:off x="-36799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1" name="Straight Connector 420"/>
            <p:cNvSpPr/>
            <p:nvPr/>
          </p:nvSpPr>
          <p:spPr>
            <a:xfrm>
              <a:off x="-36799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2" name="Straight Connector 421"/>
            <p:cNvSpPr/>
            <p:nvPr/>
          </p:nvSpPr>
          <p:spPr>
            <a:xfrm>
              <a:off x="-36799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3" name="Straight Connector 422"/>
            <p:cNvSpPr/>
            <p:nvPr/>
          </p:nvSpPr>
          <p:spPr>
            <a:xfrm>
              <a:off x="-36799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4" name="Straight Connector 423"/>
            <p:cNvSpPr/>
            <p:nvPr/>
          </p:nvSpPr>
          <p:spPr>
            <a:xfrm>
              <a:off x="-36799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5" name="Straight Connector 424"/>
            <p:cNvSpPr/>
            <p:nvPr/>
          </p:nvSpPr>
          <p:spPr>
            <a:xfrm>
              <a:off x="-36799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6" name="Straight Connector 425"/>
            <p:cNvSpPr/>
            <p:nvPr/>
          </p:nvSpPr>
          <p:spPr>
            <a:xfrm>
              <a:off x="-36799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7" name="Straight Connector 426"/>
            <p:cNvSpPr/>
            <p:nvPr/>
          </p:nvSpPr>
          <p:spPr>
            <a:xfrm>
              <a:off x="-36511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8" name="Straight Connector 427"/>
            <p:cNvSpPr/>
            <p:nvPr/>
          </p:nvSpPr>
          <p:spPr>
            <a:xfrm>
              <a:off x="-36511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9" name="Straight Connector 428"/>
            <p:cNvSpPr/>
            <p:nvPr/>
          </p:nvSpPr>
          <p:spPr>
            <a:xfrm>
              <a:off x="-36511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0" name="Straight Connector 429"/>
            <p:cNvSpPr/>
            <p:nvPr/>
          </p:nvSpPr>
          <p:spPr>
            <a:xfrm>
              <a:off x="-36511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1" name="Straight Connector 430"/>
            <p:cNvSpPr/>
            <p:nvPr/>
          </p:nvSpPr>
          <p:spPr>
            <a:xfrm>
              <a:off x="-36511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2" name="Straight Connector 431"/>
            <p:cNvSpPr/>
            <p:nvPr/>
          </p:nvSpPr>
          <p:spPr>
            <a:xfrm>
              <a:off x="-36511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3" name="Straight Connector 432"/>
            <p:cNvSpPr/>
            <p:nvPr/>
          </p:nvSpPr>
          <p:spPr>
            <a:xfrm>
              <a:off x="-36511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4" name="Straight Connector 433"/>
            <p:cNvSpPr/>
            <p:nvPr/>
          </p:nvSpPr>
          <p:spPr>
            <a:xfrm>
              <a:off x="-36511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5" name="Straight Connector 434"/>
            <p:cNvSpPr/>
            <p:nvPr/>
          </p:nvSpPr>
          <p:spPr>
            <a:xfrm>
              <a:off x="-36511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6" name="Straight Connector 435"/>
            <p:cNvSpPr/>
            <p:nvPr/>
          </p:nvSpPr>
          <p:spPr>
            <a:xfrm>
              <a:off x="-36511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7" name="Straight Connector 436"/>
            <p:cNvSpPr/>
            <p:nvPr/>
          </p:nvSpPr>
          <p:spPr>
            <a:xfrm>
              <a:off x="-36511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8" name="Straight Connector 437"/>
            <p:cNvSpPr/>
            <p:nvPr/>
          </p:nvSpPr>
          <p:spPr>
            <a:xfrm>
              <a:off x="-36511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9" name="Straight Connector 438"/>
            <p:cNvSpPr/>
            <p:nvPr/>
          </p:nvSpPr>
          <p:spPr>
            <a:xfrm>
              <a:off x="-36511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0" name="Straight Connector 439"/>
            <p:cNvSpPr/>
            <p:nvPr/>
          </p:nvSpPr>
          <p:spPr>
            <a:xfrm>
              <a:off x="-36511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1" name="Straight Connector 440"/>
            <p:cNvSpPr/>
            <p:nvPr/>
          </p:nvSpPr>
          <p:spPr>
            <a:xfrm>
              <a:off x="-36511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2" name="Straight Connector 441"/>
            <p:cNvSpPr/>
            <p:nvPr/>
          </p:nvSpPr>
          <p:spPr>
            <a:xfrm>
              <a:off x="-36511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3" name="Straight Connector 442"/>
            <p:cNvSpPr/>
            <p:nvPr/>
          </p:nvSpPr>
          <p:spPr>
            <a:xfrm>
              <a:off x="-36511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4" name="Straight Connector 443"/>
            <p:cNvSpPr/>
            <p:nvPr/>
          </p:nvSpPr>
          <p:spPr>
            <a:xfrm>
              <a:off x="-36223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5" name="Straight Connector 444"/>
            <p:cNvSpPr/>
            <p:nvPr/>
          </p:nvSpPr>
          <p:spPr>
            <a:xfrm>
              <a:off x="-36223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6" name="Straight Connector 445"/>
            <p:cNvSpPr/>
            <p:nvPr/>
          </p:nvSpPr>
          <p:spPr>
            <a:xfrm>
              <a:off x="-36223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7" name="Straight Connector 446"/>
            <p:cNvSpPr/>
            <p:nvPr/>
          </p:nvSpPr>
          <p:spPr>
            <a:xfrm>
              <a:off x="-36223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8" name="Straight Connector 447"/>
            <p:cNvSpPr/>
            <p:nvPr/>
          </p:nvSpPr>
          <p:spPr>
            <a:xfrm>
              <a:off x="-36223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9" name="Straight Connector 448"/>
            <p:cNvSpPr/>
            <p:nvPr/>
          </p:nvSpPr>
          <p:spPr>
            <a:xfrm>
              <a:off x="-36223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0" name="Straight Connector 449"/>
            <p:cNvSpPr/>
            <p:nvPr/>
          </p:nvSpPr>
          <p:spPr>
            <a:xfrm>
              <a:off x="-36223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1" name="Straight Connector 450"/>
            <p:cNvSpPr/>
            <p:nvPr/>
          </p:nvSpPr>
          <p:spPr>
            <a:xfrm>
              <a:off x="-36223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2" name="Straight Connector 451"/>
            <p:cNvSpPr/>
            <p:nvPr/>
          </p:nvSpPr>
          <p:spPr>
            <a:xfrm>
              <a:off x="-36223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3" name="Straight Connector 452"/>
            <p:cNvSpPr/>
            <p:nvPr/>
          </p:nvSpPr>
          <p:spPr>
            <a:xfrm>
              <a:off x="-36223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4" name="Straight Connector 453"/>
            <p:cNvSpPr/>
            <p:nvPr/>
          </p:nvSpPr>
          <p:spPr>
            <a:xfrm>
              <a:off x="-36223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5" name="Straight Connector 454"/>
            <p:cNvSpPr/>
            <p:nvPr/>
          </p:nvSpPr>
          <p:spPr>
            <a:xfrm>
              <a:off x="-36223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6" name="Straight Connector 455"/>
            <p:cNvSpPr/>
            <p:nvPr/>
          </p:nvSpPr>
          <p:spPr>
            <a:xfrm>
              <a:off x="-36223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7" name="Straight Connector 456"/>
            <p:cNvSpPr/>
            <p:nvPr/>
          </p:nvSpPr>
          <p:spPr>
            <a:xfrm>
              <a:off x="-36223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8" name="Straight Connector 457"/>
            <p:cNvSpPr/>
            <p:nvPr/>
          </p:nvSpPr>
          <p:spPr>
            <a:xfrm>
              <a:off x="-36223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9" name="Straight Connector 458"/>
            <p:cNvSpPr/>
            <p:nvPr/>
          </p:nvSpPr>
          <p:spPr>
            <a:xfrm>
              <a:off x="-36223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0" name="Straight Connector 459"/>
            <p:cNvSpPr/>
            <p:nvPr/>
          </p:nvSpPr>
          <p:spPr>
            <a:xfrm>
              <a:off x="-36223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1" name="Straight Connector 460"/>
            <p:cNvSpPr/>
            <p:nvPr/>
          </p:nvSpPr>
          <p:spPr>
            <a:xfrm>
              <a:off x="-35935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2" name="Straight Connector 461"/>
            <p:cNvSpPr/>
            <p:nvPr/>
          </p:nvSpPr>
          <p:spPr>
            <a:xfrm>
              <a:off x="-35935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3" name="Straight Connector 462"/>
            <p:cNvSpPr/>
            <p:nvPr/>
          </p:nvSpPr>
          <p:spPr>
            <a:xfrm>
              <a:off x="-35935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4" name="Straight Connector 463"/>
            <p:cNvSpPr/>
            <p:nvPr/>
          </p:nvSpPr>
          <p:spPr>
            <a:xfrm>
              <a:off x="-35935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5" name="Straight Connector 464"/>
            <p:cNvSpPr/>
            <p:nvPr/>
          </p:nvSpPr>
          <p:spPr>
            <a:xfrm>
              <a:off x="-35935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6" name="Straight Connector 465"/>
            <p:cNvSpPr/>
            <p:nvPr/>
          </p:nvSpPr>
          <p:spPr>
            <a:xfrm>
              <a:off x="-35935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7" name="Straight Connector 466"/>
            <p:cNvSpPr/>
            <p:nvPr/>
          </p:nvSpPr>
          <p:spPr>
            <a:xfrm>
              <a:off x="-35935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8" name="Straight Connector 467"/>
            <p:cNvSpPr/>
            <p:nvPr/>
          </p:nvSpPr>
          <p:spPr>
            <a:xfrm>
              <a:off x="-35935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9" name="Straight Connector 468"/>
            <p:cNvSpPr/>
            <p:nvPr/>
          </p:nvSpPr>
          <p:spPr>
            <a:xfrm>
              <a:off x="-35935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0" name="Straight Connector 469"/>
            <p:cNvSpPr/>
            <p:nvPr/>
          </p:nvSpPr>
          <p:spPr>
            <a:xfrm>
              <a:off x="-35935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1" name="Straight Connector 470"/>
            <p:cNvSpPr/>
            <p:nvPr/>
          </p:nvSpPr>
          <p:spPr>
            <a:xfrm>
              <a:off x="-35935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2" name="Straight Connector 471"/>
            <p:cNvSpPr/>
            <p:nvPr/>
          </p:nvSpPr>
          <p:spPr>
            <a:xfrm>
              <a:off x="-35935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3" name="Straight Connector 472"/>
            <p:cNvSpPr/>
            <p:nvPr/>
          </p:nvSpPr>
          <p:spPr>
            <a:xfrm>
              <a:off x="-35935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4" name="Straight Connector 473"/>
            <p:cNvSpPr/>
            <p:nvPr/>
          </p:nvSpPr>
          <p:spPr>
            <a:xfrm>
              <a:off x="-35935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5" name="Straight Connector 474"/>
            <p:cNvSpPr/>
            <p:nvPr/>
          </p:nvSpPr>
          <p:spPr>
            <a:xfrm>
              <a:off x="-35935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6" name="Straight Connector 475"/>
            <p:cNvSpPr/>
            <p:nvPr/>
          </p:nvSpPr>
          <p:spPr>
            <a:xfrm>
              <a:off x="-35935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7" name="Straight Connector 476"/>
            <p:cNvSpPr/>
            <p:nvPr/>
          </p:nvSpPr>
          <p:spPr>
            <a:xfrm>
              <a:off x="-35935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8" name="Straight Connector 477"/>
            <p:cNvSpPr/>
            <p:nvPr/>
          </p:nvSpPr>
          <p:spPr>
            <a:xfrm>
              <a:off x="-347868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9" name="Straight Connector 478"/>
            <p:cNvSpPr/>
            <p:nvPr/>
          </p:nvSpPr>
          <p:spPr>
            <a:xfrm>
              <a:off x="-347868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0" name="Straight Connector 479"/>
            <p:cNvSpPr/>
            <p:nvPr/>
          </p:nvSpPr>
          <p:spPr>
            <a:xfrm>
              <a:off x="-347868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1" name="Straight Connector 480"/>
            <p:cNvSpPr/>
            <p:nvPr/>
          </p:nvSpPr>
          <p:spPr>
            <a:xfrm>
              <a:off x="-347868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2" name="Straight Connector 481"/>
            <p:cNvSpPr/>
            <p:nvPr/>
          </p:nvSpPr>
          <p:spPr>
            <a:xfrm>
              <a:off x="-347868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3" name="Straight Connector 482"/>
            <p:cNvSpPr/>
            <p:nvPr/>
          </p:nvSpPr>
          <p:spPr>
            <a:xfrm>
              <a:off x="-347868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4" name="Straight Connector 483"/>
            <p:cNvSpPr/>
            <p:nvPr/>
          </p:nvSpPr>
          <p:spPr>
            <a:xfrm>
              <a:off x="-347868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5" name="Straight Connector 484"/>
            <p:cNvSpPr/>
            <p:nvPr/>
          </p:nvSpPr>
          <p:spPr>
            <a:xfrm>
              <a:off x="-347868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6" name="Straight Connector 485"/>
            <p:cNvSpPr/>
            <p:nvPr/>
          </p:nvSpPr>
          <p:spPr>
            <a:xfrm>
              <a:off x="-347868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7" name="Straight Connector 486"/>
            <p:cNvSpPr/>
            <p:nvPr/>
          </p:nvSpPr>
          <p:spPr>
            <a:xfrm>
              <a:off x="-347868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8" name="Straight Connector 487"/>
            <p:cNvSpPr/>
            <p:nvPr/>
          </p:nvSpPr>
          <p:spPr>
            <a:xfrm>
              <a:off x="-347868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9" name="Straight Connector 488"/>
            <p:cNvSpPr/>
            <p:nvPr/>
          </p:nvSpPr>
          <p:spPr>
            <a:xfrm>
              <a:off x="-347868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0" name="Straight Connector 489"/>
            <p:cNvSpPr/>
            <p:nvPr/>
          </p:nvSpPr>
          <p:spPr>
            <a:xfrm>
              <a:off x="-347868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1" name="Straight Connector 490"/>
            <p:cNvSpPr/>
            <p:nvPr/>
          </p:nvSpPr>
          <p:spPr>
            <a:xfrm>
              <a:off x="-3507479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2" name="Straight Connector 491"/>
            <p:cNvSpPr/>
            <p:nvPr/>
          </p:nvSpPr>
          <p:spPr>
            <a:xfrm>
              <a:off x="-3507479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3" name="Straight Connector 492"/>
            <p:cNvSpPr/>
            <p:nvPr/>
          </p:nvSpPr>
          <p:spPr>
            <a:xfrm>
              <a:off x="-3507479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4" name="Straight Connector 493"/>
            <p:cNvSpPr/>
            <p:nvPr/>
          </p:nvSpPr>
          <p:spPr>
            <a:xfrm>
              <a:off x="-3507479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5" name="Straight Connector 494"/>
            <p:cNvSpPr/>
            <p:nvPr/>
          </p:nvSpPr>
          <p:spPr>
            <a:xfrm>
              <a:off x="-3507479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6" name="Straight Connector 495"/>
            <p:cNvSpPr/>
            <p:nvPr/>
          </p:nvSpPr>
          <p:spPr>
            <a:xfrm>
              <a:off x="-3507479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7" name="Straight Connector 496"/>
            <p:cNvSpPr/>
            <p:nvPr/>
          </p:nvSpPr>
          <p:spPr>
            <a:xfrm>
              <a:off x="-3507479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8" name="Straight Connector 497"/>
            <p:cNvSpPr/>
            <p:nvPr/>
          </p:nvSpPr>
          <p:spPr>
            <a:xfrm>
              <a:off x="-3507479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9" name="Straight Connector 498"/>
            <p:cNvSpPr/>
            <p:nvPr/>
          </p:nvSpPr>
          <p:spPr>
            <a:xfrm>
              <a:off x="-3507479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0" name="Straight Connector 499"/>
            <p:cNvSpPr/>
            <p:nvPr/>
          </p:nvSpPr>
          <p:spPr>
            <a:xfrm>
              <a:off x="-3507479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1" name="Straight Connector 500"/>
            <p:cNvSpPr/>
            <p:nvPr/>
          </p:nvSpPr>
          <p:spPr>
            <a:xfrm>
              <a:off x="-3507479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2" name="Straight Connector 501"/>
            <p:cNvSpPr/>
            <p:nvPr/>
          </p:nvSpPr>
          <p:spPr>
            <a:xfrm>
              <a:off x="-3507479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3" name="Straight Connector 502"/>
            <p:cNvSpPr/>
            <p:nvPr/>
          </p:nvSpPr>
          <p:spPr>
            <a:xfrm>
              <a:off x="-3507479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4" name="Straight Connector 503"/>
            <p:cNvSpPr/>
            <p:nvPr/>
          </p:nvSpPr>
          <p:spPr>
            <a:xfrm>
              <a:off x="-353628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5" name="Straight Connector 504"/>
            <p:cNvSpPr/>
            <p:nvPr/>
          </p:nvSpPr>
          <p:spPr>
            <a:xfrm>
              <a:off x="-353628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6" name="Straight Connector 505"/>
            <p:cNvSpPr/>
            <p:nvPr/>
          </p:nvSpPr>
          <p:spPr>
            <a:xfrm>
              <a:off x="-353628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7" name="Straight Connector 506"/>
            <p:cNvSpPr/>
            <p:nvPr/>
          </p:nvSpPr>
          <p:spPr>
            <a:xfrm>
              <a:off x="-353628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8" name="Straight Connector 507"/>
            <p:cNvSpPr/>
            <p:nvPr/>
          </p:nvSpPr>
          <p:spPr>
            <a:xfrm>
              <a:off x="-353628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9" name="Straight Connector 508"/>
            <p:cNvSpPr/>
            <p:nvPr/>
          </p:nvSpPr>
          <p:spPr>
            <a:xfrm>
              <a:off x="-353628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0" name="Straight Connector 509"/>
            <p:cNvSpPr/>
            <p:nvPr/>
          </p:nvSpPr>
          <p:spPr>
            <a:xfrm>
              <a:off x="-353628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1" name="Straight Connector 510"/>
            <p:cNvSpPr/>
            <p:nvPr/>
          </p:nvSpPr>
          <p:spPr>
            <a:xfrm>
              <a:off x="-353628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2" name="Straight Connector 511"/>
            <p:cNvSpPr/>
            <p:nvPr/>
          </p:nvSpPr>
          <p:spPr>
            <a:xfrm>
              <a:off x="-353628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3" name="Straight Connector 512"/>
            <p:cNvSpPr/>
            <p:nvPr/>
          </p:nvSpPr>
          <p:spPr>
            <a:xfrm>
              <a:off x="-353628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4" name="Straight Connector 513"/>
            <p:cNvSpPr/>
            <p:nvPr/>
          </p:nvSpPr>
          <p:spPr>
            <a:xfrm>
              <a:off x="-353628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5" name="Straight Connector 514"/>
            <p:cNvSpPr/>
            <p:nvPr/>
          </p:nvSpPr>
          <p:spPr>
            <a:xfrm>
              <a:off x="-353628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6" name="Straight Connector 515"/>
            <p:cNvSpPr/>
            <p:nvPr/>
          </p:nvSpPr>
          <p:spPr>
            <a:xfrm>
              <a:off x="-353628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7" name="Straight Connector 516"/>
            <p:cNvSpPr/>
            <p:nvPr/>
          </p:nvSpPr>
          <p:spPr>
            <a:xfrm>
              <a:off x="-35647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8" name="Straight Connector 517"/>
            <p:cNvSpPr/>
            <p:nvPr/>
          </p:nvSpPr>
          <p:spPr>
            <a:xfrm>
              <a:off x="-35647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9" name="Straight Connector 518"/>
            <p:cNvSpPr/>
            <p:nvPr/>
          </p:nvSpPr>
          <p:spPr>
            <a:xfrm>
              <a:off x="-35647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0" name="Straight Connector 519"/>
            <p:cNvSpPr/>
            <p:nvPr/>
          </p:nvSpPr>
          <p:spPr>
            <a:xfrm>
              <a:off x="-35647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1" name="Straight Connector 520"/>
            <p:cNvSpPr/>
            <p:nvPr/>
          </p:nvSpPr>
          <p:spPr>
            <a:xfrm>
              <a:off x="-35647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2" name="Straight Connector 521"/>
            <p:cNvSpPr/>
            <p:nvPr/>
          </p:nvSpPr>
          <p:spPr>
            <a:xfrm>
              <a:off x="-35647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3" name="Straight Connector 522"/>
            <p:cNvSpPr/>
            <p:nvPr/>
          </p:nvSpPr>
          <p:spPr>
            <a:xfrm>
              <a:off x="-35647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4" name="Straight Connector 523"/>
            <p:cNvSpPr/>
            <p:nvPr/>
          </p:nvSpPr>
          <p:spPr>
            <a:xfrm>
              <a:off x="-35647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5" name="Straight Connector 524"/>
            <p:cNvSpPr/>
            <p:nvPr/>
          </p:nvSpPr>
          <p:spPr>
            <a:xfrm>
              <a:off x="-35647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6" name="Straight Connector 525"/>
            <p:cNvSpPr/>
            <p:nvPr/>
          </p:nvSpPr>
          <p:spPr>
            <a:xfrm>
              <a:off x="-35647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7" name="Straight Connector 526"/>
            <p:cNvSpPr/>
            <p:nvPr/>
          </p:nvSpPr>
          <p:spPr>
            <a:xfrm>
              <a:off x="-35647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8" name="Straight Connector 527"/>
            <p:cNvSpPr/>
            <p:nvPr/>
          </p:nvSpPr>
          <p:spPr>
            <a:xfrm>
              <a:off x="-35647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9" name="Straight Connector 528"/>
            <p:cNvSpPr/>
            <p:nvPr/>
          </p:nvSpPr>
          <p:spPr>
            <a:xfrm>
              <a:off x="-35647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0" name="Freeform: Shape 525"/>
            <p:cNvSpPr/>
            <p:nvPr/>
          </p:nvSpPr>
          <p:spPr>
            <a:xfrm>
              <a:off x="-4857120" y="4914360"/>
              <a:ext cx="64080" cy="151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9" h="423">
                  <a:moveTo>
                    <a:pt x="179" y="0"/>
                  </a:moveTo>
                  <a:lnTo>
                    <a:pt x="179" y="423"/>
                  </a:lnTo>
                  <a:lnTo>
                    <a:pt x="0" y="2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1" name="Straight Connector 530"/>
            <p:cNvSpPr/>
            <p:nvPr/>
          </p:nvSpPr>
          <p:spPr>
            <a:xfrm>
              <a:off x="-4856400" y="5070960"/>
              <a:ext cx="363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2" name="Freeform: Shape 527"/>
            <p:cNvSpPr/>
            <p:nvPr/>
          </p:nvSpPr>
          <p:spPr>
            <a:xfrm>
              <a:off x="-522720" y="4912919"/>
              <a:ext cx="54360" cy="128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2" h="358">
                  <a:moveTo>
                    <a:pt x="152" y="0"/>
                  </a:moveTo>
                  <a:lnTo>
                    <a:pt x="152" y="358"/>
                  </a:lnTo>
                  <a:lnTo>
                    <a:pt x="0" y="2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3" name="Straight Connector 532"/>
            <p:cNvSpPr/>
            <p:nvPr/>
          </p:nvSpPr>
          <p:spPr>
            <a:xfrm>
              <a:off x="-522000" y="5045400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4" name="Freeform: Shape 529"/>
            <p:cNvSpPr/>
            <p:nvPr/>
          </p:nvSpPr>
          <p:spPr>
            <a:xfrm>
              <a:off x="-4664520" y="4919400"/>
              <a:ext cx="89640" cy="210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50" h="587">
                  <a:moveTo>
                    <a:pt x="250" y="0"/>
                  </a:moveTo>
                  <a:lnTo>
                    <a:pt x="250" y="587"/>
                  </a:lnTo>
                  <a:lnTo>
                    <a:pt x="0" y="3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5" name="Straight Connector 534"/>
            <p:cNvSpPr/>
            <p:nvPr/>
          </p:nvSpPr>
          <p:spPr>
            <a:xfrm>
              <a:off x="-4662720" y="5136840"/>
              <a:ext cx="504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6" name="Freeform: Shape 531"/>
            <p:cNvSpPr/>
            <p:nvPr/>
          </p:nvSpPr>
          <p:spPr>
            <a:xfrm>
              <a:off x="-905039" y="4865040"/>
              <a:ext cx="110160" cy="260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724">
                  <a:moveTo>
                    <a:pt x="307" y="0"/>
                  </a:moveTo>
                  <a:lnTo>
                    <a:pt x="307" y="724"/>
                  </a:lnTo>
                  <a:lnTo>
                    <a:pt x="0" y="48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7" name="Straight Connector 536"/>
            <p:cNvSpPr/>
            <p:nvPr/>
          </p:nvSpPr>
          <p:spPr>
            <a:xfrm>
              <a:off x="-903240" y="5133240"/>
              <a:ext cx="619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8" name="Straight Connector 537"/>
            <p:cNvSpPr/>
            <p:nvPr/>
          </p:nvSpPr>
          <p:spPr>
            <a:xfrm>
              <a:off x="-5202360" y="4673160"/>
              <a:ext cx="967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9" name="Straight Connector 538"/>
            <p:cNvSpPr/>
            <p:nvPr/>
          </p:nvSpPr>
          <p:spPr>
            <a:xfrm>
              <a:off x="-5132520" y="4446000"/>
              <a:ext cx="0" cy="312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0" name="Straight Connector 539"/>
            <p:cNvSpPr/>
            <p:nvPr/>
          </p:nvSpPr>
          <p:spPr>
            <a:xfrm>
              <a:off x="-4321800" y="4446000"/>
              <a:ext cx="0" cy="312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1" name="Freeform: Shape 536"/>
            <p:cNvSpPr/>
            <p:nvPr/>
          </p:nvSpPr>
          <p:spPr>
            <a:xfrm>
              <a:off x="-5130720" y="4471200"/>
              <a:ext cx="808560" cy="153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47" h="426">
                  <a:moveTo>
                    <a:pt x="2247" y="0"/>
                  </a:moveTo>
                  <a:cubicBezTo>
                    <a:pt x="1971" y="261"/>
                    <a:pt x="1567" y="426"/>
                    <a:pt x="1117" y="426"/>
                  </a:cubicBezTo>
                  <a:cubicBezTo>
                    <a:pt x="674" y="426"/>
                    <a:pt x="276" y="266"/>
                    <a:pt x="0" y="1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2" name="Straight Connector 541"/>
            <p:cNvSpPr/>
            <p:nvPr/>
          </p:nvSpPr>
          <p:spPr>
            <a:xfrm>
              <a:off x="-506700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3" name="Straight Connector 542"/>
            <p:cNvSpPr/>
            <p:nvPr/>
          </p:nvSpPr>
          <p:spPr>
            <a:xfrm>
              <a:off x="-5019480" y="455364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4" name="Straight Connector 543"/>
            <p:cNvSpPr/>
            <p:nvPr/>
          </p:nvSpPr>
          <p:spPr>
            <a:xfrm>
              <a:off x="-4969800" y="457884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5" name="Straight Connector 544"/>
            <p:cNvSpPr/>
            <p:nvPr/>
          </p:nvSpPr>
          <p:spPr>
            <a:xfrm>
              <a:off x="-4921560" y="459648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6" name="Straight Connector 545"/>
            <p:cNvSpPr/>
            <p:nvPr/>
          </p:nvSpPr>
          <p:spPr>
            <a:xfrm>
              <a:off x="-4873320" y="460800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7" name="Straight Connector 546"/>
            <p:cNvSpPr/>
            <p:nvPr/>
          </p:nvSpPr>
          <p:spPr>
            <a:xfrm>
              <a:off x="-4825080" y="461844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8" name="Straight Connector 547"/>
            <p:cNvSpPr/>
            <p:nvPr/>
          </p:nvSpPr>
          <p:spPr>
            <a:xfrm>
              <a:off x="-4776480" y="4622760"/>
              <a:ext cx="0" cy="50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9" name="Straight Connector 548"/>
            <p:cNvSpPr/>
            <p:nvPr/>
          </p:nvSpPr>
          <p:spPr>
            <a:xfrm>
              <a:off x="-438984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0" name="Straight Connector 549"/>
            <p:cNvSpPr/>
            <p:nvPr/>
          </p:nvSpPr>
          <p:spPr>
            <a:xfrm>
              <a:off x="-4437720" y="455364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1" name="Straight Connector 550"/>
            <p:cNvSpPr/>
            <p:nvPr/>
          </p:nvSpPr>
          <p:spPr>
            <a:xfrm>
              <a:off x="-4487040" y="457884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2" name="Straight Connector 551"/>
            <p:cNvSpPr/>
            <p:nvPr/>
          </p:nvSpPr>
          <p:spPr>
            <a:xfrm>
              <a:off x="-4535280" y="459648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3" name="Straight Connector 552"/>
            <p:cNvSpPr/>
            <p:nvPr/>
          </p:nvSpPr>
          <p:spPr>
            <a:xfrm>
              <a:off x="-4583520" y="460800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4" name="Straight Connector 553"/>
            <p:cNvSpPr/>
            <p:nvPr/>
          </p:nvSpPr>
          <p:spPr>
            <a:xfrm>
              <a:off x="-4631760" y="461844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5" name="Straight Connector 554"/>
            <p:cNvSpPr/>
            <p:nvPr/>
          </p:nvSpPr>
          <p:spPr>
            <a:xfrm>
              <a:off x="-4680360" y="4622760"/>
              <a:ext cx="0" cy="50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6" name="Straight Connector 555"/>
            <p:cNvSpPr/>
            <p:nvPr/>
          </p:nvSpPr>
          <p:spPr>
            <a:xfrm>
              <a:off x="-4728239" y="4624560"/>
              <a:ext cx="0" cy="46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7" name="Straight Connector 556"/>
            <p:cNvSpPr/>
            <p:nvPr/>
          </p:nvSpPr>
          <p:spPr>
            <a:xfrm>
              <a:off x="-5539320" y="4673160"/>
              <a:ext cx="493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8" name="Freeform: Shape 553"/>
            <p:cNvSpPr/>
            <p:nvPr/>
          </p:nvSpPr>
          <p:spPr>
            <a:xfrm>
              <a:off x="-5539320" y="4471200"/>
              <a:ext cx="406080" cy="153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9" h="426">
                  <a:moveTo>
                    <a:pt x="1129" y="0"/>
                  </a:moveTo>
                  <a:cubicBezTo>
                    <a:pt x="853" y="261"/>
                    <a:pt x="450" y="426"/>
                    <a:pt x="0" y="426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9" name="Straight Connector 558"/>
            <p:cNvSpPr/>
            <p:nvPr/>
          </p:nvSpPr>
          <p:spPr>
            <a:xfrm>
              <a:off x="-520056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0" name="Straight Connector 559"/>
            <p:cNvSpPr/>
            <p:nvPr/>
          </p:nvSpPr>
          <p:spPr>
            <a:xfrm>
              <a:off x="-5248440" y="455364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1" name="Straight Connector 560"/>
            <p:cNvSpPr/>
            <p:nvPr/>
          </p:nvSpPr>
          <p:spPr>
            <a:xfrm>
              <a:off x="-5298120" y="457884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2" name="Straight Connector 561"/>
            <p:cNvSpPr/>
            <p:nvPr/>
          </p:nvSpPr>
          <p:spPr>
            <a:xfrm>
              <a:off x="-5346360" y="459648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3" name="Straight Connector 562"/>
            <p:cNvSpPr/>
            <p:nvPr/>
          </p:nvSpPr>
          <p:spPr>
            <a:xfrm>
              <a:off x="-5394960" y="460800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4" name="Straight Connector 563"/>
            <p:cNvSpPr/>
            <p:nvPr/>
          </p:nvSpPr>
          <p:spPr>
            <a:xfrm>
              <a:off x="-5443200" y="461844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5" name="Straight Connector 564"/>
            <p:cNvSpPr/>
            <p:nvPr/>
          </p:nvSpPr>
          <p:spPr>
            <a:xfrm>
              <a:off x="-5491440" y="4622760"/>
              <a:ext cx="0" cy="50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6" name="Straight Connector 565"/>
            <p:cNvSpPr/>
            <p:nvPr/>
          </p:nvSpPr>
          <p:spPr>
            <a:xfrm>
              <a:off x="-4391279" y="4673160"/>
              <a:ext cx="1623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7" name="Freeform: Shape 562"/>
            <p:cNvSpPr/>
            <p:nvPr/>
          </p:nvSpPr>
          <p:spPr>
            <a:xfrm>
              <a:off x="-4319640" y="4475160"/>
              <a:ext cx="164160" cy="103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57" h="288">
                  <a:moveTo>
                    <a:pt x="457" y="288"/>
                  </a:moveTo>
                  <a:cubicBezTo>
                    <a:pt x="284" y="217"/>
                    <a:pt x="129" y="119"/>
                    <a:pt x="0" y="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8" name="Straight Connector 567"/>
            <p:cNvSpPr/>
            <p:nvPr/>
          </p:nvSpPr>
          <p:spPr>
            <a:xfrm>
              <a:off x="-425664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9" name="Straight Connector 568"/>
            <p:cNvSpPr/>
            <p:nvPr/>
          </p:nvSpPr>
          <p:spPr>
            <a:xfrm>
              <a:off x="-4208400" y="4553640"/>
              <a:ext cx="0" cy="936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0" name="Straight Connector 569"/>
            <p:cNvSpPr/>
            <p:nvPr/>
          </p:nvSpPr>
          <p:spPr>
            <a:xfrm>
              <a:off x="-4159080" y="4578840"/>
              <a:ext cx="0" cy="53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1" name="Freeform: Shape 566"/>
            <p:cNvSpPr/>
            <p:nvPr/>
          </p:nvSpPr>
          <p:spPr>
            <a:xfrm>
              <a:off x="3089160" y="3954240"/>
              <a:ext cx="279360" cy="702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77" h="1951" fill="none">
                  <a:moveTo>
                    <a:pt x="0" y="1949"/>
                  </a:moveTo>
                  <a:lnTo>
                    <a:pt x="399" y="0"/>
                  </a:lnTo>
                  <a:lnTo>
                    <a:pt x="777" y="195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2" name="Freeform: Shape 567"/>
            <p:cNvSpPr/>
            <p:nvPr/>
          </p:nvSpPr>
          <p:spPr>
            <a:xfrm>
              <a:off x="3156479" y="4094280"/>
              <a:ext cx="150480" cy="1965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9" h="547" fill="none">
                  <a:moveTo>
                    <a:pt x="20" y="547"/>
                  </a:moveTo>
                  <a:lnTo>
                    <a:pt x="0" y="0"/>
                  </a:lnTo>
                  <a:lnTo>
                    <a:pt x="419" y="0"/>
                  </a:lnTo>
                  <a:lnTo>
                    <a:pt x="390" y="5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3" name="Straight Connector 572"/>
            <p:cNvSpPr/>
            <p:nvPr/>
          </p:nvSpPr>
          <p:spPr>
            <a:xfrm>
              <a:off x="3219839" y="4127040"/>
              <a:ext cx="219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4" name="Straight Connector 573"/>
            <p:cNvSpPr/>
            <p:nvPr/>
          </p:nvSpPr>
          <p:spPr>
            <a:xfrm>
              <a:off x="3213720" y="4158720"/>
              <a:ext cx="338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5" name="Straight Connector 574"/>
            <p:cNvSpPr/>
            <p:nvPr/>
          </p:nvSpPr>
          <p:spPr>
            <a:xfrm>
              <a:off x="3208320" y="4190399"/>
              <a:ext cx="4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6" name="Straight Connector 575"/>
            <p:cNvSpPr/>
            <p:nvPr/>
          </p:nvSpPr>
          <p:spPr>
            <a:xfrm>
              <a:off x="3202560" y="4221719"/>
              <a:ext cx="55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7" name="Straight Connector 576"/>
            <p:cNvSpPr/>
            <p:nvPr/>
          </p:nvSpPr>
          <p:spPr>
            <a:xfrm>
              <a:off x="3196800" y="4253400"/>
              <a:ext cx="67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8" name="Straight Connector 577"/>
            <p:cNvSpPr/>
            <p:nvPr/>
          </p:nvSpPr>
          <p:spPr>
            <a:xfrm>
              <a:off x="3191040" y="4285080"/>
              <a:ext cx="784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9" name="Straight Connector 578"/>
            <p:cNvSpPr/>
            <p:nvPr/>
          </p:nvSpPr>
          <p:spPr>
            <a:xfrm>
              <a:off x="3185279" y="4316760"/>
              <a:ext cx="90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0" name="Straight Connector 579"/>
            <p:cNvSpPr/>
            <p:nvPr/>
          </p:nvSpPr>
          <p:spPr>
            <a:xfrm>
              <a:off x="3179880" y="4348440"/>
              <a:ext cx="1011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1" name="Straight Connector 580"/>
            <p:cNvSpPr/>
            <p:nvPr/>
          </p:nvSpPr>
          <p:spPr>
            <a:xfrm>
              <a:off x="3174120" y="4380120"/>
              <a:ext cx="112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2" name="Straight Connector 581"/>
            <p:cNvSpPr/>
            <p:nvPr/>
          </p:nvSpPr>
          <p:spPr>
            <a:xfrm>
              <a:off x="3168360" y="4411800"/>
              <a:ext cx="1234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3" name="Straight Connector 582"/>
            <p:cNvSpPr/>
            <p:nvPr/>
          </p:nvSpPr>
          <p:spPr>
            <a:xfrm>
              <a:off x="3162600" y="4443120"/>
              <a:ext cx="135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4" name="Straight Connector 583"/>
            <p:cNvSpPr/>
            <p:nvPr/>
          </p:nvSpPr>
          <p:spPr>
            <a:xfrm>
              <a:off x="3156840" y="4474440"/>
              <a:ext cx="146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5" name="Straight Connector 584"/>
            <p:cNvSpPr/>
            <p:nvPr/>
          </p:nvSpPr>
          <p:spPr>
            <a:xfrm>
              <a:off x="3151080" y="4506120"/>
              <a:ext cx="1576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6" name="Straight Connector 585"/>
            <p:cNvSpPr/>
            <p:nvPr/>
          </p:nvSpPr>
          <p:spPr>
            <a:xfrm>
              <a:off x="3145679" y="4537800"/>
              <a:ext cx="1684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7" name="Straight Connector 586"/>
            <p:cNvSpPr/>
            <p:nvPr/>
          </p:nvSpPr>
          <p:spPr>
            <a:xfrm>
              <a:off x="3139559" y="4569480"/>
              <a:ext cx="1803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8" name="Straight Connector 587"/>
            <p:cNvSpPr/>
            <p:nvPr/>
          </p:nvSpPr>
          <p:spPr>
            <a:xfrm>
              <a:off x="3134160" y="4601160"/>
              <a:ext cx="1915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9" name="Straight Connector 588"/>
            <p:cNvSpPr/>
            <p:nvPr/>
          </p:nvSpPr>
          <p:spPr>
            <a:xfrm>
              <a:off x="3128400" y="4632840"/>
              <a:ext cx="202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442916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_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6"/>
          <p:cNvSpPr>
            <a:spLocks noChangeAspect="1" noEditPoints="1"/>
          </p:cNvSpPr>
          <p:nvPr userDrawn="1"/>
        </p:nvSpPr>
        <p:spPr bwMode="auto">
          <a:xfrm>
            <a:off x="3762995" y="2129077"/>
            <a:ext cx="1618012" cy="859571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en-US">
              <a:solidFill>
                <a:srgbClr val="005073"/>
              </a:solidFill>
              <a:cs typeface=""/>
            </a:endParaRPr>
          </a:p>
        </p:txBody>
      </p:sp>
      <p:grpSp>
        <p:nvGrpSpPr>
          <p:cNvPr id="6" name="Group 5"/>
          <p:cNvGrpSpPr>
            <a:grpSpLocks noChangeAspect="1"/>
          </p:cNvGrpSpPr>
          <p:nvPr userDrawn="1"/>
        </p:nvGrpSpPr>
        <p:grpSpPr>
          <a:xfrm>
            <a:off x="151952" y="3800884"/>
            <a:ext cx="8840097" cy="1216152"/>
            <a:chOff x="-5539320" y="3765960"/>
            <a:chExt cx="9964800" cy="1370880"/>
          </a:xfrm>
        </p:grpSpPr>
        <p:sp>
          <p:nvSpPr>
            <p:cNvPr id="7" name="Freeform: Shape 2"/>
            <p:cNvSpPr/>
            <p:nvPr/>
          </p:nvSpPr>
          <p:spPr>
            <a:xfrm>
              <a:off x="-777239" y="4393080"/>
              <a:ext cx="321840" cy="321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95" h="895">
                  <a:moveTo>
                    <a:pt x="895" y="448"/>
                  </a:moveTo>
                  <a:cubicBezTo>
                    <a:pt x="895" y="530"/>
                    <a:pt x="876" y="600"/>
                    <a:pt x="835" y="672"/>
                  </a:cubicBezTo>
                  <a:cubicBezTo>
                    <a:pt x="794" y="743"/>
                    <a:pt x="742" y="793"/>
                    <a:pt x="671" y="835"/>
                  </a:cubicBezTo>
                  <a:cubicBezTo>
                    <a:pt x="599" y="876"/>
                    <a:pt x="529" y="895"/>
                    <a:pt x="447" y="895"/>
                  </a:cubicBezTo>
                  <a:cubicBezTo>
                    <a:pt x="364" y="895"/>
                    <a:pt x="294" y="876"/>
                    <a:pt x="223" y="835"/>
                  </a:cubicBezTo>
                  <a:cubicBezTo>
                    <a:pt x="151" y="793"/>
                    <a:pt x="101" y="743"/>
                    <a:pt x="60" y="672"/>
                  </a:cubicBezTo>
                  <a:cubicBezTo>
                    <a:pt x="18" y="600"/>
                    <a:pt x="0" y="530"/>
                    <a:pt x="0" y="448"/>
                  </a:cubicBezTo>
                  <a:cubicBezTo>
                    <a:pt x="0" y="365"/>
                    <a:pt x="18" y="295"/>
                    <a:pt x="60" y="224"/>
                  </a:cubicBezTo>
                  <a:cubicBezTo>
                    <a:pt x="101" y="153"/>
                    <a:pt x="151" y="101"/>
                    <a:pt x="223" y="60"/>
                  </a:cubicBezTo>
                  <a:cubicBezTo>
                    <a:pt x="294" y="19"/>
                    <a:pt x="365" y="0"/>
                    <a:pt x="447" y="0"/>
                  </a:cubicBezTo>
                  <a:cubicBezTo>
                    <a:pt x="530" y="0"/>
                    <a:pt x="599" y="19"/>
                    <a:pt x="671" y="60"/>
                  </a:cubicBezTo>
                  <a:cubicBezTo>
                    <a:pt x="742" y="101"/>
                    <a:pt x="794" y="153"/>
                    <a:pt x="835" y="224"/>
                  </a:cubicBezTo>
                  <a:cubicBezTo>
                    <a:pt x="876" y="295"/>
                    <a:pt x="895" y="365"/>
                    <a:pt x="895" y="44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" name="Straight Connector 7"/>
            <p:cNvSpPr/>
            <p:nvPr/>
          </p:nvSpPr>
          <p:spPr>
            <a:xfrm>
              <a:off x="-616320" y="4386240"/>
              <a:ext cx="0" cy="212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" name="Straight Connector 8"/>
            <p:cNvSpPr/>
            <p:nvPr/>
          </p:nvSpPr>
          <p:spPr>
            <a:xfrm>
              <a:off x="-616320" y="4707360"/>
              <a:ext cx="0" cy="2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Straight Connector 9"/>
            <p:cNvSpPr/>
            <p:nvPr/>
          </p:nvSpPr>
          <p:spPr>
            <a:xfrm flipH="1">
              <a:off x="-559080" y="4399200"/>
              <a:ext cx="792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Straight Connector 10"/>
            <p:cNvSpPr/>
            <p:nvPr/>
          </p:nvSpPr>
          <p:spPr>
            <a:xfrm flipH="1">
              <a:off x="-681120" y="4696200"/>
              <a:ext cx="792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Straight Connector 11"/>
            <p:cNvSpPr/>
            <p:nvPr/>
          </p:nvSpPr>
          <p:spPr>
            <a:xfrm flipH="1">
              <a:off x="-509399" y="4437360"/>
              <a:ext cx="14759" cy="14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Straight Connector 12"/>
            <p:cNvSpPr/>
            <p:nvPr/>
          </p:nvSpPr>
          <p:spPr>
            <a:xfrm flipH="1">
              <a:off x="-737999" y="4663080"/>
              <a:ext cx="15119" cy="14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Straight Connector 13"/>
            <p:cNvSpPr/>
            <p:nvPr/>
          </p:nvSpPr>
          <p:spPr>
            <a:xfrm flipH="1">
              <a:off x="-477360" y="4492800"/>
              <a:ext cx="19440" cy="7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Straight Connector 14"/>
            <p:cNvSpPr/>
            <p:nvPr/>
          </p:nvSpPr>
          <p:spPr>
            <a:xfrm flipH="1">
              <a:off x="-775080" y="4613760"/>
              <a:ext cx="19800" cy="7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" name="Straight Connector 15"/>
            <p:cNvSpPr/>
            <p:nvPr/>
          </p:nvSpPr>
          <p:spPr>
            <a:xfrm flipH="1">
              <a:off x="-466560" y="4556880"/>
              <a:ext cx="212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" name="Straight Connector 16"/>
            <p:cNvSpPr/>
            <p:nvPr/>
          </p:nvSpPr>
          <p:spPr>
            <a:xfrm flipH="1">
              <a:off x="-787320" y="4557600"/>
              <a:ext cx="2088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" name="Straight Connector 17"/>
            <p:cNvSpPr/>
            <p:nvPr/>
          </p:nvSpPr>
          <p:spPr>
            <a:xfrm flipH="1" flipV="1">
              <a:off x="-477360" y="4613760"/>
              <a:ext cx="19801" cy="75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" name="Straight Connector 18"/>
            <p:cNvSpPr/>
            <p:nvPr/>
          </p:nvSpPr>
          <p:spPr>
            <a:xfrm flipH="1" flipV="1">
              <a:off x="-775080" y="4493160"/>
              <a:ext cx="19800" cy="7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" name="Straight Connector 19"/>
            <p:cNvSpPr/>
            <p:nvPr/>
          </p:nvSpPr>
          <p:spPr>
            <a:xfrm>
              <a:off x="-736559" y="4435920"/>
              <a:ext cx="14759" cy="14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Straight Connector 20"/>
            <p:cNvSpPr/>
            <p:nvPr/>
          </p:nvSpPr>
          <p:spPr>
            <a:xfrm>
              <a:off x="-510839" y="4664160"/>
              <a:ext cx="14759" cy="14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Straight Connector 21"/>
            <p:cNvSpPr/>
            <p:nvPr/>
          </p:nvSpPr>
          <p:spPr>
            <a:xfrm>
              <a:off x="-685079" y="4400639"/>
              <a:ext cx="8639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Straight Connector 22"/>
            <p:cNvSpPr/>
            <p:nvPr/>
          </p:nvSpPr>
          <p:spPr>
            <a:xfrm>
              <a:off x="-555840" y="4694759"/>
              <a:ext cx="828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Freeform: Shape 19"/>
            <p:cNvSpPr/>
            <p:nvPr/>
          </p:nvSpPr>
          <p:spPr>
            <a:xfrm>
              <a:off x="-667080" y="4551120"/>
              <a:ext cx="100800" cy="299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81" h="834" fill="none">
                  <a:moveTo>
                    <a:pt x="0" y="834"/>
                  </a:moveTo>
                  <a:lnTo>
                    <a:pt x="159" y="0"/>
                  </a:lnTo>
                  <a:lnTo>
                    <a:pt x="281" y="65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Straight Connector 24"/>
            <p:cNvSpPr/>
            <p:nvPr/>
          </p:nvSpPr>
          <p:spPr>
            <a:xfrm>
              <a:off x="-765000" y="4831200"/>
              <a:ext cx="0" cy="10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Freeform: Shape 21"/>
            <p:cNvSpPr/>
            <p:nvPr/>
          </p:nvSpPr>
          <p:spPr>
            <a:xfrm>
              <a:off x="-375480" y="4592880"/>
              <a:ext cx="149400" cy="335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Freeform: Shape 22"/>
            <p:cNvSpPr/>
            <p:nvPr/>
          </p:nvSpPr>
          <p:spPr>
            <a:xfrm>
              <a:off x="-344160" y="4791600"/>
              <a:ext cx="87120" cy="143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60" y="0"/>
                  </a:lnTo>
                  <a:cubicBezTo>
                    <a:pt x="206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Straight Connector 27"/>
            <p:cNvSpPr/>
            <p:nvPr/>
          </p:nvSpPr>
          <p:spPr>
            <a:xfrm>
              <a:off x="-353880" y="4683240"/>
              <a:ext cx="106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Freeform: Shape 24"/>
            <p:cNvSpPr/>
            <p:nvPr/>
          </p:nvSpPr>
          <p:spPr>
            <a:xfrm>
              <a:off x="-737280" y="4592880"/>
              <a:ext cx="355320" cy="309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8" h="860">
                  <a:moveTo>
                    <a:pt x="988" y="0"/>
                  </a:moveTo>
                  <a:cubicBezTo>
                    <a:pt x="909" y="478"/>
                    <a:pt x="499" y="846"/>
                    <a:pt x="0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Straight Connector 29"/>
            <p:cNvSpPr/>
            <p:nvPr/>
          </p:nvSpPr>
          <p:spPr>
            <a:xfrm>
              <a:off x="-563400" y="4858560"/>
              <a:ext cx="170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Freeform: Shape 26"/>
            <p:cNvSpPr/>
            <p:nvPr/>
          </p:nvSpPr>
          <p:spPr>
            <a:xfrm>
              <a:off x="314280" y="4592880"/>
              <a:ext cx="354960" cy="309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7" h="860">
                  <a:moveTo>
                    <a:pt x="0" y="0"/>
                  </a:moveTo>
                  <a:cubicBezTo>
                    <a:pt x="79" y="478"/>
                    <a:pt x="489" y="846"/>
                    <a:pt x="987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Straight Connector 31"/>
            <p:cNvSpPr/>
            <p:nvPr/>
          </p:nvSpPr>
          <p:spPr>
            <a:xfrm flipH="1">
              <a:off x="325080" y="4858560"/>
              <a:ext cx="171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Straight Connector 32"/>
            <p:cNvSpPr/>
            <p:nvPr/>
          </p:nvSpPr>
          <p:spPr>
            <a:xfrm>
              <a:off x="-723959" y="4946040"/>
              <a:ext cx="201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Straight Connector 33"/>
            <p:cNvSpPr/>
            <p:nvPr/>
          </p:nvSpPr>
          <p:spPr>
            <a:xfrm>
              <a:off x="-225720" y="460260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Straight Connector 34"/>
            <p:cNvSpPr/>
            <p:nvPr/>
          </p:nvSpPr>
          <p:spPr>
            <a:xfrm>
              <a:off x="-225720" y="462780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Straight Connector 35"/>
            <p:cNvSpPr/>
            <p:nvPr/>
          </p:nvSpPr>
          <p:spPr>
            <a:xfrm>
              <a:off x="-225720" y="467568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Straight Connector 36"/>
            <p:cNvSpPr/>
            <p:nvPr/>
          </p:nvSpPr>
          <p:spPr>
            <a:xfrm>
              <a:off x="-225720" y="484632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Straight Connector 37"/>
            <p:cNvSpPr/>
            <p:nvPr/>
          </p:nvSpPr>
          <p:spPr>
            <a:xfrm>
              <a:off x="-225720" y="489528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Freeform: Shape 34"/>
            <p:cNvSpPr/>
            <p:nvPr/>
          </p:nvSpPr>
          <p:spPr>
            <a:xfrm>
              <a:off x="-378720" y="4497840"/>
              <a:ext cx="3672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2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Freeform: Shape 35"/>
            <p:cNvSpPr/>
            <p:nvPr/>
          </p:nvSpPr>
          <p:spPr>
            <a:xfrm>
              <a:off x="-257760" y="4497840"/>
              <a:ext cx="3636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0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Freeform: Shape 36"/>
            <p:cNvSpPr/>
            <p:nvPr/>
          </p:nvSpPr>
          <p:spPr>
            <a:xfrm>
              <a:off x="-354600" y="4426560"/>
              <a:ext cx="107640" cy="13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49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Freeform: Shape 37"/>
            <p:cNvSpPr/>
            <p:nvPr/>
          </p:nvSpPr>
          <p:spPr>
            <a:xfrm>
              <a:off x="-314640" y="4617720"/>
              <a:ext cx="27720" cy="33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Freeform: Shape 38"/>
            <p:cNvSpPr/>
            <p:nvPr/>
          </p:nvSpPr>
          <p:spPr>
            <a:xfrm>
              <a:off x="158040" y="4592880"/>
              <a:ext cx="149400" cy="335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Freeform: Shape 39"/>
            <p:cNvSpPr/>
            <p:nvPr/>
          </p:nvSpPr>
          <p:spPr>
            <a:xfrm>
              <a:off x="189360" y="4791600"/>
              <a:ext cx="87120" cy="143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59" y="0"/>
                  </a:lnTo>
                  <a:cubicBezTo>
                    <a:pt x="205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Straight Connector 44"/>
            <p:cNvSpPr/>
            <p:nvPr/>
          </p:nvSpPr>
          <p:spPr>
            <a:xfrm>
              <a:off x="179280" y="4683240"/>
              <a:ext cx="1072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Freeform: Shape 41"/>
            <p:cNvSpPr/>
            <p:nvPr/>
          </p:nvSpPr>
          <p:spPr>
            <a:xfrm>
              <a:off x="154800" y="4497840"/>
              <a:ext cx="3636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2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Freeform: Shape 42"/>
            <p:cNvSpPr/>
            <p:nvPr/>
          </p:nvSpPr>
          <p:spPr>
            <a:xfrm>
              <a:off x="275400" y="4497840"/>
              <a:ext cx="3672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1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Freeform: Shape 43"/>
            <p:cNvSpPr/>
            <p:nvPr/>
          </p:nvSpPr>
          <p:spPr>
            <a:xfrm>
              <a:off x="178560" y="4426560"/>
              <a:ext cx="107640" cy="13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51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Freeform: Shape 44"/>
            <p:cNvSpPr/>
            <p:nvPr/>
          </p:nvSpPr>
          <p:spPr>
            <a:xfrm>
              <a:off x="1934639" y="4760280"/>
              <a:ext cx="256680" cy="38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14" h="107">
                  <a:moveTo>
                    <a:pt x="357" y="0"/>
                  </a:moveTo>
                  <a:lnTo>
                    <a:pt x="0" y="107"/>
                  </a:lnTo>
                  <a:lnTo>
                    <a:pt x="714" y="10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Freeform: Shape 45"/>
            <p:cNvSpPr/>
            <p:nvPr/>
          </p:nvSpPr>
          <p:spPr>
            <a:xfrm>
              <a:off x="218880" y="4617720"/>
              <a:ext cx="27720" cy="33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Straight Connector 50"/>
            <p:cNvSpPr/>
            <p:nvPr/>
          </p:nvSpPr>
          <p:spPr>
            <a:xfrm>
              <a:off x="-419760" y="4946040"/>
              <a:ext cx="7484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" name="Straight Connector 51"/>
            <p:cNvSpPr/>
            <p:nvPr/>
          </p:nvSpPr>
          <p:spPr>
            <a:xfrm>
              <a:off x="-309960" y="4977720"/>
              <a:ext cx="0" cy="51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" name="Straight Connector 52"/>
            <p:cNvSpPr/>
            <p:nvPr/>
          </p:nvSpPr>
          <p:spPr>
            <a:xfrm>
              <a:off x="-252000" y="4975200"/>
              <a:ext cx="4294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" name="Straight Connector 53"/>
            <p:cNvSpPr/>
            <p:nvPr/>
          </p:nvSpPr>
          <p:spPr>
            <a:xfrm>
              <a:off x="-122400" y="5016960"/>
              <a:ext cx="156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" name="Straight Connector 54"/>
            <p:cNvSpPr/>
            <p:nvPr/>
          </p:nvSpPr>
          <p:spPr>
            <a:xfrm>
              <a:off x="-78480" y="5043600"/>
              <a:ext cx="75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" name="Straight Connector 55"/>
            <p:cNvSpPr/>
            <p:nvPr/>
          </p:nvSpPr>
          <p:spPr>
            <a:xfrm>
              <a:off x="1734119" y="5067000"/>
              <a:ext cx="1569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" name="Straight Connector 56"/>
            <p:cNvSpPr/>
            <p:nvPr/>
          </p:nvSpPr>
          <p:spPr>
            <a:xfrm>
              <a:off x="1778040" y="5094000"/>
              <a:ext cx="75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" name="Straight Connector 57"/>
            <p:cNvSpPr/>
            <p:nvPr/>
          </p:nvSpPr>
          <p:spPr>
            <a:xfrm>
              <a:off x="1966680" y="5038920"/>
              <a:ext cx="3779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" name="Straight Connector 58"/>
            <p:cNvSpPr/>
            <p:nvPr/>
          </p:nvSpPr>
          <p:spPr>
            <a:xfrm>
              <a:off x="321480" y="4970160"/>
              <a:ext cx="0" cy="75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0" name="Straight Connector 59"/>
            <p:cNvSpPr/>
            <p:nvPr/>
          </p:nvSpPr>
          <p:spPr>
            <a:xfrm flipH="1">
              <a:off x="344880" y="4979880"/>
              <a:ext cx="342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1" name="Straight Connector 60"/>
            <p:cNvSpPr/>
            <p:nvPr/>
          </p:nvSpPr>
          <p:spPr>
            <a:xfrm flipV="1">
              <a:off x="344880" y="4865040"/>
              <a:ext cx="0" cy="431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2" name="Freeform: Shape 57"/>
            <p:cNvSpPr/>
            <p:nvPr/>
          </p:nvSpPr>
          <p:spPr>
            <a:xfrm>
              <a:off x="382680" y="4920480"/>
              <a:ext cx="286560" cy="39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7" h="112">
                  <a:moveTo>
                    <a:pt x="399" y="112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797" y="0"/>
                  </a:lnTo>
                  <a:lnTo>
                    <a:pt x="797" y="11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3" name="Freeform: Shape 58"/>
            <p:cNvSpPr/>
            <p:nvPr/>
          </p:nvSpPr>
          <p:spPr>
            <a:xfrm>
              <a:off x="473760" y="4308120"/>
              <a:ext cx="79200" cy="556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1" h="1548" fill="none">
                  <a:moveTo>
                    <a:pt x="0" y="1421"/>
                  </a:moveTo>
                  <a:lnTo>
                    <a:pt x="0" y="0"/>
                  </a:lnTo>
                  <a:lnTo>
                    <a:pt x="221" y="0"/>
                  </a:lnTo>
                  <a:lnTo>
                    <a:pt x="221" y="154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4" name="Freeform: Shape 59"/>
            <p:cNvSpPr/>
            <p:nvPr/>
          </p:nvSpPr>
          <p:spPr>
            <a:xfrm>
              <a:off x="523079" y="4191479"/>
              <a:ext cx="269640" cy="691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50" h="1922" fill="none">
                  <a:moveTo>
                    <a:pt x="0" y="1839"/>
                  </a:moveTo>
                  <a:lnTo>
                    <a:pt x="0" y="0"/>
                  </a:lnTo>
                  <a:lnTo>
                    <a:pt x="276" y="0"/>
                  </a:lnTo>
                  <a:lnTo>
                    <a:pt x="276" y="1922"/>
                  </a:lnTo>
                  <a:lnTo>
                    <a:pt x="750" y="1922"/>
                  </a:lnTo>
                  <a:lnTo>
                    <a:pt x="550" y="1831"/>
                  </a:lnTo>
                  <a:lnTo>
                    <a:pt x="407" y="183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5" name="Freeform: Shape 60"/>
            <p:cNvSpPr/>
            <p:nvPr/>
          </p:nvSpPr>
          <p:spPr>
            <a:xfrm>
              <a:off x="553320" y="4240440"/>
              <a:ext cx="99000" cy="624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6" h="1736" fill="none">
                  <a:moveTo>
                    <a:pt x="276" y="1736"/>
                  </a:moveTo>
                  <a:lnTo>
                    <a:pt x="276" y="0"/>
                  </a:lnTo>
                  <a:lnTo>
                    <a:pt x="0" y="0"/>
                  </a:lnTo>
                  <a:lnTo>
                    <a:pt x="0" y="19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6" name="Straight Connector 65"/>
            <p:cNvSpPr/>
            <p:nvPr/>
          </p:nvSpPr>
          <p:spPr>
            <a:xfrm>
              <a:off x="673560" y="4639680"/>
              <a:ext cx="28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7" name="Straight Connector 66"/>
            <p:cNvSpPr/>
            <p:nvPr/>
          </p:nvSpPr>
          <p:spPr>
            <a:xfrm>
              <a:off x="686160" y="4679280"/>
              <a:ext cx="0" cy="20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8" name="Freeform: Shape 63"/>
            <p:cNvSpPr/>
            <p:nvPr/>
          </p:nvSpPr>
          <p:spPr>
            <a:xfrm>
              <a:off x="721080" y="4161240"/>
              <a:ext cx="72000" cy="689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1" h="1915" fill="none">
                  <a:moveTo>
                    <a:pt x="0" y="1915"/>
                  </a:moveTo>
                  <a:lnTo>
                    <a:pt x="0" y="617"/>
                  </a:lnTo>
                  <a:lnTo>
                    <a:pt x="201" y="474"/>
                  </a:lnTo>
                  <a:lnTo>
                    <a:pt x="95" y="474"/>
                  </a:lnTo>
                  <a:lnTo>
                    <a:pt x="95" y="0"/>
                  </a:lnTo>
                  <a:lnTo>
                    <a:pt x="20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9" name="Freeform: Shape 64"/>
            <p:cNvSpPr/>
            <p:nvPr/>
          </p:nvSpPr>
          <p:spPr>
            <a:xfrm>
              <a:off x="793440" y="3839400"/>
              <a:ext cx="105840" cy="1087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5" h="3023" fill="none">
                  <a:moveTo>
                    <a:pt x="0" y="3023"/>
                  </a:moveTo>
                  <a:lnTo>
                    <a:pt x="0" y="503"/>
                  </a:lnTo>
                  <a:lnTo>
                    <a:pt x="198" y="306"/>
                  </a:lnTo>
                  <a:lnTo>
                    <a:pt x="198" y="0"/>
                  </a:lnTo>
                  <a:lnTo>
                    <a:pt x="295" y="190"/>
                  </a:lnTo>
                  <a:lnTo>
                    <a:pt x="295" y="89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0" name="Straight Connector 69"/>
            <p:cNvSpPr/>
            <p:nvPr/>
          </p:nvSpPr>
          <p:spPr>
            <a:xfrm>
              <a:off x="813960" y="4029480"/>
              <a:ext cx="0" cy="898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1" name="Freeform: Shape 66"/>
            <p:cNvSpPr/>
            <p:nvPr/>
          </p:nvSpPr>
          <p:spPr>
            <a:xfrm>
              <a:off x="793440" y="4106520"/>
              <a:ext cx="152640" cy="821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5" h="2283" fill="none">
                  <a:moveTo>
                    <a:pt x="0" y="2283"/>
                  </a:moveTo>
                  <a:lnTo>
                    <a:pt x="138" y="2283"/>
                  </a:lnTo>
                  <a:lnTo>
                    <a:pt x="138" y="356"/>
                  </a:lnTo>
                  <a:lnTo>
                    <a:pt x="425" y="70"/>
                  </a:lnTo>
                  <a:lnTo>
                    <a:pt x="295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2" name="Freeform: Shape 67"/>
            <p:cNvSpPr/>
            <p:nvPr/>
          </p:nvSpPr>
          <p:spPr>
            <a:xfrm>
              <a:off x="899639" y="4081320"/>
              <a:ext cx="106920" cy="68939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916" fill="none">
                  <a:moveTo>
                    <a:pt x="0" y="0"/>
                  </a:moveTo>
                  <a:lnTo>
                    <a:pt x="200" y="106"/>
                  </a:lnTo>
                  <a:lnTo>
                    <a:pt x="200" y="1916"/>
                  </a:lnTo>
                  <a:lnTo>
                    <a:pt x="298" y="1916"/>
                  </a:lnTo>
                  <a:lnTo>
                    <a:pt x="298" y="654"/>
                  </a:lnTo>
                  <a:lnTo>
                    <a:pt x="207" y="58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3" name="Straight Connector 72"/>
            <p:cNvSpPr/>
            <p:nvPr/>
          </p:nvSpPr>
          <p:spPr>
            <a:xfrm>
              <a:off x="939240" y="4200120"/>
              <a:ext cx="0" cy="551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4" name="Freeform: Shape 69"/>
            <p:cNvSpPr/>
            <p:nvPr/>
          </p:nvSpPr>
          <p:spPr>
            <a:xfrm>
              <a:off x="897119" y="4787640"/>
              <a:ext cx="377280" cy="138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49" h="385" fill="none">
                  <a:moveTo>
                    <a:pt x="0" y="385"/>
                  </a:moveTo>
                  <a:lnTo>
                    <a:pt x="0" y="0"/>
                  </a:lnTo>
                  <a:lnTo>
                    <a:pt x="437" y="0"/>
                  </a:lnTo>
                  <a:lnTo>
                    <a:pt x="437" y="335"/>
                  </a:lnTo>
                  <a:lnTo>
                    <a:pt x="512" y="335"/>
                  </a:lnTo>
                  <a:lnTo>
                    <a:pt x="512" y="0"/>
                  </a:lnTo>
                  <a:lnTo>
                    <a:pt x="793" y="0"/>
                  </a:lnTo>
                  <a:lnTo>
                    <a:pt x="793" y="344"/>
                  </a:lnTo>
                  <a:lnTo>
                    <a:pt x="1049" y="34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5" name="Straight Connector 74"/>
            <p:cNvSpPr/>
            <p:nvPr/>
          </p:nvSpPr>
          <p:spPr>
            <a:xfrm>
              <a:off x="779760" y="4958280"/>
              <a:ext cx="1854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6" name="Straight Connector 75"/>
            <p:cNvSpPr/>
            <p:nvPr/>
          </p:nvSpPr>
          <p:spPr>
            <a:xfrm>
              <a:off x="762480" y="4970160"/>
              <a:ext cx="0" cy="56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7" name="Straight Connector 76"/>
            <p:cNvSpPr/>
            <p:nvPr/>
          </p:nvSpPr>
          <p:spPr>
            <a:xfrm>
              <a:off x="1021679" y="4606560"/>
              <a:ext cx="748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8" name="Straight Connector 77"/>
            <p:cNvSpPr/>
            <p:nvPr/>
          </p:nvSpPr>
          <p:spPr>
            <a:xfrm>
              <a:off x="1042919" y="4552560"/>
              <a:ext cx="0" cy="54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9" name="Straight Connector 78"/>
            <p:cNvSpPr/>
            <p:nvPr/>
          </p:nvSpPr>
          <p:spPr>
            <a:xfrm>
              <a:off x="1065600" y="4552560"/>
              <a:ext cx="0" cy="54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0" name="Freeform: Shape 75"/>
            <p:cNvSpPr/>
            <p:nvPr/>
          </p:nvSpPr>
          <p:spPr>
            <a:xfrm>
              <a:off x="1042919" y="4679280"/>
              <a:ext cx="38160" cy="86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7" h="240">
                  <a:moveTo>
                    <a:pt x="54" y="240"/>
                  </a:moveTo>
                  <a:lnTo>
                    <a:pt x="0" y="240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2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1" name="Freeform: Shape 76"/>
            <p:cNvSpPr/>
            <p:nvPr/>
          </p:nvSpPr>
          <p:spPr>
            <a:xfrm>
              <a:off x="934199" y="4899960"/>
              <a:ext cx="72720" cy="29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3" h="84">
                  <a:moveTo>
                    <a:pt x="101" y="84"/>
                  </a:moveTo>
                  <a:lnTo>
                    <a:pt x="0" y="84"/>
                  </a:lnTo>
                  <a:lnTo>
                    <a:pt x="0" y="0"/>
                  </a:lnTo>
                  <a:lnTo>
                    <a:pt x="203" y="0"/>
                  </a:lnTo>
                  <a:lnTo>
                    <a:pt x="203" y="8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2" name="Freeform: Shape 77"/>
            <p:cNvSpPr/>
            <p:nvPr/>
          </p:nvSpPr>
          <p:spPr>
            <a:xfrm>
              <a:off x="1074600" y="4926240"/>
              <a:ext cx="168840" cy="41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70" h="117">
                  <a:moveTo>
                    <a:pt x="235" y="117"/>
                  </a:moveTo>
                  <a:lnTo>
                    <a:pt x="0" y="117"/>
                  </a:lnTo>
                  <a:lnTo>
                    <a:pt x="0" y="0"/>
                  </a:lnTo>
                  <a:lnTo>
                    <a:pt x="470" y="0"/>
                  </a:lnTo>
                  <a:lnTo>
                    <a:pt x="470" y="11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3" name="Freeform: Shape 78"/>
            <p:cNvSpPr/>
            <p:nvPr/>
          </p:nvSpPr>
          <p:spPr>
            <a:xfrm>
              <a:off x="741600" y="4759200"/>
              <a:ext cx="51480" cy="85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4" h="238" fill="none">
                  <a:moveTo>
                    <a:pt x="144" y="238"/>
                  </a:moveTo>
                  <a:lnTo>
                    <a:pt x="0" y="238"/>
                  </a:lnTo>
                  <a:lnTo>
                    <a:pt x="0" y="0"/>
                  </a:lnTo>
                  <a:lnTo>
                    <a:pt x="144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4" name="Straight Connector 83"/>
            <p:cNvSpPr/>
            <p:nvPr/>
          </p:nvSpPr>
          <p:spPr>
            <a:xfrm>
              <a:off x="736200" y="43902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5" name="Straight Connector 84"/>
            <p:cNvSpPr/>
            <p:nvPr/>
          </p:nvSpPr>
          <p:spPr>
            <a:xfrm>
              <a:off x="736200" y="44190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6" name="Straight Connector 85"/>
            <p:cNvSpPr/>
            <p:nvPr/>
          </p:nvSpPr>
          <p:spPr>
            <a:xfrm>
              <a:off x="736200" y="44478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" name="Straight Connector 86"/>
            <p:cNvSpPr/>
            <p:nvPr/>
          </p:nvSpPr>
          <p:spPr>
            <a:xfrm>
              <a:off x="736200" y="44762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8" name="Straight Connector 87"/>
            <p:cNvSpPr/>
            <p:nvPr/>
          </p:nvSpPr>
          <p:spPr>
            <a:xfrm>
              <a:off x="736200" y="45050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9" name="Straight Connector 88"/>
            <p:cNvSpPr/>
            <p:nvPr/>
          </p:nvSpPr>
          <p:spPr>
            <a:xfrm>
              <a:off x="736200" y="45338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0" name="Straight Connector 89"/>
            <p:cNvSpPr/>
            <p:nvPr/>
          </p:nvSpPr>
          <p:spPr>
            <a:xfrm>
              <a:off x="736200" y="45626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1" name="Straight Connector 90"/>
            <p:cNvSpPr/>
            <p:nvPr/>
          </p:nvSpPr>
          <p:spPr>
            <a:xfrm>
              <a:off x="736200" y="45914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2" name="Straight Connector 91"/>
            <p:cNvSpPr/>
            <p:nvPr/>
          </p:nvSpPr>
          <p:spPr>
            <a:xfrm>
              <a:off x="736200" y="46202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3" name="Straight Connector 92"/>
            <p:cNvSpPr/>
            <p:nvPr/>
          </p:nvSpPr>
          <p:spPr>
            <a:xfrm>
              <a:off x="736200" y="46494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4" name="Straight Connector 93"/>
            <p:cNvSpPr/>
            <p:nvPr/>
          </p:nvSpPr>
          <p:spPr>
            <a:xfrm>
              <a:off x="736200" y="46778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5" name="Straight Connector 94"/>
            <p:cNvSpPr/>
            <p:nvPr/>
          </p:nvSpPr>
          <p:spPr>
            <a:xfrm>
              <a:off x="736200" y="47066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6" name="Straight Connector 95"/>
            <p:cNvSpPr/>
            <p:nvPr/>
          </p:nvSpPr>
          <p:spPr>
            <a:xfrm>
              <a:off x="974160" y="4316760"/>
              <a:ext cx="32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7" name="Straight Connector 96"/>
            <p:cNvSpPr/>
            <p:nvPr/>
          </p:nvSpPr>
          <p:spPr>
            <a:xfrm>
              <a:off x="1169640" y="4992480"/>
              <a:ext cx="2077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8" name="Straight Connector 97"/>
            <p:cNvSpPr/>
            <p:nvPr/>
          </p:nvSpPr>
          <p:spPr>
            <a:xfrm>
              <a:off x="1305000" y="4922640"/>
              <a:ext cx="250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9" name="Freeform: Shape 94"/>
            <p:cNvSpPr/>
            <p:nvPr/>
          </p:nvSpPr>
          <p:spPr>
            <a:xfrm>
              <a:off x="1096560" y="4136760"/>
              <a:ext cx="285480" cy="740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4" h="2058">
                  <a:moveTo>
                    <a:pt x="0" y="1774"/>
                  </a:moveTo>
                  <a:lnTo>
                    <a:pt x="0" y="0"/>
                  </a:lnTo>
                  <a:lnTo>
                    <a:pt x="541" y="0"/>
                  </a:lnTo>
                  <a:lnTo>
                    <a:pt x="794" y="1518"/>
                  </a:lnTo>
                  <a:lnTo>
                    <a:pt x="655" y="1518"/>
                  </a:lnTo>
                  <a:lnTo>
                    <a:pt x="655" y="1746"/>
                  </a:lnTo>
                  <a:lnTo>
                    <a:pt x="541" y="1746"/>
                  </a:lnTo>
                  <a:lnTo>
                    <a:pt x="541" y="2058"/>
                  </a:lnTo>
                  <a:lnTo>
                    <a:pt x="456" y="2058"/>
                  </a:lnTo>
                  <a:lnTo>
                    <a:pt x="158" y="78"/>
                  </a:lnTo>
                  <a:lnTo>
                    <a:pt x="77" y="78"/>
                  </a:lnTo>
                  <a:lnTo>
                    <a:pt x="77" y="177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0" name="Freeform: Shape 95"/>
            <p:cNvSpPr/>
            <p:nvPr/>
          </p:nvSpPr>
          <p:spPr>
            <a:xfrm>
              <a:off x="1348920" y="4669560"/>
              <a:ext cx="316440" cy="212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0" h="592" fill="none">
                  <a:moveTo>
                    <a:pt x="0" y="85"/>
                  </a:moveTo>
                  <a:lnTo>
                    <a:pt x="275" y="85"/>
                  </a:lnTo>
                  <a:lnTo>
                    <a:pt x="275" y="0"/>
                  </a:lnTo>
                  <a:lnTo>
                    <a:pt x="412" y="0"/>
                  </a:lnTo>
                  <a:lnTo>
                    <a:pt x="412" y="209"/>
                  </a:lnTo>
                  <a:lnTo>
                    <a:pt x="582" y="209"/>
                  </a:lnTo>
                  <a:lnTo>
                    <a:pt x="582" y="592"/>
                  </a:lnTo>
                  <a:lnTo>
                    <a:pt x="880" y="59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1" name="Straight Connector 100"/>
            <p:cNvSpPr/>
            <p:nvPr/>
          </p:nvSpPr>
          <p:spPr>
            <a:xfrm>
              <a:off x="1428120" y="4977720"/>
              <a:ext cx="516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2" name="Freeform: Shape 97"/>
            <p:cNvSpPr/>
            <p:nvPr/>
          </p:nvSpPr>
          <p:spPr>
            <a:xfrm>
              <a:off x="1352520" y="4721760"/>
              <a:ext cx="54000" cy="176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490">
                  <a:moveTo>
                    <a:pt x="76" y="490"/>
                  </a:moveTo>
                  <a:lnTo>
                    <a:pt x="0" y="490"/>
                  </a:lnTo>
                  <a:lnTo>
                    <a:pt x="0" y="0"/>
                  </a:lnTo>
                  <a:lnTo>
                    <a:pt x="151" y="0"/>
                  </a:lnTo>
                  <a:lnTo>
                    <a:pt x="151" y="49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3" name="Freeform: Shape 98"/>
            <p:cNvSpPr/>
            <p:nvPr/>
          </p:nvSpPr>
          <p:spPr>
            <a:xfrm>
              <a:off x="1435320" y="4842720"/>
              <a:ext cx="104760" cy="24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2" h="69">
                  <a:moveTo>
                    <a:pt x="146" y="69"/>
                  </a:moveTo>
                  <a:lnTo>
                    <a:pt x="0" y="69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292" y="6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4" name="Straight Connector 103"/>
            <p:cNvSpPr/>
            <p:nvPr/>
          </p:nvSpPr>
          <p:spPr>
            <a:xfrm>
              <a:off x="1377359" y="4548239"/>
              <a:ext cx="0" cy="31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5" name="Freeform: Shape 100"/>
            <p:cNvSpPr/>
            <p:nvPr/>
          </p:nvSpPr>
          <p:spPr>
            <a:xfrm>
              <a:off x="1396439" y="4129200"/>
              <a:ext cx="240480" cy="694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69" h="1929">
                  <a:moveTo>
                    <a:pt x="4" y="1419"/>
                  </a:moveTo>
                  <a:cubicBezTo>
                    <a:pt x="4" y="1419"/>
                    <a:pt x="-63" y="664"/>
                    <a:pt x="337" y="0"/>
                  </a:cubicBezTo>
                  <a:cubicBezTo>
                    <a:pt x="337" y="0"/>
                    <a:pt x="845" y="812"/>
                    <a:pt x="603" y="192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6" name="Freeform: Shape 101"/>
            <p:cNvSpPr/>
            <p:nvPr/>
          </p:nvSpPr>
          <p:spPr>
            <a:xfrm>
              <a:off x="1485359" y="4201560"/>
              <a:ext cx="99360" cy="114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7" h="320">
                  <a:moveTo>
                    <a:pt x="0" y="0"/>
                  </a:moveTo>
                  <a:cubicBezTo>
                    <a:pt x="0" y="0"/>
                    <a:pt x="103" y="215"/>
                    <a:pt x="277" y="32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7" name="Freeform: Shape 102"/>
            <p:cNvSpPr/>
            <p:nvPr/>
          </p:nvSpPr>
          <p:spPr>
            <a:xfrm>
              <a:off x="1468800" y="4279680"/>
              <a:ext cx="127080" cy="144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0" y="0"/>
                  </a:moveTo>
                  <a:cubicBezTo>
                    <a:pt x="0" y="0"/>
                    <a:pt x="132" y="269"/>
                    <a:pt x="354" y="40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8" name="Freeform: Shape 103"/>
            <p:cNvSpPr/>
            <p:nvPr/>
          </p:nvSpPr>
          <p:spPr>
            <a:xfrm>
              <a:off x="1452240" y="4358520"/>
              <a:ext cx="149400" cy="168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0" y="0"/>
                  </a:moveTo>
                  <a:cubicBezTo>
                    <a:pt x="0" y="0"/>
                    <a:pt x="155" y="315"/>
                    <a:pt x="416" y="46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9" name="Freeform: Shape 104"/>
            <p:cNvSpPr/>
            <p:nvPr/>
          </p:nvSpPr>
          <p:spPr>
            <a:xfrm>
              <a:off x="1435320" y="4435920"/>
              <a:ext cx="175320" cy="195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8" h="543">
                  <a:moveTo>
                    <a:pt x="0" y="0"/>
                  </a:moveTo>
                  <a:cubicBezTo>
                    <a:pt x="0" y="0"/>
                    <a:pt x="181" y="365"/>
                    <a:pt x="488" y="5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0" name="Freeform: Shape 105"/>
            <p:cNvSpPr/>
            <p:nvPr/>
          </p:nvSpPr>
          <p:spPr>
            <a:xfrm>
              <a:off x="1418760" y="4515480"/>
              <a:ext cx="194400" cy="2178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41" h="606">
                  <a:moveTo>
                    <a:pt x="0" y="0"/>
                  </a:moveTo>
                  <a:cubicBezTo>
                    <a:pt x="0" y="0"/>
                    <a:pt x="202" y="407"/>
                    <a:pt x="541" y="606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1" name="Freeform: Shape 106"/>
            <p:cNvSpPr/>
            <p:nvPr/>
          </p:nvSpPr>
          <p:spPr>
            <a:xfrm>
              <a:off x="1449719" y="4208760"/>
              <a:ext cx="99720" cy="115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321">
                  <a:moveTo>
                    <a:pt x="278" y="0"/>
                  </a:moveTo>
                  <a:cubicBezTo>
                    <a:pt x="278" y="0"/>
                    <a:pt x="174" y="216"/>
                    <a:pt x="0" y="32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2" name="Freeform: Shape 107"/>
            <p:cNvSpPr/>
            <p:nvPr/>
          </p:nvSpPr>
          <p:spPr>
            <a:xfrm>
              <a:off x="1438559" y="4286880"/>
              <a:ext cx="127080" cy="144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354" y="0"/>
                  </a:moveTo>
                  <a:cubicBezTo>
                    <a:pt x="354" y="0"/>
                    <a:pt x="222" y="270"/>
                    <a:pt x="0" y="40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3" name="Freeform: Shape 108"/>
            <p:cNvSpPr/>
            <p:nvPr/>
          </p:nvSpPr>
          <p:spPr>
            <a:xfrm>
              <a:off x="1432800" y="4366079"/>
              <a:ext cx="149400" cy="168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416" y="0"/>
                  </a:moveTo>
                  <a:cubicBezTo>
                    <a:pt x="416" y="0"/>
                    <a:pt x="261" y="315"/>
                    <a:pt x="0" y="46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4" name="Freeform: Shape 109"/>
            <p:cNvSpPr/>
            <p:nvPr/>
          </p:nvSpPr>
          <p:spPr>
            <a:xfrm>
              <a:off x="1424159" y="4443120"/>
              <a:ext cx="174960" cy="195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7" h="543">
                  <a:moveTo>
                    <a:pt x="487" y="0"/>
                  </a:moveTo>
                  <a:cubicBezTo>
                    <a:pt x="487" y="0"/>
                    <a:pt x="306" y="365"/>
                    <a:pt x="0" y="5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5" name="Freeform: Shape 110"/>
            <p:cNvSpPr/>
            <p:nvPr/>
          </p:nvSpPr>
          <p:spPr>
            <a:xfrm>
              <a:off x="1510199" y="4523040"/>
              <a:ext cx="105480" cy="146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4" h="409">
                  <a:moveTo>
                    <a:pt x="294" y="0"/>
                  </a:moveTo>
                  <a:cubicBezTo>
                    <a:pt x="294" y="0"/>
                    <a:pt x="188" y="215"/>
                    <a:pt x="0" y="40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6" name="Freeform: Shape 111"/>
            <p:cNvSpPr/>
            <p:nvPr/>
          </p:nvSpPr>
          <p:spPr>
            <a:xfrm>
              <a:off x="1690919" y="4317120"/>
              <a:ext cx="233280" cy="557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49" h="1549">
                  <a:moveTo>
                    <a:pt x="67" y="1549"/>
                  </a:moveTo>
                  <a:cubicBezTo>
                    <a:pt x="67" y="1549"/>
                    <a:pt x="-71" y="262"/>
                    <a:pt x="48" y="48"/>
                  </a:cubicBezTo>
                  <a:cubicBezTo>
                    <a:pt x="48" y="48"/>
                    <a:pt x="366" y="-69"/>
                    <a:pt x="605" y="61"/>
                  </a:cubicBezTo>
                  <a:cubicBezTo>
                    <a:pt x="605" y="61"/>
                    <a:pt x="723" y="431"/>
                    <a:pt x="573" y="1548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7" name="Freeform: Shape 112"/>
            <p:cNvSpPr/>
            <p:nvPr/>
          </p:nvSpPr>
          <p:spPr>
            <a:xfrm>
              <a:off x="1654919" y="4283280"/>
              <a:ext cx="54000" cy="585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1626">
                  <a:moveTo>
                    <a:pt x="79" y="1626"/>
                  </a:moveTo>
                  <a:cubicBezTo>
                    <a:pt x="79" y="1626"/>
                    <a:pt x="-95" y="347"/>
                    <a:pt x="73" y="0"/>
                  </a:cubicBezTo>
                  <a:lnTo>
                    <a:pt x="151" y="11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8" name="Freeform: Shape 113"/>
            <p:cNvSpPr/>
            <p:nvPr/>
          </p:nvSpPr>
          <p:spPr>
            <a:xfrm>
              <a:off x="1689479" y="4257720"/>
              <a:ext cx="252360" cy="511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2" h="1422">
                  <a:moveTo>
                    <a:pt x="0" y="47"/>
                  </a:moveTo>
                  <a:cubicBezTo>
                    <a:pt x="0" y="47"/>
                    <a:pt x="380" y="-73"/>
                    <a:pt x="608" y="71"/>
                  </a:cubicBezTo>
                  <a:cubicBezTo>
                    <a:pt x="608" y="71"/>
                    <a:pt x="782" y="185"/>
                    <a:pt x="657" y="142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9" name="Straight Connector 118"/>
            <p:cNvSpPr/>
            <p:nvPr/>
          </p:nvSpPr>
          <p:spPr>
            <a:xfrm flipV="1">
              <a:off x="1715039" y="4365000"/>
              <a:ext cx="188641" cy="107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0" name="Straight Connector 119"/>
            <p:cNvSpPr/>
            <p:nvPr/>
          </p:nvSpPr>
          <p:spPr>
            <a:xfrm flipV="1">
              <a:off x="1716480" y="4392720"/>
              <a:ext cx="18576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1" name="Straight Connector 120"/>
            <p:cNvSpPr/>
            <p:nvPr/>
          </p:nvSpPr>
          <p:spPr>
            <a:xfrm flipV="1">
              <a:off x="1718280" y="4420440"/>
              <a:ext cx="18252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2" name="Straight Connector 121"/>
            <p:cNvSpPr/>
            <p:nvPr/>
          </p:nvSpPr>
          <p:spPr>
            <a:xfrm flipV="1">
              <a:off x="1720080" y="4448160"/>
              <a:ext cx="17928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3" name="Straight Connector 122"/>
            <p:cNvSpPr/>
            <p:nvPr/>
          </p:nvSpPr>
          <p:spPr>
            <a:xfrm flipV="1">
              <a:off x="1721880" y="4475520"/>
              <a:ext cx="17640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4" name="Straight Connector 123"/>
            <p:cNvSpPr/>
            <p:nvPr/>
          </p:nvSpPr>
          <p:spPr>
            <a:xfrm flipV="1">
              <a:off x="1723680" y="4503240"/>
              <a:ext cx="17316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5" name="Straight Connector 124"/>
            <p:cNvSpPr/>
            <p:nvPr/>
          </p:nvSpPr>
          <p:spPr>
            <a:xfrm flipV="1">
              <a:off x="1725480" y="4530960"/>
              <a:ext cx="17028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6" name="Straight Connector 125"/>
            <p:cNvSpPr/>
            <p:nvPr/>
          </p:nvSpPr>
          <p:spPr>
            <a:xfrm flipV="1">
              <a:off x="1727280" y="4558680"/>
              <a:ext cx="16668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7" name="Straight Connector 126"/>
            <p:cNvSpPr/>
            <p:nvPr/>
          </p:nvSpPr>
          <p:spPr>
            <a:xfrm flipV="1">
              <a:off x="1728719" y="4586399"/>
              <a:ext cx="16380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8" name="Straight Connector 127"/>
            <p:cNvSpPr/>
            <p:nvPr/>
          </p:nvSpPr>
          <p:spPr>
            <a:xfrm flipV="1">
              <a:off x="1730519" y="4614120"/>
              <a:ext cx="16092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9" name="Straight Connector 128"/>
            <p:cNvSpPr/>
            <p:nvPr/>
          </p:nvSpPr>
          <p:spPr>
            <a:xfrm flipV="1">
              <a:off x="1732319" y="4641840"/>
              <a:ext cx="157681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0" name="Straight Connector 129"/>
            <p:cNvSpPr/>
            <p:nvPr/>
          </p:nvSpPr>
          <p:spPr>
            <a:xfrm>
              <a:off x="1734119" y="4669560"/>
              <a:ext cx="1548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1" name="Straight Connector 130"/>
            <p:cNvSpPr/>
            <p:nvPr/>
          </p:nvSpPr>
          <p:spPr>
            <a:xfrm flipV="1">
              <a:off x="1735919" y="4697279"/>
              <a:ext cx="151561" cy="3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2" name="Straight Connector 131"/>
            <p:cNvSpPr/>
            <p:nvPr/>
          </p:nvSpPr>
          <p:spPr>
            <a:xfrm>
              <a:off x="1737719" y="4725000"/>
              <a:ext cx="1483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3" name="Straight Connector 132"/>
            <p:cNvSpPr/>
            <p:nvPr/>
          </p:nvSpPr>
          <p:spPr>
            <a:xfrm>
              <a:off x="1739160" y="4752720"/>
              <a:ext cx="1454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4" name="Straight Connector 133"/>
            <p:cNvSpPr/>
            <p:nvPr/>
          </p:nvSpPr>
          <p:spPr>
            <a:xfrm>
              <a:off x="1740960" y="4780440"/>
              <a:ext cx="142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5" name="Straight Connector 134"/>
            <p:cNvSpPr/>
            <p:nvPr/>
          </p:nvSpPr>
          <p:spPr>
            <a:xfrm>
              <a:off x="1742760" y="4808160"/>
              <a:ext cx="139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6" name="Straight Connector 135"/>
            <p:cNvSpPr/>
            <p:nvPr/>
          </p:nvSpPr>
          <p:spPr>
            <a:xfrm>
              <a:off x="1744560" y="4835880"/>
              <a:ext cx="1360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7" name="Straight Connector 136"/>
            <p:cNvSpPr/>
            <p:nvPr/>
          </p:nvSpPr>
          <p:spPr>
            <a:xfrm>
              <a:off x="1745999" y="4863600"/>
              <a:ext cx="1332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8" name="Straight Connector 137"/>
            <p:cNvSpPr/>
            <p:nvPr/>
          </p:nvSpPr>
          <p:spPr>
            <a:xfrm>
              <a:off x="1628999" y="4732560"/>
              <a:ext cx="392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9" name="Straight Connector 138"/>
            <p:cNvSpPr/>
            <p:nvPr/>
          </p:nvSpPr>
          <p:spPr>
            <a:xfrm>
              <a:off x="1646640" y="4785120"/>
              <a:ext cx="0" cy="576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0" name="Straight Connector 139"/>
            <p:cNvSpPr/>
            <p:nvPr/>
          </p:nvSpPr>
          <p:spPr>
            <a:xfrm>
              <a:off x="1704240" y="4898160"/>
              <a:ext cx="1537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1" name="Straight Connector 140"/>
            <p:cNvSpPr/>
            <p:nvPr/>
          </p:nvSpPr>
          <p:spPr>
            <a:xfrm>
              <a:off x="1907280" y="4919400"/>
              <a:ext cx="46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2" name="Straight Connector 141"/>
            <p:cNvSpPr/>
            <p:nvPr/>
          </p:nvSpPr>
          <p:spPr>
            <a:xfrm>
              <a:off x="2045880" y="4927680"/>
              <a:ext cx="0" cy="82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3" name="Straight Connector 142"/>
            <p:cNvSpPr/>
            <p:nvPr/>
          </p:nvSpPr>
          <p:spPr>
            <a:xfrm>
              <a:off x="2111760" y="4963320"/>
              <a:ext cx="65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4" name="Straight Connector 143"/>
            <p:cNvSpPr/>
            <p:nvPr/>
          </p:nvSpPr>
          <p:spPr>
            <a:xfrm>
              <a:off x="2116800" y="4997160"/>
              <a:ext cx="56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5" name="Straight Connector 144"/>
            <p:cNvSpPr/>
            <p:nvPr/>
          </p:nvSpPr>
          <p:spPr>
            <a:xfrm>
              <a:off x="1916639" y="4771440"/>
              <a:ext cx="878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6" name="Straight Connector 145"/>
            <p:cNvSpPr/>
            <p:nvPr/>
          </p:nvSpPr>
          <p:spPr>
            <a:xfrm>
              <a:off x="2136240" y="4767839"/>
              <a:ext cx="511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7" name="Straight Connector 146"/>
            <p:cNvSpPr/>
            <p:nvPr/>
          </p:nvSpPr>
          <p:spPr>
            <a:xfrm>
              <a:off x="2167920" y="4729319"/>
              <a:ext cx="0" cy="38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8" name="Straight Connector 147"/>
            <p:cNvSpPr/>
            <p:nvPr/>
          </p:nvSpPr>
          <p:spPr>
            <a:xfrm>
              <a:off x="2180160" y="4842720"/>
              <a:ext cx="0" cy="694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9" name="Straight Connector 148"/>
            <p:cNvSpPr/>
            <p:nvPr/>
          </p:nvSpPr>
          <p:spPr>
            <a:xfrm>
              <a:off x="1990079" y="4697279"/>
              <a:ext cx="0" cy="486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0" name="Straight Connector 149"/>
            <p:cNvSpPr/>
            <p:nvPr/>
          </p:nvSpPr>
          <p:spPr>
            <a:xfrm>
              <a:off x="2014200" y="4697640"/>
              <a:ext cx="0" cy="48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1" name="Straight Connector 150"/>
            <p:cNvSpPr/>
            <p:nvPr/>
          </p:nvSpPr>
          <p:spPr>
            <a:xfrm>
              <a:off x="2038679" y="4697640"/>
              <a:ext cx="0" cy="48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2" name="Straight Connector 151"/>
            <p:cNvSpPr/>
            <p:nvPr/>
          </p:nvSpPr>
          <p:spPr>
            <a:xfrm>
              <a:off x="2063160" y="4697640"/>
              <a:ext cx="0" cy="48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3" name="Straight Connector 152"/>
            <p:cNvSpPr/>
            <p:nvPr/>
          </p:nvSpPr>
          <p:spPr>
            <a:xfrm>
              <a:off x="2087640" y="4698000"/>
              <a:ext cx="0" cy="47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4" name="Straight Connector 153"/>
            <p:cNvSpPr/>
            <p:nvPr/>
          </p:nvSpPr>
          <p:spPr>
            <a:xfrm>
              <a:off x="2111760" y="4698000"/>
              <a:ext cx="0" cy="47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5" name="Straight Connector 154"/>
            <p:cNvSpPr/>
            <p:nvPr/>
          </p:nvSpPr>
          <p:spPr>
            <a:xfrm>
              <a:off x="2136240" y="4698360"/>
              <a:ext cx="0" cy="47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6" name="Straight Connector 155"/>
            <p:cNvSpPr/>
            <p:nvPr/>
          </p:nvSpPr>
          <p:spPr>
            <a:xfrm>
              <a:off x="1971360" y="479880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7" name="Straight Connector 156"/>
            <p:cNvSpPr/>
            <p:nvPr/>
          </p:nvSpPr>
          <p:spPr>
            <a:xfrm>
              <a:off x="2156760" y="479880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8" name="Straight Connector 157"/>
            <p:cNvSpPr/>
            <p:nvPr/>
          </p:nvSpPr>
          <p:spPr>
            <a:xfrm>
              <a:off x="1979640" y="467280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9" name="Freeform: Shape 154"/>
            <p:cNvSpPr/>
            <p:nvPr/>
          </p:nvSpPr>
          <p:spPr>
            <a:xfrm>
              <a:off x="1982160" y="4551480"/>
              <a:ext cx="160920" cy="96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48" h="268">
                  <a:moveTo>
                    <a:pt x="448" y="268"/>
                  </a:moveTo>
                  <a:lnTo>
                    <a:pt x="0" y="268"/>
                  </a:lnTo>
                  <a:cubicBezTo>
                    <a:pt x="0" y="268"/>
                    <a:pt x="60" y="0"/>
                    <a:pt x="225" y="0"/>
                  </a:cubicBezTo>
                  <a:cubicBezTo>
                    <a:pt x="390" y="0"/>
                    <a:pt x="448" y="268"/>
                    <a:pt x="448" y="26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0" name="Straight Connector 159"/>
            <p:cNvSpPr/>
            <p:nvPr/>
          </p:nvSpPr>
          <p:spPr>
            <a:xfrm>
              <a:off x="2045880" y="4528440"/>
              <a:ext cx="34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1" name="Straight Connector 160"/>
            <p:cNvSpPr/>
            <p:nvPr/>
          </p:nvSpPr>
          <p:spPr>
            <a:xfrm>
              <a:off x="2052000" y="4505760"/>
              <a:ext cx="241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2" name="Straight Connector 161"/>
            <p:cNvSpPr/>
            <p:nvPr/>
          </p:nvSpPr>
          <p:spPr>
            <a:xfrm>
              <a:off x="2064240" y="4431960"/>
              <a:ext cx="0" cy="43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3" name="Straight Connector 162"/>
            <p:cNvSpPr/>
            <p:nvPr/>
          </p:nvSpPr>
          <p:spPr>
            <a:xfrm>
              <a:off x="2031480" y="4878720"/>
              <a:ext cx="644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4" name="Straight Connector 163"/>
            <p:cNvSpPr/>
            <p:nvPr/>
          </p:nvSpPr>
          <p:spPr>
            <a:xfrm>
              <a:off x="2223360" y="4723559"/>
              <a:ext cx="72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5" name="Straight Connector 164"/>
            <p:cNvSpPr/>
            <p:nvPr/>
          </p:nvSpPr>
          <p:spPr>
            <a:xfrm>
              <a:off x="2210040" y="4627440"/>
              <a:ext cx="0" cy="84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6" name="Straight Connector 165"/>
            <p:cNvSpPr/>
            <p:nvPr/>
          </p:nvSpPr>
          <p:spPr>
            <a:xfrm>
              <a:off x="2305080" y="4627440"/>
              <a:ext cx="0" cy="84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7" name="Straight Connector 166"/>
            <p:cNvSpPr/>
            <p:nvPr/>
          </p:nvSpPr>
          <p:spPr>
            <a:xfrm>
              <a:off x="2214719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8" name="Straight Connector 167"/>
            <p:cNvSpPr/>
            <p:nvPr/>
          </p:nvSpPr>
          <p:spPr>
            <a:xfrm>
              <a:off x="223704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9" name="Straight Connector 168"/>
            <p:cNvSpPr/>
            <p:nvPr/>
          </p:nvSpPr>
          <p:spPr>
            <a:xfrm>
              <a:off x="225900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0" name="Straight Connector 169"/>
            <p:cNvSpPr/>
            <p:nvPr/>
          </p:nvSpPr>
          <p:spPr>
            <a:xfrm>
              <a:off x="228096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1" name="Straight Connector 170"/>
            <p:cNvSpPr/>
            <p:nvPr/>
          </p:nvSpPr>
          <p:spPr>
            <a:xfrm>
              <a:off x="230292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2" name="Freeform: Shape 167"/>
            <p:cNvSpPr/>
            <p:nvPr/>
          </p:nvSpPr>
          <p:spPr>
            <a:xfrm>
              <a:off x="2206440" y="4525560"/>
              <a:ext cx="99720" cy="85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239" fill="none">
                  <a:moveTo>
                    <a:pt x="0" y="239"/>
                  </a:moveTo>
                  <a:lnTo>
                    <a:pt x="72" y="123"/>
                  </a:lnTo>
                  <a:lnTo>
                    <a:pt x="72" y="0"/>
                  </a:lnTo>
                  <a:lnTo>
                    <a:pt x="204" y="0"/>
                  </a:lnTo>
                  <a:lnTo>
                    <a:pt x="204" y="119"/>
                  </a:lnTo>
                  <a:lnTo>
                    <a:pt x="278" y="2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3" name="Freeform: Shape 168"/>
            <p:cNvSpPr/>
            <p:nvPr/>
          </p:nvSpPr>
          <p:spPr>
            <a:xfrm>
              <a:off x="2235960" y="4650120"/>
              <a:ext cx="43920" cy="43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3" h="123">
                  <a:moveTo>
                    <a:pt x="123" y="61"/>
                  </a:moveTo>
                  <a:cubicBezTo>
                    <a:pt x="123" y="73"/>
                    <a:pt x="121" y="82"/>
                    <a:pt x="115" y="92"/>
                  </a:cubicBezTo>
                  <a:cubicBezTo>
                    <a:pt x="109" y="102"/>
                    <a:pt x="101" y="109"/>
                    <a:pt x="92" y="115"/>
                  </a:cubicBezTo>
                  <a:cubicBezTo>
                    <a:pt x="82" y="120"/>
                    <a:pt x="73" y="123"/>
                    <a:pt x="62" y="123"/>
                  </a:cubicBezTo>
                  <a:cubicBezTo>
                    <a:pt x="50" y="123"/>
                    <a:pt x="41" y="120"/>
                    <a:pt x="31" y="115"/>
                  </a:cubicBezTo>
                  <a:cubicBezTo>
                    <a:pt x="21" y="109"/>
                    <a:pt x="14" y="102"/>
                    <a:pt x="8" y="92"/>
                  </a:cubicBezTo>
                  <a:cubicBezTo>
                    <a:pt x="2" y="82"/>
                    <a:pt x="0" y="72"/>
                    <a:pt x="0" y="61"/>
                  </a:cubicBezTo>
                  <a:cubicBezTo>
                    <a:pt x="0" y="49"/>
                    <a:pt x="2" y="40"/>
                    <a:pt x="8" y="30"/>
                  </a:cubicBezTo>
                  <a:cubicBezTo>
                    <a:pt x="14" y="20"/>
                    <a:pt x="21" y="14"/>
                    <a:pt x="31" y="8"/>
                  </a:cubicBezTo>
                  <a:cubicBezTo>
                    <a:pt x="41" y="2"/>
                    <a:pt x="50" y="0"/>
                    <a:pt x="62" y="0"/>
                  </a:cubicBezTo>
                  <a:cubicBezTo>
                    <a:pt x="73" y="0"/>
                    <a:pt x="82" y="2"/>
                    <a:pt x="92" y="8"/>
                  </a:cubicBezTo>
                  <a:cubicBezTo>
                    <a:pt x="101" y="14"/>
                    <a:pt x="109" y="20"/>
                    <a:pt x="115" y="30"/>
                  </a:cubicBezTo>
                  <a:cubicBezTo>
                    <a:pt x="121" y="39"/>
                    <a:pt x="123" y="50"/>
                    <a:pt x="123" y="61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4" name="Straight Connector 173"/>
            <p:cNvSpPr/>
            <p:nvPr/>
          </p:nvSpPr>
          <p:spPr>
            <a:xfrm>
              <a:off x="2231640" y="4603320"/>
              <a:ext cx="50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5" name="Straight Connector 174"/>
            <p:cNvSpPr/>
            <p:nvPr/>
          </p:nvSpPr>
          <p:spPr>
            <a:xfrm>
              <a:off x="2231640" y="4620600"/>
              <a:ext cx="50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6" name="Straight Connector 175"/>
            <p:cNvSpPr/>
            <p:nvPr/>
          </p:nvSpPr>
          <p:spPr>
            <a:xfrm>
              <a:off x="2232360" y="4569840"/>
              <a:ext cx="47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7" name="Freeform: Shape 172"/>
            <p:cNvSpPr/>
            <p:nvPr/>
          </p:nvSpPr>
          <p:spPr>
            <a:xfrm>
              <a:off x="2232360" y="4487760"/>
              <a:ext cx="47160" cy="37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2" h="105" fill="none">
                  <a:moveTo>
                    <a:pt x="0" y="105"/>
                  </a:moveTo>
                  <a:lnTo>
                    <a:pt x="67" y="0"/>
                  </a:lnTo>
                  <a:lnTo>
                    <a:pt x="132" y="10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8" name="Straight Connector 177"/>
            <p:cNvSpPr/>
            <p:nvPr/>
          </p:nvSpPr>
          <p:spPr>
            <a:xfrm>
              <a:off x="2257200" y="4539600"/>
              <a:ext cx="0" cy="20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9" name="Straight Connector 178"/>
            <p:cNvSpPr/>
            <p:nvPr/>
          </p:nvSpPr>
          <p:spPr>
            <a:xfrm flipV="1">
              <a:off x="2256480" y="4451760"/>
              <a:ext cx="0" cy="36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0" name="Straight Connector 179"/>
            <p:cNvSpPr/>
            <p:nvPr/>
          </p:nvSpPr>
          <p:spPr>
            <a:xfrm>
              <a:off x="2345039" y="4777560"/>
              <a:ext cx="0" cy="81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1" name="Straight Connector 180"/>
            <p:cNvSpPr/>
            <p:nvPr/>
          </p:nvSpPr>
          <p:spPr>
            <a:xfrm>
              <a:off x="2319120" y="4858920"/>
              <a:ext cx="50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2" name="Straight Connector 181"/>
            <p:cNvSpPr/>
            <p:nvPr/>
          </p:nvSpPr>
          <p:spPr>
            <a:xfrm>
              <a:off x="2247480" y="4997160"/>
              <a:ext cx="4143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3" name="Freeform: Shape 178"/>
            <p:cNvSpPr/>
            <p:nvPr/>
          </p:nvSpPr>
          <p:spPr>
            <a:xfrm>
              <a:off x="2357280" y="3765960"/>
              <a:ext cx="304200" cy="1213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46" h="3372" fill="none">
                  <a:moveTo>
                    <a:pt x="0" y="3372"/>
                  </a:moveTo>
                  <a:lnTo>
                    <a:pt x="348" y="0"/>
                  </a:lnTo>
                  <a:lnTo>
                    <a:pt x="408" y="169"/>
                  </a:lnTo>
                  <a:lnTo>
                    <a:pt x="468" y="0"/>
                  </a:lnTo>
                  <a:lnTo>
                    <a:pt x="846" y="336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4" name="Straight Connector 183"/>
            <p:cNvSpPr/>
            <p:nvPr/>
          </p:nvSpPr>
          <p:spPr>
            <a:xfrm>
              <a:off x="2508841" y="3855598"/>
              <a:ext cx="123081" cy="111600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5" name="Straight Connector 184"/>
            <p:cNvSpPr/>
            <p:nvPr/>
          </p:nvSpPr>
          <p:spPr>
            <a:xfrm>
              <a:off x="2644560" y="4823280"/>
              <a:ext cx="121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6" name="Straight Connector 185"/>
            <p:cNvSpPr/>
            <p:nvPr/>
          </p:nvSpPr>
          <p:spPr>
            <a:xfrm>
              <a:off x="2693520" y="4893480"/>
              <a:ext cx="0" cy="11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7" name="Straight Connector 186"/>
            <p:cNvSpPr/>
            <p:nvPr/>
          </p:nvSpPr>
          <p:spPr>
            <a:xfrm>
              <a:off x="3372120" y="4893480"/>
              <a:ext cx="0" cy="11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8" name="Straight Connector 187"/>
            <p:cNvSpPr/>
            <p:nvPr/>
          </p:nvSpPr>
          <p:spPr>
            <a:xfrm>
              <a:off x="2856960" y="4997160"/>
              <a:ext cx="2509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9" name="Straight Connector 188"/>
            <p:cNvSpPr/>
            <p:nvPr/>
          </p:nvSpPr>
          <p:spPr>
            <a:xfrm>
              <a:off x="2905560" y="5026680"/>
              <a:ext cx="72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0" name="Straight Connector 189"/>
            <p:cNvSpPr/>
            <p:nvPr/>
          </p:nvSpPr>
          <p:spPr>
            <a:xfrm>
              <a:off x="2657880" y="4673160"/>
              <a:ext cx="64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1" name="Straight Connector 190"/>
            <p:cNvSpPr/>
            <p:nvPr/>
          </p:nvSpPr>
          <p:spPr>
            <a:xfrm>
              <a:off x="2809800" y="4673160"/>
              <a:ext cx="1411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2" name="Straight Connector 191"/>
            <p:cNvSpPr/>
            <p:nvPr/>
          </p:nvSpPr>
          <p:spPr>
            <a:xfrm>
              <a:off x="2724480" y="4582440"/>
              <a:ext cx="0" cy="189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3" name="Freeform: Shape 188"/>
            <p:cNvSpPr/>
            <p:nvPr/>
          </p:nvSpPr>
          <p:spPr>
            <a:xfrm>
              <a:off x="2809800" y="4582440"/>
              <a:ext cx="333720" cy="307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8" h="855" fill="none">
                  <a:moveTo>
                    <a:pt x="0" y="0"/>
                  </a:moveTo>
                  <a:lnTo>
                    <a:pt x="0" y="855"/>
                  </a:lnTo>
                  <a:lnTo>
                    <a:pt x="928" y="855"/>
                  </a:lnTo>
                  <a:lnTo>
                    <a:pt x="883" y="782"/>
                  </a:lnTo>
                  <a:lnTo>
                    <a:pt x="77" y="78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4" name="Straight Connector 193"/>
            <p:cNvSpPr/>
            <p:nvPr/>
          </p:nvSpPr>
          <p:spPr>
            <a:xfrm>
              <a:off x="2765880" y="4582440"/>
              <a:ext cx="0" cy="42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5" name="Straight Connector 194"/>
            <p:cNvSpPr/>
            <p:nvPr/>
          </p:nvSpPr>
          <p:spPr>
            <a:xfrm>
              <a:off x="2765880" y="4669920"/>
              <a:ext cx="0" cy="18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6" name="Straight Connector 195"/>
            <p:cNvSpPr/>
            <p:nvPr/>
          </p:nvSpPr>
          <p:spPr>
            <a:xfrm>
              <a:off x="2700000" y="4565160"/>
              <a:ext cx="133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7" name="Freeform: Shape 192"/>
            <p:cNvSpPr/>
            <p:nvPr/>
          </p:nvSpPr>
          <p:spPr>
            <a:xfrm>
              <a:off x="2710800" y="4506840"/>
              <a:ext cx="106920" cy="44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8" name="Straight Connector 197"/>
            <p:cNvSpPr/>
            <p:nvPr/>
          </p:nvSpPr>
          <p:spPr>
            <a:xfrm>
              <a:off x="2766960" y="4424040"/>
              <a:ext cx="0" cy="83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9" name="Freeform: Shape 194"/>
            <p:cNvSpPr/>
            <p:nvPr/>
          </p:nvSpPr>
          <p:spPr>
            <a:xfrm>
              <a:off x="3039120" y="4673160"/>
              <a:ext cx="411480" cy="626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44" h="175" fill="none">
                  <a:moveTo>
                    <a:pt x="0" y="0"/>
                  </a:moveTo>
                  <a:lnTo>
                    <a:pt x="1144" y="0"/>
                  </a:lnTo>
                  <a:lnTo>
                    <a:pt x="1144" y="175"/>
                  </a:lnTo>
                  <a:lnTo>
                    <a:pt x="780" y="175"/>
                  </a:lnTo>
                  <a:lnTo>
                    <a:pt x="780" y="8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0" name="Straight Connector 199"/>
            <p:cNvSpPr/>
            <p:nvPr/>
          </p:nvSpPr>
          <p:spPr>
            <a:xfrm>
              <a:off x="2953800" y="4582440"/>
              <a:ext cx="0" cy="189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1" name="Straight Connector 200"/>
            <p:cNvSpPr/>
            <p:nvPr/>
          </p:nvSpPr>
          <p:spPr>
            <a:xfrm>
              <a:off x="3039120" y="4582440"/>
              <a:ext cx="0" cy="189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2" name="Straight Connector 201"/>
            <p:cNvSpPr/>
            <p:nvPr/>
          </p:nvSpPr>
          <p:spPr>
            <a:xfrm>
              <a:off x="2995560" y="4582440"/>
              <a:ext cx="0" cy="42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3" name="Straight Connector 202"/>
            <p:cNvSpPr/>
            <p:nvPr/>
          </p:nvSpPr>
          <p:spPr>
            <a:xfrm>
              <a:off x="2995560" y="4669920"/>
              <a:ext cx="0" cy="18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4" name="Straight Connector 203"/>
            <p:cNvSpPr/>
            <p:nvPr/>
          </p:nvSpPr>
          <p:spPr>
            <a:xfrm>
              <a:off x="2929679" y="4565160"/>
              <a:ext cx="1339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5" name="Freeform: Shape 200"/>
            <p:cNvSpPr/>
            <p:nvPr/>
          </p:nvSpPr>
          <p:spPr>
            <a:xfrm>
              <a:off x="2940479" y="4506840"/>
              <a:ext cx="106920" cy="44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6" name="Straight Connector 205"/>
            <p:cNvSpPr/>
            <p:nvPr/>
          </p:nvSpPr>
          <p:spPr>
            <a:xfrm>
              <a:off x="2996640" y="4424040"/>
              <a:ext cx="0" cy="83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7" name="Freeform: Shape 202"/>
            <p:cNvSpPr/>
            <p:nvPr/>
          </p:nvSpPr>
          <p:spPr>
            <a:xfrm>
              <a:off x="3064320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8" name="Freeform: Shape 203"/>
            <p:cNvSpPr/>
            <p:nvPr/>
          </p:nvSpPr>
          <p:spPr>
            <a:xfrm>
              <a:off x="3151440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9" name="Freeform: Shape 204"/>
            <p:cNvSpPr/>
            <p:nvPr/>
          </p:nvSpPr>
          <p:spPr>
            <a:xfrm>
              <a:off x="3238560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0" name="Freeform: Shape 205"/>
            <p:cNvSpPr/>
            <p:nvPr/>
          </p:nvSpPr>
          <p:spPr>
            <a:xfrm>
              <a:off x="3325679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1" name="Freeform: Shape 206"/>
            <p:cNvSpPr/>
            <p:nvPr/>
          </p:nvSpPr>
          <p:spPr>
            <a:xfrm>
              <a:off x="2714040" y="4930200"/>
              <a:ext cx="18900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2" name="Freeform: Shape 207"/>
            <p:cNvSpPr/>
            <p:nvPr/>
          </p:nvSpPr>
          <p:spPr>
            <a:xfrm>
              <a:off x="2940120" y="4930200"/>
              <a:ext cx="18864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5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5" y="132"/>
                    <a:pt x="525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3" name="Freeform: Shape 208"/>
            <p:cNvSpPr/>
            <p:nvPr/>
          </p:nvSpPr>
          <p:spPr>
            <a:xfrm>
              <a:off x="3166200" y="4930200"/>
              <a:ext cx="18900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3" y="0"/>
                    <a:pt x="277" y="0"/>
                  </a:cubicBezTo>
                  <a:cubicBezTo>
                    <a:pt x="491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4" name="Straight Connector 213"/>
            <p:cNvSpPr/>
            <p:nvPr/>
          </p:nvSpPr>
          <p:spPr>
            <a:xfrm>
              <a:off x="3506039" y="4715280"/>
              <a:ext cx="5212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5" name="Straight Connector 214"/>
            <p:cNvSpPr/>
            <p:nvPr/>
          </p:nvSpPr>
          <p:spPr>
            <a:xfrm>
              <a:off x="3629160" y="4756680"/>
              <a:ext cx="274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6" name="Straight Connector 215"/>
            <p:cNvSpPr/>
            <p:nvPr/>
          </p:nvSpPr>
          <p:spPr>
            <a:xfrm>
              <a:off x="3711960" y="4797360"/>
              <a:ext cx="109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7" name="Freeform: Shape 212"/>
            <p:cNvSpPr/>
            <p:nvPr/>
          </p:nvSpPr>
          <p:spPr>
            <a:xfrm>
              <a:off x="4082040" y="4701600"/>
              <a:ext cx="54720" cy="1368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3" h="381">
                  <a:moveTo>
                    <a:pt x="153" y="0"/>
                  </a:moveTo>
                  <a:lnTo>
                    <a:pt x="153" y="381"/>
                  </a:lnTo>
                  <a:lnTo>
                    <a:pt x="0" y="25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8" name="Straight Connector 217"/>
            <p:cNvSpPr/>
            <p:nvPr/>
          </p:nvSpPr>
          <p:spPr>
            <a:xfrm>
              <a:off x="4082040" y="4852440"/>
              <a:ext cx="414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9" name="Freeform: Shape 214"/>
            <p:cNvSpPr/>
            <p:nvPr/>
          </p:nvSpPr>
          <p:spPr>
            <a:xfrm>
              <a:off x="3835440" y="4838760"/>
              <a:ext cx="95400" cy="191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6" h="533">
                  <a:moveTo>
                    <a:pt x="266" y="0"/>
                  </a:moveTo>
                  <a:lnTo>
                    <a:pt x="266" y="533"/>
                  </a:lnTo>
                  <a:lnTo>
                    <a:pt x="0" y="35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0" name="Straight Connector 219"/>
            <p:cNvSpPr/>
            <p:nvPr/>
          </p:nvSpPr>
          <p:spPr>
            <a:xfrm>
              <a:off x="3835440" y="5044320"/>
              <a:ext cx="54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1" name="Straight Connector 220"/>
            <p:cNvSpPr/>
            <p:nvPr/>
          </p:nvSpPr>
          <p:spPr>
            <a:xfrm>
              <a:off x="3506039" y="4866120"/>
              <a:ext cx="1094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2" name="Straight Connector 221"/>
            <p:cNvSpPr/>
            <p:nvPr/>
          </p:nvSpPr>
          <p:spPr>
            <a:xfrm>
              <a:off x="3409920" y="4618440"/>
              <a:ext cx="0" cy="55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3" name="Straight Connector 222"/>
            <p:cNvSpPr/>
            <p:nvPr/>
          </p:nvSpPr>
          <p:spPr>
            <a:xfrm>
              <a:off x="4205880" y="4715280"/>
              <a:ext cx="219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4" name="Straight Connector 223"/>
            <p:cNvSpPr/>
            <p:nvPr/>
          </p:nvSpPr>
          <p:spPr>
            <a:xfrm>
              <a:off x="-5216400" y="4862160"/>
              <a:ext cx="190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5" name="Straight Connector 224"/>
            <p:cNvSpPr/>
            <p:nvPr/>
          </p:nvSpPr>
          <p:spPr>
            <a:xfrm>
              <a:off x="-5132520" y="4893480"/>
              <a:ext cx="0" cy="1162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6" name="Straight Connector 225"/>
            <p:cNvSpPr/>
            <p:nvPr/>
          </p:nvSpPr>
          <p:spPr>
            <a:xfrm>
              <a:off x="-4992480" y="4796640"/>
              <a:ext cx="535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7" name="Straight Connector 226"/>
            <p:cNvSpPr/>
            <p:nvPr/>
          </p:nvSpPr>
          <p:spPr>
            <a:xfrm>
              <a:off x="-4873320" y="4839120"/>
              <a:ext cx="289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8" name="Straight Connector 227"/>
            <p:cNvSpPr/>
            <p:nvPr/>
          </p:nvSpPr>
          <p:spPr>
            <a:xfrm>
              <a:off x="-4781520" y="4879440"/>
              <a:ext cx="106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9" name="Straight Connector 228"/>
            <p:cNvSpPr/>
            <p:nvPr/>
          </p:nvSpPr>
          <p:spPr>
            <a:xfrm>
              <a:off x="-4398840" y="4768559"/>
              <a:ext cx="0" cy="32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0" name="Straight Connector 229"/>
            <p:cNvSpPr/>
            <p:nvPr/>
          </p:nvSpPr>
          <p:spPr>
            <a:xfrm>
              <a:off x="-4361040" y="4801320"/>
              <a:ext cx="358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1" name="Freeform: Shape 226"/>
            <p:cNvSpPr/>
            <p:nvPr/>
          </p:nvSpPr>
          <p:spPr>
            <a:xfrm>
              <a:off x="-4316040" y="4453920"/>
              <a:ext cx="516599" cy="330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36" h="918" fill="none">
                  <a:moveTo>
                    <a:pt x="0" y="918"/>
                  </a:moveTo>
                  <a:lnTo>
                    <a:pt x="718" y="0"/>
                  </a:lnTo>
                  <a:lnTo>
                    <a:pt x="1436" y="918"/>
                  </a:lnTo>
                  <a:lnTo>
                    <a:pt x="1436" y="75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2" name="Freeform: Shape 227"/>
            <p:cNvSpPr/>
            <p:nvPr/>
          </p:nvSpPr>
          <p:spPr>
            <a:xfrm>
              <a:off x="-3766320" y="4149360"/>
              <a:ext cx="319680" cy="6735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9" h="1872" fill="none">
                  <a:moveTo>
                    <a:pt x="0" y="1872"/>
                  </a:moveTo>
                  <a:lnTo>
                    <a:pt x="0" y="0"/>
                  </a:lnTo>
                  <a:lnTo>
                    <a:pt x="889" y="0"/>
                  </a:lnTo>
                  <a:lnTo>
                    <a:pt x="889" y="142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3" name="Freeform: Shape 228"/>
            <p:cNvSpPr/>
            <p:nvPr/>
          </p:nvSpPr>
          <p:spPr>
            <a:xfrm>
              <a:off x="-3577320" y="4686480"/>
              <a:ext cx="262080" cy="204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29" h="570" fill="none">
                  <a:moveTo>
                    <a:pt x="0" y="570"/>
                  </a:moveTo>
                  <a:lnTo>
                    <a:pt x="0" y="0"/>
                  </a:lnTo>
                  <a:lnTo>
                    <a:pt x="729" y="0"/>
                  </a:lnTo>
                  <a:lnTo>
                    <a:pt x="729" y="56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4" name="Straight Connector 233"/>
            <p:cNvSpPr/>
            <p:nvPr/>
          </p:nvSpPr>
          <p:spPr>
            <a:xfrm>
              <a:off x="-3409920" y="4643280"/>
              <a:ext cx="7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5" name="Straight Connector 234"/>
            <p:cNvSpPr/>
            <p:nvPr/>
          </p:nvSpPr>
          <p:spPr>
            <a:xfrm>
              <a:off x="-3385440" y="4595040"/>
              <a:ext cx="0" cy="27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6" name="Straight Connector 235"/>
            <p:cNvSpPr/>
            <p:nvPr/>
          </p:nvSpPr>
          <p:spPr>
            <a:xfrm>
              <a:off x="-3625560" y="4035240"/>
              <a:ext cx="39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7" name="Straight Connector 236"/>
            <p:cNvSpPr/>
            <p:nvPr/>
          </p:nvSpPr>
          <p:spPr>
            <a:xfrm>
              <a:off x="-3654360" y="4070160"/>
              <a:ext cx="97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8" name="Freeform: Shape 233"/>
            <p:cNvSpPr/>
            <p:nvPr/>
          </p:nvSpPr>
          <p:spPr>
            <a:xfrm>
              <a:off x="-3675959" y="4097160"/>
              <a:ext cx="142920" cy="51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98" h="145" fill="none">
                  <a:moveTo>
                    <a:pt x="0" y="145"/>
                  </a:moveTo>
                  <a:lnTo>
                    <a:pt x="0" y="0"/>
                  </a:lnTo>
                  <a:lnTo>
                    <a:pt x="398" y="0"/>
                  </a:lnTo>
                  <a:lnTo>
                    <a:pt x="398" y="14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9" name="Straight Connector 238"/>
            <p:cNvSpPr/>
            <p:nvPr/>
          </p:nvSpPr>
          <p:spPr>
            <a:xfrm>
              <a:off x="-3684600" y="4907520"/>
              <a:ext cx="1864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0" name="Straight Connector 239"/>
            <p:cNvSpPr/>
            <p:nvPr/>
          </p:nvSpPr>
          <p:spPr>
            <a:xfrm flipV="1">
              <a:off x="-3395520" y="4727159"/>
              <a:ext cx="0" cy="158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1" name="Straight Connector 240"/>
            <p:cNvSpPr/>
            <p:nvPr/>
          </p:nvSpPr>
          <p:spPr>
            <a:xfrm flipV="1">
              <a:off x="-3260880" y="4207320"/>
              <a:ext cx="0" cy="497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2" name="Straight Connector 241"/>
            <p:cNvSpPr/>
            <p:nvPr/>
          </p:nvSpPr>
          <p:spPr>
            <a:xfrm flipV="1">
              <a:off x="-3137039" y="4207320"/>
              <a:ext cx="0" cy="497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3" name="Freeform: Shape 238"/>
            <p:cNvSpPr/>
            <p:nvPr/>
          </p:nvSpPr>
          <p:spPr>
            <a:xfrm>
              <a:off x="-3254759" y="4184639"/>
              <a:ext cx="110160" cy="33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95" fill="none">
                  <a:moveTo>
                    <a:pt x="0" y="95"/>
                  </a:moveTo>
                  <a:lnTo>
                    <a:pt x="155" y="0"/>
                  </a:lnTo>
                  <a:lnTo>
                    <a:pt x="307" y="9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4" name="Straight Connector 243"/>
            <p:cNvSpPr/>
            <p:nvPr/>
          </p:nvSpPr>
          <p:spPr>
            <a:xfrm flipV="1">
              <a:off x="-3198960" y="4076640"/>
              <a:ext cx="0" cy="107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5" name="Freeform: Shape 240"/>
            <p:cNvSpPr/>
            <p:nvPr/>
          </p:nvSpPr>
          <p:spPr>
            <a:xfrm>
              <a:off x="-3226680" y="4241520"/>
              <a:ext cx="54720" cy="30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3" h="85">
                  <a:moveTo>
                    <a:pt x="76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153" y="0"/>
                  </a:lnTo>
                  <a:lnTo>
                    <a:pt x="153" y="8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6" name="Freeform: Shape 241"/>
            <p:cNvSpPr/>
            <p:nvPr/>
          </p:nvSpPr>
          <p:spPr>
            <a:xfrm>
              <a:off x="-3241080" y="4300560"/>
              <a:ext cx="82080" cy="15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9" h="44">
                  <a:moveTo>
                    <a:pt x="115" y="44"/>
                  </a:moveTo>
                  <a:lnTo>
                    <a:pt x="0" y="44"/>
                  </a:lnTo>
                  <a:lnTo>
                    <a:pt x="0" y="0"/>
                  </a:lnTo>
                  <a:lnTo>
                    <a:pt x="229" y="0"/>
                  </a:lnTo>
                  <a:lnTo>
                    <a:pt x="229" y="4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7" name="Freeform: Shape 242"/>
            <p:cNvSpPr/>
            <p:nvPr/>
          </p:nvSpPr>
          <p:spPr>
            <a:xfrm>
              <a:off x="-3244320" y="433836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8" name="Freeform: Shape 243"/>
            <p:cNvSpPr/>
            <p:nvPr/>
          </p:nvSpPr>
          <p:spPr>
            <a:xfrm>
              <a:off x="-3244320" y="4368239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9" name="Freeform: Shape 244"/>
            <p:cNvSpPr/>
            <p:nvPr/>
          </p:nvSpPr>
          <p:spPr>
            <a:xfrm>
              <a:off x="-3244320" y="439776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0" name="Freeform: Shape 245"/>
            <p:cNvSpPr/>
            <p:nvPr/>
          </p:nvSpPr>
          <p:spPr>
            <a:xfrm>
              <a:off x="-3244320" y="4427279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1" name="Freeform: Shape 246"/>
            <p:cNvSpPr/>
            <p:nvPr/>
          </p:nvSpPr>
          <p:spPr>
            <a:xfrm>
              <a:off x="-3244320" y="445680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2" name="Freeform: Shape 247"/>
            <p:cNvSpPr/>
            <p:nvPr/>
          </p:nvSpPr>
          <p:spPr>
            <a:xfrm>
              <a:off x="-3244320" y="448632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3" name="Freeform: Shape 248"/>
            <p:cNvSpPr/>
            <p:nvPr/>
          </p:nvSpPr>
          <p:spPr>
            <a:xfrm>
              <a:off x="-3244320" y="45158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4" name="Freeform: Shape 249"/>
            <p:cNvSpPr/>
            <p:nvPr/>
          </p:nvSpPr>
          <p:spPr>
            <a:xfrm>
              <a:off x="-3244320" y="454572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5" name="Freeform: Shape 250"/>
            <p:cNvSpPr/>
            <p:nvPr/>
          </p:nvSpPr>
          <p:spPr>
            <a:xfrm>
              <a:off x="-3244320" y="45752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6" name="Freeform: Shape 251"/>
            <p:cNvSpPr/>
            <p:nvPr/>
          </p:nvSpPr>
          <p:spPr>
            <a:xfrm>
              <a:off x="-3244320" y="4604759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7" name="Freeform: Shape 252"/>
            <p:cNvSpPr/>
            <p:nvPr/>
          </p:nvSpPr>
          <p:spPr>
            <a:xfrm>
              <a:off x="-3244320" y="46346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8" name="Freeform: Shape 253"/>
            <p:cNvSpPr/>
            <p:nvPr/>
          </p:nvSpPr>
          <p:spPr>
            <a:xfrm>
              <a:off x="-3244320" y="466452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9" name="Freeform: Shape 254"/>
            <p:cNvSpPr/>
            <p:nvPr/>
          </p:nvSpPr>
          <p:spPr>
            <a:xfrm>
              <a:off x="-3244320" y="46940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0" name="Freeform: Shape 255"/>
            <p:cNvSpPr/>
            <p:nvPr/>
          </p:nvSpPr>
          <p:spPr>
            <a:xfrm>
              <a:off x="-3121200" y="441252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1" name="Freeform: Shape 256"/>
            <p:cNvSpPr/>
            <p:nvPr/>
          </p:nvSpPr>
          <p:spPr>
            <a:xfrm>
              <a:off x="-3121200" y="443268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2" name="Freeform: Shape 257"/>
            <p:cNvSpPr/>
            <p:nvPr/>
          </p:nvSpPr>
          <p:spPr>
            <a:xfrm>
              <a:off x="-3121200" y="445248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3" name="Freeform: Shape 258"/>
            <p:cNvSpPr/>
            <p:nvPr/>
          </p:nvSpPr>
          <p:spPr>
            <a:xfrm>
              <a:off x="-3121200" y="44726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4" name="Freeform: Shape 259"/>
            <p:cNvSpPr/>
            <p:nvPr/>
          </p:nvSpPr>
          <p:spPr>
            <a:xfrm>
              <a:off x="-3121200" y="449280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5" name="Freeform: Shape 260"/>
            <p:cNvSpPr/>
            <p:nvPr/>
          </p:nvSpPr>
          <p:spPr>
            <a:xfrm>
              <a:off x="-3121200" y="451296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6" name="Freeform: Shape 261"/>
            <p:cNvSpPr/>
            <p:nvPr/>
          </p:nvSpPr>
          <p:spPr>
            <a:xfrm>
              <a:off x="-3121200" y="453312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7" name="Freeform: Shape 262"/>
            <p:cNvSpPr/>
            <p:nvPr/>
          </p:nvSpPr>
          <p:spPr>
            <a:xfrm>
              <a:off x="-3121200" y="45536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8" name="Freeform: Shape 263"/>
            <p:cNvSpPr/>
            <p:nvPr/>
          </p:nvSpPr>
          <p:spPr>
            <a:xfrm>
              <a:off x="-3121200" y="45734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9" name="Freeform: Shape 264"/>
            <p:cNvSpPr/>
            <p:nvPr/>
          </p:nvSpPr>
          <p:spPr>
            <a:xfrm>
              <a:off x="-3121200" y="459360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0" name="Freeform: Shape 265"/>
            <p:cNvSpPr/>
            <p:nvPr/>
          </p:nvSpPr>
          <p:spPr>
            <a:xfrm>
              <a:off x="-3121200" y="461376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1" name="Freeform: Shape 266"/>
            <p:cNvSpPr/>
            <p:nvPr/>
          </p:nvSpPr>
          <p:spPr>
            <a:xfrm>
              <a:off x="-3121200" y="463392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2" name="Freeform: Shape 267"/>
            <p:cNvSpPr/>
            <p:nvPr/>
          </p:nvSpPr>
          <p:spPr>
            <a:xfrm>
              <a:off x="-3121200" y="465408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3" name="Freeform: Shape 268"/>
            <p:cNvSpPr/>
            <p:nvPr/>
          </p:nvSpPr>
          <p:spPr>
            <a:xfrm>
              <a:off x="-3121200" y="46742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4" name="Freeform: Shape 269"/>
            <p:cNvSpPr/>
            <p:nvPr/>
          </p:nvSpPr>
          <p:spPr>
            <a:xfrm>
              <a:off x="-3121200" y="4694759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5" name="Straight Connector 274"/>
            <p:cNvSpPr/>
            <p:nvPr/>
          </p:nvSpPr>
          <p:spPr>
            <a:xfrm>
              <a:off x="-2967839" y="4408200"/>
              <a:ext cx="0" cy="29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6" name="Freeform: Shape 271"/>
            <p:cNvSpPr/>
            <p:nvPr/>
          </p:nvSpPr>
          <p:spPr>
            <a:xfrm>
              <a:off x="-3223800" y="4715640"/>
              <a:ext cx="615240" cy="100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10" h="279" fill="none">
                  <a:moveTo>
                    <a:pt x="0" y="0"/>
                  </a:moveTo>
                  <a:lnTo>
                    <a:pt x="1034" y="0"/>
                  </a:lnTo>
                  <a:lnTo>
                    <a:pt x="1034" y="170"/>
                  </a:lnTo>
                  <a:lnTo>
                    <a:pt x="1710" y="170"/>
                  </a:lnTo>
                  <a:lnTo>
                    <a:pt x="1710" y="27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7" name="Freeform: Shape 272"/>
            <p:cNvSpPr/>
            <p:nvPr/>
          </p:nvSpPr>
          <p:spPr>
            <a:xfrm>
              <a:off x="-2857680" y="4826160"/>
              <a:ext cx="456119" cy="49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68" h="138" fill="none">
                  <a:moveTo>
                    <a:pt x="0" y="0"/>
                  </a:moveTo>
                  <a:lnTo>
                    <a:pt x="491" y="0"/>
                  </a:lnTo>
                  <a:lnTo>
                    <a:pt x="491" y="138"/>
                  </a:lnTo>
                  <a:lnTo>
                    <a:pt x="1268" y="13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8" name="Straight Connector 277"/>
            <p:cNvSpPr/>
            <p:nvPr/>
          </p:nvSpPr>
          <p:spPr>
            <a:xfrm>
              <a:off x="-3296520" y="4572360"/>
              <a:ext cx="0" cy="136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9" name="Straight Connector 278"/>
            <p:cNvSpPr/>
            <p:nvPr/>
          </p:nvSpPr>
          <p:spPr>
            <a:xfrm>
              <a:off x="-3279600" y="4572360"/>
              <a:ext cx="0" cy="136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0" name="Freeform: Shape 275"/>
            <p:cNvSpPr/>
            <p:nvPr/>
          </p:nvSpPr>
          <p:spPr>
            <a:xfrm>
              <a:off x="-3272400" y="4766040"/>
              <a:ext cx="179280" cy="95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99" h="267" fill="none">
                  <a:moveTo>
                    <a:pt x="0" y="267"/>
                  </a:moveTo>
                  <a:lnTo>
                    <a:pt x="0" y="0"/>
                  </a:lnTo>
                  <a:lnTo>
                    <a:pt x="499" y="0"/>
                  </a:lnTo>
                  <a:lnTo>
                    <a:pt x="499" y="26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1" name="Freeform: Shape 276"/>
            <p:cNvSpPr/>
            <p:nvPr/>
          </p:nvSpPr>
          <p:spPr>
            <a:xfrm>
              <a:off x="-3244320" y="4791240"/>
              <a:ext cx="97200" cy="24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1" h="70">
                  <a:moveTo>
                    <a:pt x="135" y="70"/>
                  </a:moveTo>
                  <a:lnTo>
                    <a:pt x="0" y="70"/>
                  </a:lnTo>
                  <a:lnTo>
                    <a:pt x="0" y="0"/>
                  </a:lnTo>
                  <a:lnTo>
                    <a:pt x="271" y="0"/>
                  </a:lnTo>
                  <a:lnTo>
                    <a:pt x="271" y="7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2" name="Freeform: Shape 277"/>
            <p:cNvSpPr/>
            <p:nvPr/>
          </p:nvSpPr>
          <p:spPr>
            <a:xfrm>
              <a:off x="-3013560" y="4733279"/>
              <a:ext cx="138240" cy="22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85" h="64">
                  <a:moveTo>
                    <a:pt x="192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385" y="0"/>
                  </a:lnTo>
                  <a:lnTo>
                    <a:pt x="385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3" name="Freeform: Shape 278"/>
            <p:cNvSpPr/>
            <p:nvPr/>
          </p:nvSpPr>
          <p:spPr>
            <a:xfrm>
              <a:off x="-2806920" y="4721760"/>
              <a:ext cx="83880" cy="22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4" h="64">
                  <a:moveTo>
                    <a:pt x="117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234" y="0"/>
                  </a:lnTo>
                  <a:lnTo>
                    <a:pt x="234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4" name="Freeform: Shape 279"/>
            <p:cNvSpPr/>
            <p:nvPr/>
          </p:nvSpPr>
          <p:spPr>
            <a:xfrm>
              <a:off x="-2592360" y="4716000"/>
              <a:ext cx="77760" cy="52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7" h="146">
                  <a:moveTo>
                    <a:pt x="109" y="146"/>
                  </a:moveTo>
                  <a:lnTo>
                    <a:pt x="0" y="146"/>
                  </a:lnTo>
                  <a:lnTo>
                    <a:pt x="0" y="0"/>
                  </a:lnTo>
                  <a:lnTo>
                    <a:pt x="217" y="0"/>
                  </a:lnTo>
                  <a:lnTo>
                    <a:pt x="217" y="14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5" name="Freeform: Shape 280"/>
            <p:cNvSpPr/>
            <p:nvPr/>
          </p:nvSpPr>
          <p:spPr>
            <a:xfrm>
              <a:off x="-2577240" y="4798080"/>
              <a:ext cx="29520" cy="50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3" h="141">
                  <a:moveTo>
                    <a:pt x="42" y="141"/>
                  </a:moveTo>
                  <a:lnTo>
                    <a:pt x="0" y="141"/>
                  </a:lnTo>
                  <a:lnTo>
                    <a:pt x="0" y="0"/>
                  </a:lnTo>
                  <a:lnTo>
                    <a:pt x="83" y="0"/>
                  </a:lnTo>
                  <a:lnTo>
                    <a:pt x="83" y="141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6" name="Freeform: Shape 281"/>
            <p:cNvSpPr/>
            <p:nvPr/>
          </p:nvSpPr>
          <p:spPr>
            <a:xfrm>
              <a:off x="-2904480" y="4563000"/>
              <a:ext cx="56880" cy="18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9" h="53">
                  <a:moveTo>
                    <a:pt x="80" y="53"/>
                  </a:moveTo>
                  <a:lnTo>
                    <a:pt x="0" y="53"/>
                  </a:lnTo>
                  <a:lnTo>
                    <a:pt x="0" y="0"/>
                  </a:lnTo>
                  <a:lnTo>
                    <a:pt x="159" y="0"/>
                  </a:lnTo>
                  <a:lnTo>
                    <a:pt x="159" y="5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7" name="Freeform: Shape 282"/>
            <p:cNvSpPr/>
            <p:nvPr/>
          </p:nvSpPr>
          <p:spPr>
            <a:xfrm>
              <a:off x="-2922479" y="4545720"/>
              <a:ext cx="129240" cy="151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0" h="421" fill="none">
                  <a:moveTo>
                    <a:pt x="0" y="421"/>
                  </a:moveTo>
                  <a:lnTo>
                    <a:pt x="0" y="0"/>
                  </a:lnTo>
                  <a:lnTo>
                    <a:pt x="360" y="0"/>
                  </a:lnTo>
                  <a:lnTo>
                    <a:pt x="360" y="42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8" name="Freeform: Shape 283"/>
            <p:cNvSpPr/>
            <p:nvPr/>
          </p:nvSpPr>
          <p:spPr>
            <a:xfrm>
              <a:off x="-3839400" y="4632120"/>
              <a:ext cx="39960" cy="57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" h="162">
                  <a:moveTo>
                    <a:pt x="56" y="162"/>
                  </a:moveTo>
                  <a:lnTo>
                    <a:pt x="0" y="162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16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9" name="Freeform: Shape 284"/>
            <p:cNvSpPr/>
            <p:nvPr/>
          </p:nvSpPr>
          <p:spPr>
            <a:xfrm>
              <a:off x="-3866039" y="4824360"/>
              <a:ext cx="69840" cy="23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95" h="65">
                  <a:moveTo>
                    <a:pt x="98" y="65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195" y="0"/>
                  </a:lnTo>
                  <a:lnTo>
                    <a:pt x="195" y="6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0" name="Freeform: Shape 285"/>
            <p:cNvSpPr/>
            <p:nvPr/>
          </p:nvSpPr>
          <p:spPr>
            <a:xfrm>
              <a:off x="-1710720" y="4671000"/>
              <a:ext cx="32400" cy="59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1" h="166">
                  <a:moveTo>
                    <a:pt x="46" y="166"/>
                  </a:moveTo>
                  <a:lnTo>
                    <a:pt x="0" y="166"/>
                  </a:lnTo>
                  <a:lnTo>
                    <a:pt x="0" y="0"/>
                  </a:lnTo>
                  <a:lnTo>
                    <a:pt x="91" y="0"/>
                  </a:lnTo>
                  <a:lnTo>
                    <a:pt x="91" y="16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1" name="Freeform: Shape 286"/>
            <p:cNvSpPr/>
            <p:nvPr/>
          </p:nvSpPr>
          <p:spPr>
            <a:xfrm>
              <a:off x="-1661759" y="4772520"/>
              <a:ext cx="56160" cy="21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7" h="60">
                  <a:moveTo>
                    <a:pt x="79" y="60"/>
                  </a:moveTo>
                  <a:lnTo>
                    <a:pt x="0" y="60"/>
                  </a:lnTo>
                  <a:lnTo>
                    <a:pt x="0" y="0"/>
                  </a:lnTo>
                  <a:lnTo>
                    <a:pt x="157" y="0"/>
                  </a:lnTo>
                  <a:lnTo>
                    <a:pt x="157" y="6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2" name="Freeform: Shape 287"/>
            <p:cNvSpPr/>
            <p:nvPr/>
          </p:nvSpPr>
          <p:spPr>
            <a:xfrm>
              <a:off x="-1556279" y="4707360"/>
              <a:ext cx="15120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1" h="132">
                  <a:moveTo>
                    <a:pt x="211" y="132"/>
                  </a:moveTo>
                  <a:lnTo>
                    <a:pt x="0" y="132"/>
                  </a:lnTo>
                  <a:lnTo>
                    <a:pt x="0" y="0"/>
                  </a:lnTo>
                  <a:lnTo>
                    <a:pt x="421" y="0"/>
                  </a:lnTo>
                  <a:lnTo>
                    <a:pt x="421" y="13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3" name="Straight Connector 292"/>
            <p:cNvSpPr/>
            <p:nvPr/>
          </p:nvSpPr>
          <p:spPr>
            <a:xfrm>
              <a:off x="-3120120" y="4336200"/>
              <a:ext cx="47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4" name="Straight Connector 293"/>
            <p:cNvSpPr/>
            <p:nvPr/>
          </p:nvSpPr>
          <p:spPr>
            <a:xfrm>
              <a:off x="-3120120" y="4360680"/>
              <a:ext cx="47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5" name="Straight Connector 294"/>
            <p:cNvSpPr/>
            <p:nvPr/>
          </p:nvSpPr>
          <p:spPr>
            <a:xfrm>
              <a:off x="-3120120" y="4385520"/>
              <a:ext cx="47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6" name="Straight Connector 295"/>
            <p:cNvSpPr/>
            <p:nvPr/>
          </p:nvSpPr>
          <p:spPr>
            <a:xfrm>
              <a:off x="-3106079" y="4290480"/>
              <a:ext cx="0" cy="27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7" name="Straight Connector 296"/>
            <p:cNvSpPr/>
            <p:nvPr/>
          </p:nvSpPr>
          <p:spPr>
            <a:xfrm>
              <a:off x="-2738519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8" name="Straight Connector 297"/>
            <p:cNvSpPr/>
            <p:nvPr/>
          </p:nvSpPr>
          <p:spPr>
            <a:xfrm>
              <a:off x="-271764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9" name="Straight Connector 298"/>
            <p:cNvSpPr/>
            <p:nvPr/>
          </p:nvSpPr>
          <p:spPr>
            <a:xfrm>
              <a:off x="-269676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0" name="Straight Connector 299"/>
            <p:cNvSpPr/>
            <p:nvPr/>
          </p:nvSpPr>
          <p:spPr>
            <a:xfrm>
              <a:off x="-267588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1" name="Straight Connector 300"/>
            <p:cNvSpPr/>
            <p:nvPr/>
          </p:nvSpPr>
          <p:spPr>
            <a:xfrm>
              <a:off x="-265500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2" name="Straight Connector 301"/>
            <p:cNvSpPr/>
            <p:nvPr/>
          </p:nvSpPr>
          <p:spPr>
            <a:xfrm>
              <a:off x="-2634119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3" name="Straight Connector 302"/>
            <p:cNvSpPr/>
            <p:nvPr/>
          </p:nvSpPr>
          <p:spPr>
            <a:xfrm>
              <a:off x="-261288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4" name="Straight Connector 303"/>
            <p:cNvSpPr/>
            <p:nvPr/>
          </p:nvSpPr>
          <p:spPr>
            <a:xfrm>
              <a:off x="-259236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5" name="Straight Connector 304"/>
            <p:cNvSpPr/>
            <p:nvPr/>
          </p:nvSpPr>
          <p:spPr>
            <a:xfrm>
              <a:off x="-1901520" y="4359240"/>
              <a:ext cx="0" cy="460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6" name="Straight Connector 305"/>
            <p:cNvSpPr/>
            <p:nvPr/>
          </p:nvSpPr>
          <p:spPr>
            <a:xfrm>
              <a:off x="-1745640" y="4359240"/>
              <a:ext cx="0" cy="460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7" name="Freeform: Shape 302"/>
            <p:cNvSpPr/>
            <p:nvPr/>
          </p:nvSpPr>
          <p:spPr>
            <a:xfrm>
              <a:off x="-2757960" y="4209840"/>
              <a:ext cx="182520" cy="500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08" h="1390" fill="none">
                  <a:moveTo>
                    <a:pt x="0" y="1390"/>
                  </a:moveTo>
                  <a:lnTo>
                    <a:pt x="0" y="0"/>
                  </a:lnTo>
                  <a:lnTo>
                    <a:pt x="508" y="0"/>
                  </a:lnTo>
                  <a:lnTo>
                    <a:pt x="508" y="138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8" name="Straight Connector 307"/>
            <p:cNvSpPr/>
            <p:nvPr/>
          </p:nvSpPr>
          <p:spPr>
            <a:xfrm>
              <a:off x="-2769480" y="4182479"/>
              <a:ext cx="2084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9" name="Straight Connector 308"/>
            <p:cNvSpPr/>
            <p:nvPr/>
          </p:nvSpPr>
          <p:spPr>
            <a:xfrm>
              <a:off x="-2526480" y="4595040"/>
              <a:ext cx="0" cy="514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0" name="Straight Connector 309"/>
            <p:cNvSpPr/>
            <p:nvPr/>
          </p:nvSpPr>
          <p:spPr>
            <a:xfrm>
              <a:off x="-2555640" y="4651560"/>
              <a:ext cx="58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1" name="Straight Connector 310"/>
            <p:cNvSpPr/>
            <p:nvPr/>
          </p:nvSpPr>
          <p:spPr>
            <a:xfrm>
              <a:off x="-2212560" y="4663800"/>
              <a:ext cx="1022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2" name="Straight Connector 311"/>
            <p:cNvSpPr/>
            <p:nvPr/>
          </p:nvSpPr>
          <p:spPr>
            <a:xfrm>
              <a:off x="-2124720" y="4632120"/>
              <a:ext cx="0" cy="291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3" name="Straight Connector 312"/>
            <p:cNvSpPr/>
            <p:nvPr/>
          </p:nvSpPr>
          <p:spPr>
            <a:xfrm>
              <a:off x="-2022840" y="4656600"/>
              <a:ext cx="1094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4" name="Straight Connector 313"/>
            <p:cNvSpPr/>
            <p:nvPr/>
          </p:nvSpPr>
          <p:spPr>
            <a:xfrm>
              <a:off x="-1966680" y="4598640"/>
              <a:ext cx="0" cy="424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5" name="Straight Connector 314"/>
            <p:cNvSpPr/>
            <p:nvPr/>
          </p:nvSpPr>
          <p:spPr>
            <a:xfrm>
              <a:off x="-1980360" y="4830480"/>
              <a:ext cx="0" cy="80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6" name="Straight Connector 315"/>
            <p:cNvSpPr/>
            <p:nvPr/>
          </p:nvSpPr>
          <p:spPr>
            <a:xfrm>
              <a:off x="-1877760" y="4881960"/>
              <a:ext cx="175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7" name="Straight Connector 316"/>
            <p:cNvSpPr/>
            <p:nvPr/>
          </p:nvSpPr>
          <p:spPr>
            <a:xfrm>
              <a:off x="-1885680" y="4794120"/>
              <a:ext cx="124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8" name="Straight Connector 317"/>
            <p:cNvSpPr/>
            <p:nvPr/>
          </p:nvSpPr>
          <p:spPr>
            <a:xfrm>
              <a:off x="-1885680" y="4643640"/>
              <a:ext cx="124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9" name="Straight Connector 318"/>
            <p:cNvSpPr/>
            <p:nvPr/>
          </p:nvSpPr>
          <p:spPr>
            <a:xfrm>
              <a:off x="-1885680" y="4496760"/>
              <a:ext cx="124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0" name="Straight Connector 319"/>
            <p:cNvSpPr/>
            <p:nvPr/>
          </p:nvSpPr>
          <p:spPr>
            <a:xfrm>
              <a:off x="-1866599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1" name="Straight Connector 320"/>
            <p:cNvSpPr/>
            <p:nvPr/>
          </p:nvSpPr>
          <p:spPr>
            <a:xfrm>
              <a:off x="-1837799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2" name="Straight Connector 321"/>
            <p:cNvSpPr/>
            <p:nvPr/>
          </p:nvSpPr>
          <p:spPr>
            <a:xfrm>
              <a:off x="-1808999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3" name="Straight Connector 322"/>
            <p:cNvSpPr/>
            <p:nvPr/>
          </p:nvSpPr>
          <p:spPr>
            <a:xfrm>
              <a:off x="-1780560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4" name="Straight Connector 323"/>
            <p:cNvSpPr/>
            <p:nvPr/>
          </p:nvSpPr>
          <p:spPr>
            <a:xfrm>
              <a:off x="-1866599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5" name="Straight Connector 324"/>
            <p:cNvSpPr/>
            <p:nvPr/>
          </p:nvSpPr>
          <p:spPr>
            <a:xfrm>
              <a:off x="-1837799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6" name="Straight Connector 325"/>
            <p:cNvSpPr/>
            <p:nvPr/>
          </p:nvSpPr>
          <p:spPr>
            <a:xfrm>
              <a:off x="-1808999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7" name="Straight Connector 326"/>
            <p:cNvSpPr/>
            <p:nvPr/>
          </p:nvSpPr>
          <p:spPr>
            <a:xfrm>
              <a:off x="-1780560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8" name="Straight Connector 327"/>
            <p:cNvSpPr/>
            <p:nvPr/>
          </p:nvSpPr>
          <p:spPr>
            <a:xfrm>
              <a:off x="-1866599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9" name="Straight Connector 328"/>
            <p:cNvSpPr/>
            <p:nvPr/>
          </p:nvSpPr>
          <p:spPr>
            <a:xfrm>
              <a:off x="-1837799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0" name="Straight Connector 329"/>
            <p:cNvSpPr/>
            <p:nvPr/>
          </p:nvSpPr>
          <p:spPr>
            <a:xfrm>
              <a:off x="-1808999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1" name="Straight Connector 330"/>
            <p:cNvSpPr/>
            <p:nvPr/>
          </p:nvSpPr>
          <p:spPr>
            <a:xfrm>
              <a:off x="-1780560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2" name="Freeform: Shape 327"/>
            <p:cNvSpPr/>
            <p:nvPr/>
          </p:nvSpPr>
          <p:spPr>
            <a:xfrm>
              <a:off x="-1891800" y="4267800"/>
              <a:ext cx="136080" cy="78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79" h="218">
                  <a:moveTo>
                    <a:pt x="0" y="218"/>
                  </a:moveTo>
                  <a:lnTo>
                    <a:pt x="379" y="218"/>
                  </a:lnTo>
                  <a:lnTo>
                    <a:pt x="309" y="0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3" name="Freeform: Shape 328"/>
            <p:cNvSpPr/>
            <p:nvPr/>
          </p:nvSpPr>
          <p:spPr>
            <a:xfrm>
              <a:off x="-3009240" y="4879440"/>
              <a:ext cx="981000" cy="39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26" h="111" fill="none">
                  <a:moveTo>
                    <a:pt x="0" y="90"/>
                  </a:moveTo>
                  <a:lnTo>
                    <a:pt x="190" y="0"/>
                  </a:lnTo>
                  <a:lnTo>
                    <a:pt x="782" y="0"/>
                  </a:lnTo>
                  <a:lnTo>
                    <a:pt x="782" y="111"/>
                  </a:lnTo>
                  <a:lnTo>
                    <a:pt x="2726" y="11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4" name="Freeform: Shape 329"/>
            <p:cNvSpPr/>
            <p:nvPr/>
          </p:nvSpPr>
          <p:spPr>
            <a:xfrm>
              <a:off x="-2525400" y="4731480"/>
              <a:ext cx="414720" cy="110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53" h="307" fill="none">
                  <a:moveTo>
                    <a:pt x="0" y="307"/>
                  </a:moveTo>
                  <a:lnTo>
                    <a:pt x="658" y="307"/>
                  </a:lnTo>
                  <a:lnTo>
                    <a:pt x="658" y="88"/>
                  </a:lnTo>
                  <a:lnTo>
                    <a:pt x="973" y="88"/>
                  </a:lnTo>
                  <a:lnTo>
                    <a:pt x="973" y="0"/>
                  </a:lnTo>
                  <a:lnTo>
                    <a:pt x="1153" y="0"/>
                  </a:lnTo>
                  <a:lnTo>
                    <a:pt x="1153" y="236"/>
                  </a:lnTo>
                  <a:lnTo>
                    <a:pt x="936" y="23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5" name="Freeform: Shape 330"/>
            <p:cNvSpPr/>
            <p:nvPr/>
          </p:nvSpPr>
          <p:spPr>
            <a:xfrm>
              <a:off x="-2084040" y="4683240"/>
              <a:ext cx="55800" cy="38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6" h="107" fill="none">
                  <a:moveTo>
                    <a:pt x="0" y="95"/>
                  </a:moveTo>
                  <a:lnTo>
                    <a:pt x="0" y="0"/>
                  </a:lnTo>
                  <a:lnTo>
                    <a:pt x="156" y="0"/>
                  </a:lnTo>
                  <a:lnTo>
                    <a:pt x="156" y="10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6" name="Freeform: Shape 331"/>
            <p:cNvSpPr/>
            <p:nvPr/>
          </p:nvSpPr>
          <p:spPr>
            <a:xfrm>
              <a:off x="-2032560" y="4742280"/>
              <a:ext cx="95760" cy="39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7" h="110" fill="none">
                  <a:moveTo>
                    <a:pt x="267" y="0"/>
                  </a:moveTo>
                  <a:lnTo>
                    <a:pt x="0" y="0"/>
                  </a:lnTo>
                  <a:lnTo>
                    <a:pt x="0" y="110"/>
                  </a:lnTo>
                  <a:lnTo>
                    <a:pt x="267" y="11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7" name="Freeform: Shape 332"/>
            <p:cNvSpPr/>
            <p:nvPr/>
          </p:nvSpPr>
          <p:spPr>
            <a:xfrm>
              <a:off x="-1643039" y="4342320"/>
              <a:ext cx="252000" cy="36899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1" h="1026">
                  <a:moveTo>
                    <a:pt x="0" y="1026"/>
                  </a:moveTo>
                  <a:lnTo>
                    <a:pt x="0" y="93"/>
                  </a:lnTo>
                  <a:cubicBezTo>
                    <a:pt x="0" y="93"/>
                    <a:pt x="-13" y="0"/>
                    <a:pt x="340" y="0"/>
                  </a:cubicBezTo>
                  <a:cubicBezTo>
                    <a:pt x="718" y="0"/>
                    <a:pt x="701" y="98"/>
                    <a:pt x="701" y="98"/>
                  </a:cubicBezTo>
                  <a:lnTo>
                    <a:pt x="701" y="1003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8" name="Straight Connector 337"/>
            <p:cNvSpPr/>
            <p:nvPr/>
          </p:nvSpPr>
          <p:spPr>
            <a:xfrm>
              <a:off x="-1589040" y="4842720"/>
              <a:ext cx="806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9" name="Straight Connector 338"/>
            <p:cNvSpPr/>
            <p:nvPr/>
          </p:nvSpPr>
          <p:spPr>
            <a:xfrm>
              <a:off x="-1377000" y="4817160"/>
              <a:ext cx="3128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0" name="Straight Connector 339"/>
            <p:cNvSpPr/>
            <p:nvPr/>
          </p:nvSpPr>
          <p:spPr>
            <a:xfrm>
              <a:off x="-1046520" y="4794120"/>
              <a:ext cx="0" cy="1094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1" name="Freeform: Shape 336"/>
            <p:cNvSpPr/>
            <p:nvPr/>
          </p:nvSpPr>
          <p:spPr>
            <a:xfrm>
              <a:off x="-1307519" y="4671000"/>
              <a:ext cx="417240" cy="1713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60" h="477" fill="none">
                  <a:moveTo>
                    <a:pt x="840" y="282"/>
                  </a:moveTo>
                  <a:lnTo>
                    <a:pt x="840" y="477"/>
                  </a:lnTo>
                  <a:lnTo>
                    <a:pt x="1160" y="477"/>
                  </a:lnTo>
                  <a:lnTo>
                    <a:pt x="1160" y="312"/>
                  </a:lnTo>
                  <a:lnTo>
                    <a:pt x="1020" y="312"/>
                  </a:lnTo>
                  <a:lnTo>
                    <a:pt x="1020" y="176"/>
                  </a:lnTo>
                  <a:lnTo>
                    <a:pt x="288" y="176"/>
                  </a:lnTo>
                  <a:lnTo>
                    <a:pt x="288" y="0"/>
                  </a:lnTo>
                  <a:lnTo>
                    <a:pt x="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2" name="Straight Connector 341"/>
            <p:cNvSpPr/>
            <p:nvPr/>
          </p:nvSpPr>
          <p:spPr>
            <a:xfrm>
              <a:off x="-1122120" y="4694040"/>
              <a:ext cx="0" cy="377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3" name="Straight Connector 342"/>
            <p:cNvSpPr/>
            <p:nvPr/>
          </p:nvSpPr>
          <p:spPr>
            <a:xfrm>
              <a:off x="-1715400" y="4609800"/>
              <a:ext cx="0" cy="262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4" name="Freeform: Shape 339"/>
            <p:cNvSpPr/>
            <p:nvPr/>
          </p:nvSpPr>
          <p:spPr>
            <a:xfrm>
              <a:off x="-1364760" y="4393800"/>
              <a:ext cx="32760" cy="337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" h="939">
                  <a:moveTo>
                    <a:pt x="46" y="939"/>
                  </a:moveTo>
                  <a:lnTo>
                    <a:pt x="0" y="939"/>
                  </a:lnTo>
                  <a:lnTo>
                    <a:pt x="0" y="0"/>
                  </a:lnTo>
                  <a:lnTo>
                    <a:pt x="92" y="0"/>
                  </a:lnTo>
                  <a:lnTo>
                    <a:pt x="92" y="93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5" name="Straight Connector 344"/>
            <p:cNvSpPr/>
            <p:nvPr/>
          </p:nvSpPr>
          <p:spPr>
            <a:xfrm>
              <a:off x="-3700440" y="4998600"/>
              <a:ext cx="0" cy="72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6" name="Straight Connector 345"/>
            <p:cNvSpPr/>
            <p:nvPr/>
          </p:nvSpPr>
          <p:spPr>
            <a:xfrm>
              <a:off x="-2594520" y="5011200"/>
              <a:ext cx="0" cy="64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7" name="Freeform: Shape 342"/>
            <p:cNvSpPr/>
            <p:nvPr/>
          </p:nvSpPr>
          <p:spPr>
            <a:xfrm>
              <a:off x="-4553279" y="4837680"/>
              <a:ext cx="3673080" cy="111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04" h="311">
                  <a:moveTo>
                    <a:pt x="10204" y="309"/>
                  </a:moveTo>
                  <a:lnTo>
                    <a:pt x="3216" y="309"/>
                  </a:lnTo>
                  <a:cubicBezTo>
                    <a:pt x="3216" y="309"/>
                    <a:pt x="0" y="336"/>
                    <a:pt x="0" y="129"/>
                  </a:cubicBezTo>
                  <a:cubicBezTo>
                    <a:pt x="0" y="-37"/>
                    <a:pt x="1652" y="4"/>
                    <a:pt x="1652" y="4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8" name="Freeform: Shape 343"/>
            <p:cNvSpPr/>
            <p:nvPr/>
          </p:nvSpPr>
          <p:spPr>
            <a:xfrm>
              <a:off x="-4382640" y="4862160"/>
              <a:ext cx="478440" cy="30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30" h="87" fill="none">
                  <a:moveTo>
                    <a:pt x="0" y="87"/>
                  </a:moveTo>
                  <a:lnTo>
                    <a:pt x="248" y="0"/>
                  </a:lnTo>
                  <a:lnTo>
                    <a:pt x="133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9" name="Straight Connector 348"/>
            <p:cNvSpPr/>
            <p:nvPr/>
          </p:nvSpPr>
          <p:spPr>
            <a:xfrm>
              <a:off x="-4212720" y="4979160"/>
              <a:ext cx="3232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0" name="Straight Connector 349"/>
            <p:cNvSpPr/>
            <p:nvPr/>
          </p:nvSpPr>
          <p:spPr>
            <a:xfrm>
              <a:off x="-4090320" y="5024520"/>
              <a:ext cx="103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1" name="Straight Connector 350"/>
            <p:cNvSpPr/>
            <p:nvPr/>
          </p:nvSpPr>
          <p:spPr>
            <a:xfrm>
              <a:off x="-3622320" y="4978080"/>
              <a:ext cx="148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2" name="Straight Connector 351"/>
            <p:cNvSpPr/>
            <p:nvPr/>
          </p:nvSpPr>
          <p:spPr>
            <a:xfrm>
              <a:off x="-2055960" y="4992840"/>
              <a:ext cx="295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3" name="Straight Connector 352"/>
            <p:cNvSpPr/>
            <p:nvPr/>
          </p:nvSpPr>
          <p:spPr>
            <a:xfrm>
              <a:off x="-1899720" y="5032800"/>
              <a:ext cx="149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4" name="Straight Connector 353"/>
            <p:cNvSpPr/>
            <p:nvPr/>
          </p:nvSpPr>
          <p:spPr>
            <a:xfrm>
              <a:off x="-1457280" y="4979160"/>
              <a:ext cx="5522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5" name="Straight Connector 354"/>
            <p:cNvSpPr/>
            <p:nvPr/>
          </p:nvSpPr>
          <p:spPr>
            <a:xfrm>
              <a:off x="-3120120" y="4881960"/>
              <a:ext cx="500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6" name="Freeform: Shape 351"/>
            <p:cNvSpPr/>
            <p:nvPr/>
          </p:nvSpPr>
          <p:spPr>
            <a:xfrm>
              <a:off x="-2479320" y="4246200"/>
              <a:ext cx="265680" cy="587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39" h="1634" fill="none">
                  <a:moveTo>
                    <a:pt x="0" y="1634"/>
                  </a:moveTo>
                  <a:lnTo>
                    <a:pt x="0" y="0"/>
                  </a:lnTo>
                  <a:lnTo>
                    <a:pt x="739" y="0"/>
                  </a:lnTo>
                  <a:lnTo>
                    <a:pt x="739" y="136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7" name="Straight Connector 356"/>
            <p:cNvSpPr/>
            <p:nvPr/>
          </p:nvSpPr>
          <p:spPr>
            <a:xfrm>
              <a:off x="-2479320" y="43326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8" name="Straight Connector 357"/>
            <p:cNvSpPr/>
            <p:nvPr/>
          </p:nvSpPr>
          <p:spPr>
            <a:xfrm>
              <a:off x="-2479320" y="437256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9" name="Straight Connector 358"/>
            <p:cNvSpPr/>
            <p:nvPr/>
          </p:nvSpPr>
          <p:spPr>
            <a:xfrm>
              <a:off x="-2479320" y="4402799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0" name="Straight Connector 359"/>
            <p:cNvSpPr/>
            <p:nvPr/>
          </p:nvSpPr>
          <p:spPr>
            <a:xfrm>
              <a:off x="-2479320" y="443304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1" name="Straight Connector 360"/>
            <p:cNvSpPr/>
            <p:nvPr/>
          </p:nvSpPr>
          <p:spPr>
            <a:xfrm>
              <a:off x="-2479320" y="446292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2" name="Straight Connector 361"/>
            <p:cNvSpPr/>
            <p:nvPr/>
          </p:nvSpPr>
          <p:spPr>
            <a:xfrm>
              <a:off x="-2479320" y="44928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3" name="Straight Connector 362"/>
            <p:cNvSpPr/>
            <p:nvPr/>
          </p:nvSpPr>
          <p:spPr>
            <a:xfrm>
              <a:off x="-2479320" y="452304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4" name="Straight Connector 363"/>
            <p:cNvSpPr/>
            <p:nvPr/>
          </p:nvSpPr>
          <p:spPr>
            <a:xfrm>
              <a:off x="-2479320" y="4553279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5" name="Straight Connector 364"/>
            <p:cNvSpPr/>
            <p:nvPr/>
          </p:nvSpPr>
          <p:spPr>
            <a:xfrm>
              <a:off x="-2479320" y="4583159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6" name="Straight Connector 365"/>
            <p:cNvSpPr/>
            <p:nvPr/>
          </p:nvSpPr>
          <p:spPr>
            <a:xfrm>
              <a:off x="-2479320" y="46134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7" name="Straight Connector 366"/>
            <p:cNvSpPr/>
            <p:nvPr/>
          </p:nvSpPr>
          <p:spPr>
            <a:xfrm>
              <a:off x="-2479320" y="464328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8" name="Straight Connector 367"/>
            <p:cNvSpPr/>
            <p:nvPr/>
          </p:nvSpPr>
          <p:spPr>
            <a:xfrm>
              <a:off x="-2479320" y="467352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9" name="Straight Connector 368"/>
            <p:cNvSpPr/>
            <p:nvPr/>
          </p:nvSpPr>
          <p:spPr>
            <a:xfrm>
              <a:off x="-2479320" y="470376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0" name="Straight Connector 369"/>
            <p:cNvSpPr/>
            <p:nvPr/>
          </p:nvSpPr>
          <p:spPr>
            <a:xfrm>
              <a:off x="-2479320" y="47340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1" name="Straight Connector 370"/>
            <p:cNvSpPr/>
            <p:nvPr/>
          </p:nvSpPr>
          <p:spPr>
            <a:xfrm>
              <a:off x="-2479320" y="476028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2" name="Straight Connector 371"/>
            <p:cNvSpPr/>
            <p:nvPr/>
          </p:nvSpPr>
          <p:spPr>
            <a:xfrm>
              <a:off x="-2479320" y="479052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3" name="Straight Connector 372"/>
            <p:cNvSpPr/>
            <p:nvPr/>
          </p:nvSpPr>
          <p:spPr>
            <a:xfrm>
              <a:off x="-2479320" y="482076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4" name="Freeform: Shape 369"/>
            <p:cNvSpPr/>
            <p:nvPr/>
          </p:nvSpPr>
          <p:spPr>
            <a:xfrm>
              <a:off x="-2432880" y="4208760"/>
              <a:ext cx="76680" cy="76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4" h="214">
                  <a:moveTo>
                    <a:pt x="214" y="107"/>
                  </a:moveTo>
                  <a:cubicBezTo>
                    <a:pt x="214" y="126"/>
                    <a:pt x="209" y="143"/>
                    <a:pt x="199" y="160"/>
                  </a:cubicBezTo>
                  <a:cubicBezTo>
                    <a:pt x="189" y="177"/>
                    <a:pt x="177" y="189"/>
                    <a:pt x="160" y="199"/>
                  </a:cubicBezTo>
                  <a:cubicBezTo>
                    <a:pt x="143" y="208"/>
                    <a:pt x="126" y="214"/>
                    <a:pt x="107" y="214"/>
                  </a:cubicBezTo>
                  <a:cubicBezTo>
                    <a:pt x="87" y="214"/>
                    <a:pt x="70" y="208"/>
                    <a:pt x="53" y="199"/>
                  </a:cubicBezTo>
                  <a:cubicBezTo>
                    <a:pt x="36" y="189"/>
                    <a:pt x="24" y="177"/>
                    <a:pt x="14" y="160"/>
                  </a:cubicBezTo>
                  <a:cubicBezTo>
                    <a:pt x="4" y="143"/>
                    <a:pt x="0" y="126"/>
                    <a:pt x="0" y="107"/>
                  </a:cubicBezTo>
                  <a:cubicBezTo>
                    <a:pt x="0" y="87"/>
                    <a:pt x="4" y="70"/>
                    <a:pt x="14" y="53"/>
                  </a:cubicBezTo>
                  <a:cubicBezTo>
                    <a:pt x="24" y="36"/>
                    <a:pt x="36" y="24"/>
                    <a:pt x="53" y="14"/>
                  </a:cubicBezTo>
                  <a:cubicBezTo>
                    <a:pt x="70" y="4"/>
                    <a:pt x="87" y="0"/>
                    <a:pt x="107" y="0"/>
                  </a:cubicBezTo>
                  <a:cubicBezTo>
                    <a:pt x="126" y="0"/>
                    <a:pt x="143" y="4"/>
                    <a:pt x="160" y="14"/>
                  </a:cubicBezTo>
                  <a:cubicBezTo>
                    <a:pt x="177" y="24"/>
                    <a:pt x="189" y="36"/>
                    <a:pt x="199" y="53"/>
                  </a:cubicBezTo>
                  <a:cubicBezTo>
                    <a:pt x="209" y="70"/>
                    <a:pt x="214" y="87"/>
                    <a:pt x="214" y="107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5" name="Straight Connector 374"/>
            <p:cNvSpPr/>
            <p:nvPr/>
          </p:nvSpPr>
          <p:spPr>
            <a:xfrm>
              <a:off x="-2336400" y="4272480"/>
              <a:ext cx="73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6" name="Straight Connector 375"/>
            <p:cNvSpPr/>
            <p:nvPr/>
          </p:nvSpPr>
          <p:spPr>
            <a:xfrm>
              <a:off x="-373716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7" name="Straight Connector 376"/>
            <p:cNvSpPr/>
            <p:nvPr/>
          </p:nvSpPr>
          <p:spPr>
            <a:xfrm>
              <a:off x="-373716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8" name="Straight Connector 377"/>
            <p:cNvSpPr/>
            <p:nvPr/>
          </p:nvSpPr>
          <p:spPr>
            <a:xfrm>
              <a:off x="-373716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9" name="Straight Connector 378"/>
            <p:cNvSpPr/>
            <p:nvPr/>
          </p:nvSpPr>
          <p:spPr>
            <a:xfrm>
              <a:off x="-373716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0" name="Straight Connector 379"/>
            <p:cNvSpPr/>
            <p:nvPr/>
          </p:nvSpPr>
          <p:spPr>
            <a:xfrm>
              <a:off x="-373716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1" name="Straight Connector 380"/>
            <p:cNvSpPr/>
            <p:nvPr/>
          </p:nvSpPr>
          <p:spPr>
            <a:xfrm>
              <a:off x="-373716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2" name="Straight Connector 381"/>
            <p:cNvSpPr/>
            <p:nvPr/>
          </p:nvSpPr>
          <p:spPr>
            <a:xfrm>
              <a:off x="-373716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3" name="Straight Connector 382"/>
            <p:cNvSpPr/>
            <p:nvPr/>
          </p:nvSpPr>
          <p:spPr>
            <a:xfrm>
              <a:off x="-373716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4" name="Straight Connector 383"/>
            <p:cNvSpPr/>
            <p:nvPr/>
          </p:nvSpPr>
          <p:spPr>
            <a:xfrm>
              <a:off x="-373716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5" name="Straight Connector 384"/>
            <p:cNvSpPr/>
            <p:nvPr/>
          </p:nvSpPr>
          <p:spPr>
            <a:xfrm>
              <a:off x="-373716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6" name="Straight Connector 385"/>
            <p:cNvSpPr/>
            <p:nvPr/>
          </p:nvSpPr>
          <p:spPr>
            <a:xfrm>
              <a:off x="-373716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7" name="Straight Connector 386"/>
            <p:cNvSpPr/>
            <p:nvPr/>
          </p:nvSpPr>
          <p:spPr>
            <a:xfrm>
              <a:off x="-373716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8" name="Straight Connector 387"/>
            <p:cNvSpPr/>
            <p:nvPr/>
          </p:nvSpPr>
          <p:spPr>
            <a:xfrm>
              <a:off x="-373716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9" name="Straight Connector 388"/>
            <p:cNvSpPr/>
            <p:nvPr/>
          </p:nvSpPr>
          <p:spPr>
            <a:xfrm>
              <a:off x="-373716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0" name="Straight Connector 389"/>
            <p:cNvSpPr/>
            <p:nvPr/>
          </p:nvSpPr>
          <p:spPr>
            <a:xfrm>
              <a:off x="-373716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1" name="Straight Connector 390"/>
            <p:cNvSpPr/>
            <p:nvPr/>
          </p:nvSpPr>
          <p:spPr>
            <a:xfrm>
              <a:off x="-373716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2" name="Straight Connector 391"/>
            <p:cNvSpPr/>
            <p:nvPr/>
          </p:nvSpPr>
          <p:spPr>
            <a:xfrm>
              <a:off x="-373716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3" name="Straight Connector 392"/>
            <p:cNvSpPr/>
            <p:nvPr/>
          </p:nvSpPr>
          <p:spPr>
            <a:xfrm>
              <a:off x="-37087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4" name="Straight Connector 393"/>
            <p:cNvSpPr/>
            <p:nvPr/>
          </p:nvSpPr>
          <p:spPr>
            <a:xfrm>
              <a:off x="-37087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5" name="Straight Connector 394"/>
            <p:cNvSpPr/>
            <p:nvPr/>
          </p:nvSpPr>
          <p:spPr>
            <a:xfrm>
              <a:off x="-37087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6" name="Straight Connector 395"/>
            <p:cNvSpPr/>
            <p:nvPr/>
          </p:nvSpPr>
          <p:spPr>
            <a:xfrm>
              <a:off x="-37087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7" name="Straight Connector 396"/>
            <p:cNvSpPr/>
            <p:nvPr/>
          </p:nvSpPr>
          <p:spPr>
            <a:xfrm>
              <a:off x="-37087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8" name="Straight Connector 397"/>
            <p:cNvSpPr/>
            <p:nvPr/>
          </p:nvSpPr>
          <p:spPr>
            <a:xfrm>
              <a:off x="-37087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9" name="Straight Connector 398"/>
            <p:cNvSpPr/>
            <p:nvPr/>
          </p:nvSpPr>
          <p:spPr>
            <a:xfrm>
              <a:off x="-37087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0" name="Straight Connector 399"/>
            <p:cNvSpPr/>
            <p:nvPr/>
          </p:nvSpPr>
          <p:spPr>
            <a:xfrm>
              <a:off x="-37087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1" name="Straight Connector 400"/>
            <p:cNvSpPr/>
            <p:nvPr/>
          </p:nvSpPr>
          <p:spPr>
            <a:xfrm>
              <a:off x="-37087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2" name="Straight Connector 401"/>
            <p:cNvSpPr/>
            <p:nvPr/>
          </p:nvSpPr>
          <p:spPr>
            <a:xfrm>
              <a:off x="-37087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3" name="Straight Connector 402"/>
            <p:cNvSpPr/>
            <p:nvPr/>
          </p:nvSpPr>
          <p:spPr>
            <a:xfrm>
              <a:off x="-37087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4" name="Straight Connector 403"/>
            <p:cNvSpPr/>
            <p:nvPr/>
          </p:nvSpPr>
          <p:spPr>
            <a:xfrm>
              <a:off x="-37087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5" name="Straight Connector 404"/>
            <p:cNvSpPr/>
            <p:nvPr/>
          </p:nvSpPr>
          <p:spPr>
            <a:xfrm>
              <a:off x="-37087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6" name="Straight Connector 405"/>
            <p:cNvSpPr/>
            <p:nvPr/>
          </p:nvSpPr>
          <p:spPr>
            <a:xfrm>
              <a:off x="-37087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7" name="Straight Connector 406"/>
            <p:cNvSpPr/>
            <p:nvPr/>
          </p:nvSpPr>
          <p:spPr>
            <a:xfrm>
              <a:off x="-37087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8" name="Straight Connector 407"/>
            <p:cNvSpPr/>
            <p:nvPr/>
          </p:nvSpPr>
          <p:spPr>
            <a:xfrm>
              <a:off x="-37087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9" name="Straight Connector 408"/>
            <p:cNvSpPr/>
            <p:nvPr/>
          </p:nvSpPr>
          <p:spPr>
            <a:xfrm>
              <a:off x="-37087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0" name="Straight Connector 409"/>
            <p:cNvSpPr/>
            <p:nvPr/>
          </p:nvSpPr>
          <p:spPr>
            <a:xfrm>
              <a:off x="-36799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1" name="Straight Connector 410"/>
            <p:cNvSpPr/>
            <p:nvPr/>
          </p:nvSpPr>
          <p:spPr>
            <a:xfrm>
              <a:off x="-36799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2" name="Straight Connector 411"/>
            <p:cNvSpPr/>
            <p:nvPr/>
          </p:nvSpPr>
          <p:spPr>
            <a:xfrm>
              <a:off x="-36799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3" name="Straight Connector 412"/>
            <p:cNvSpPr/>
            <p:nvPr/>
          </p:nvSpPr>
          <p:spPr>
            <a:xfrm>
              <a:off x="-36799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4" name="Straight Connector 413"/>
            <p:cNvSpPr/>
            <p:nvPr/>
          </p:nvSpPr>
          <p:spPr>
            <a:xfrm>
              <a:off x="-36799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5" name="Straight Connector 414"/>
            <p:cNvSpPr/>
            <p:nvPr/>
          </p:nvSpPr>
          <p:spPr>
            <a:xfrm>
              <a:off x="-36799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6" name="Straight Connector 415"/>
            <p:cNvSpPr/>
            <p:nvPr/>
          </p:nvSpPr>
          <p:spPr>
            <a:xfrm>
              <a:off x="-36799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7" name="Straight Connector 416"/>
            <p:cNvSpPr/>
            <p:nvPr/>
          </p:nvSpPr>
          <p:spPr>
            <a:xfrm>
              <a:off x="-36799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8" name="Straight Connector 417"/>
            <p:cNvSpPr/>
            <p:nvPr/>
          </p:nvSpPr>
          <p:spPr>
            <a:xfrm>
              <a:off x="-36799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9" name="Straight Connector 418"/>
            <p:cNvSpPr/>
            <p:nvPr/>
          </p:nvSpPr>
          <p:spPr>
            <a:xfrm>
              <a:off x="-36799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0" name="Straight Connector 419"/>
            <p:cNvSpPr/>
            <p:nvPr/>
          </p:nvSpPr>
          <p:spPr>
            <a:xfrm>
              <a:off x="-36799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1" name="Straight Connector 420"/>
            <p:cNvSpPr/>
            <p:nvPr/>
          </p:nvSpPr>
          <p:spPr>
            <a:xfrm>
              <a:off x="-36799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2" name="Straight Connector 421"/>
            <p:cNvSpPr/>
            <p:nvPr/>
          </p:nvSpPr>
          <p:spPr>
            <a:xfrm>
              <a:off x="-36799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3" name="Straight Connector 422"/>
            <p:cNvSpPr/>
            <p:nvPr/>
          </p:nvSpPr>
          <p:spPr>
            <a:xfrm>
              <a:off x="-36799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4" name="Straight Connector 423"/>
            <p:cNvSpPr/>
            <p:nvPr/>
          </p:nvSpPr>
          <p:spPr>
            <a:xfrm>
              <a:off x="-36799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5" name="Straight Connector 424"/>
            <p:cNvSpPr/>
            <p:nvPr/>
          </p:nvSpPr>
          <p:spPr>
            <a:xfrm>
              <a:off x="-36799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6" name="Straight Connector 425"/>
            <p:cNvSpPr/>
            <p:nvPr/>
          </p:nvSpPr>
          <p:spPr>
            <a:xfrm>
              <a:off x="-36799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7" name="Straight Connector 426"/>
            <p:cNvSpPr/>
            <p:nvPr/>
          </p:nvSpPr>
          <p:spPr>
            <a:xfrm>
              <a:off x="-36511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8" name="Straight Connector 427"/>
            <p:cNvSpPr/>
            <p:nvPr/>
          </p:nvSpPr>
          <p:spPr>
            <a:xfrm>
              <a:off x="-36511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9" name="Straight Connector 428"/>
            <p:cNvSpPr/>
            <p:nvPr/>
          </p:nvSpPr>
          <p:spPr>
            <a:xfrm>
              <a:off x="-36511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0" name="Straight Connector 429"/>
            <p:cNvSpPr/>
            <p:nvPr/>
          </p:nvSpPr>
          <p:spPr>
            <a:xfrm>
              <a:off x="-36511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1" name="Straight Connector 430"/>
            <p:cNvSpPr/>
            <p:nvPr/>
          </p:nvSpPr>
          <p:spPr>
            <a:xfrm>
              <a:off x="-36511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2" name="Straight Connector 431"/>
            <p:cNvSpPr/>
            <p:nvPr/>
          </p:nvSpPr>
          <p:spPr>
            <a:xfrm>
              <a:off x="-36511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3" name="Straight Connector 432"/>
            <p:cNvSpPr/>
            <p:nvPr/>
          </p:nvSpPr>
          <p:spPr>
            <a:xfrm>
              <a:off x="-36511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4" name="Straight Connector 433"/>
            <p:cNvSpPr/>
            <p:nvPr/>
          </p:nvSpPr>
          <p:spPr>
            <a:xfrm>
              <a:off x="-36511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5" name="Straight Connector 434"/>
            <p:cNvSpPr/>
            <p:nvPr/>
          </p:nvSpPr>
          <p:spPr>
            <a:xfrm>
              <a:off x="-36511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6" name="Straight Connector 435"/>
            <p:cNvSpPr/>
            <p:nvPr/>
          </p:nvSpPr>
          <p:spPr>
            <a:xfrm>
              <a:off x="-36511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7" name="Straight Connector 436"/>
            <p:cNvSpPr/>
            <p:nvPr/>
          </p:nvSpPr>
          <p:spPr>
            <a:xfrm>
              <a:off x="-36511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8" name="Straight Connector 437"/>
            <p:cNvSpPr/>
            <p:nvPr/>
          </p:nvSpPr>
          <p:spPr>
            <a:xfrm>
              <a:off x="-36511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9" name="Straight Connector 438"/>
            <p:cNvSpPr/>
            <p:nvPr/>
          </p:nvSpPr>
          <p:spPr>
            <a:xfrm>
              <a:off x="-36511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0" name="Straight Connector 439"/>
            <p:cNvSpPr/>
            <p:nvPr/>
          </p:nvSpPr>
          <p:spPr>
            <a:xfrm>
              <a:off x="-36511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1" name="Straight Connector 440"/>
            <p:cNvSpPr/>
            <p:nvPr/>
          </p:nvSpPr>
          <p:spPr>
            <a:xfrm>
              <a:off x="-36511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2" name="Straight Connector 441"/>
            <p:cNvSpPr/>
            <p:nvPr/>
          </p:nvSpPr>
          <p:spPr>
            <a:xfrm>
              <a:off x="-36511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3" name="Straight Connector 442"/>
            <p:cNvSpPr/>
            <p:nvPr/>
          </p:nvSpPr>
          <p:spPr>
            <a:xfrm>
              <a:off x="-36511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4" name="Straight Connector 443"/>
            <p:cNvSpPr/>
            <p:nvPr/>
          </p:nvSpPr>
          <p:spPr>
            <a:xfrm>
              <a:off x="-36223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5" name="Straight Connector 444"/>
            <p:cNvSpPr/>
            <p:nvPr/>
          </p:nvSpPr>
          <p:spPr>
            <a:xfrm>
              <a:off x="-36223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6" name="Straight Connector 445"/>
            <p:cNvSpPr/>
            <p:nvPr/>
          </p:nvSpPr>
          <p:spPr>
            <a:xfrm>
              <a:off x="-36223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7" name="Straight Connector 446"/>
            <p:cNvSpPr/>
            <p:nvPr/>
          </p:nvSpPr>
          <p:spPr>
            <a:xfrm>
              <a:off x="-36223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8" name="Straight Connector 447"/>
            <p:cNvSpPr/>
            <p:nvPr/>
          </p:nvSpPr>
          <p:spPr>
            <a:xfrm>
              <a:off x="-36223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9" name="Straight Connector 448"/>
            <p:cNvSpPr/>
            <p:nvPr/>
          </p:nvSpPr>
          <p:spPr>
            <a:xfrm>
              <a:off x="-36223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0" name="Straight Connector 449"/>
            <p:cNvSpPr/>
            <p:nvPr/>
          </p:nvSpPr>
          <p:spPr>
            <a:xfrm>
              <a:off x="-36223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1" name="Straight Connector 450"/>
            <p:cNvSpPr/>
            <p:nvPr/>
          </p:nvSpPr>
          <p:spPr>
            <a:xfrm>
              <a:off x="-36223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2" name="Straight Connector 451"/>
            <p:cNvSpPr/>
            <p:nvPr/>
          </p:nvSpPr>
          <p:spPr>
            <a:xfrm>
              <a:off x="-36223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3" name="Straight Connector 452"/>
            <p:cNvSpPr/>
            <p:nvPr/>
          </p:nvSpPr>
          <p:spPr>
            <a:xfrm>
              <a:off x="-36223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4" name="Straight Connector 453"/>
            <p:cNvSpPr/>
            <p:nvPr/>
          </p:nvSpPr>
          <p:spPr>
            <a:xfrm>
              <a:off x="-36223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5" name="Straight Connector 454"/>
            <p:cNvSpPr/>
            <p:nvPr/>
          </p:nvSpPr>
          <p:spPr>
            <a:xfrm>
              <a:off x="-36223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6" name="Straight Connector 455"/>
            <p:cNvSpPr/>
            <p:nvPr/>
          </p:nvSpPr>
          <p:spPr>
            <a:xfrm>
              <a:off x="-36223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7" name="Straight Connector 456"/>
            <p:cNvSpPr/>
            <p:nvPr/>
          </p:nvSpPr>
          <p:spPr>
            <a:xfrm>
              <a:off x="-36223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8" name="Straight Connector 457"/>
            <p:cNvSpPr/>
            <p:nvPr/>
          </p:nvSpPr>
          <p:spPr>
            <a:xfrm>
              <a:off x="-36223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9" name="Straight Connector 458"/>
            <p:cNvSpPr/>
            <p:nvPr/>
          </p:nvSpPr>
          <p:spPr>
            <a:xfrm>
              <a:off x="-36223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0" name="Straight Connector 459"/>
            <p:cNvSpPr/>
            <p:nvPr/>
          </p:nvSpPr>
          <p:spPr>
            <a:xfrm>
              <a:off x="-36223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1" name="Straight Connector 460"/>
            <p:cNvSpPr/>
            <p:nvPr/>
          </p:nvSpPr>
          <p:spPr>
            <a:xfrm>
              <a:off x="-35935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2" name="Straight Connector 461"/>
            <p:cNvSpPr/>
            <p:nvPr/>
          </p:nvSpPr>
          <p:spPr>
            <a:xfrm>
              <a:off x="-35935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3" name="Straight Connector 462"/>
            <p:cNvSpPr/>
            <p:nvPr/>
          </p:nvSpPr>
          <p:spPr>
            <a:xfrm>
              <a:off x="-35935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4" name="Straight Connector 463"/>
            <p:cNvSpPr/>
            <p:nvPr/>
          </p:nvSpPr>
          <p:spPr>
            <a:xfrm>
              <a:off x="-35935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5" name="Straight Connector 464"/>
            <p:cNvSpPr/>
            <p:nvPr/>
          </p:nvSpPr>
          <p:spPr>
            <a:xfrm>
              <a:off x="-35935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6" name="Straight Connector 465"/>
            <p:cNvSpPr/>
            <p:nvPr/>
          </p:nvSpPr>
          <p:spPr>
            <a:xfrm>
              <a:off x="-35935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7" name="Straight Connector 466"/>
            <p:cNvSpPr/>
            <p:nvPr/>
          </p:nvSpPr>
          <p:spPr>
            <a:xfrm>
              <a:off x="-35935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8" name="Straight Connector 467"/>
            <p:cNvSpPr/>
            <p:nvPr/>
          </p:nvSpPr>
          <p:spPr>
            <a:xfrm>
              <a:off x="-35935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9" name="Straight Connector 468"/>
            <p:cNvSpPr/>
            <p:nvPr/>
          </p:nvSpPr>
          <p:spPr>
            <a:xfrm>
              <a:off x="-35935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0" name="Straight Connector 469"/>
            <p:cNvSpPr/>
            <p:nvPr/>
          </p:nvSpPr>
          <p:spPr>
            <a:xfrm>
              <a:off x="-35935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1" name="Straight Connector 470"/>
            <p:cNvSpPr/>
            <p:nvPr/>
          </p:nvSpPr>
          <p:spPr>
            <a:xfrm>
              <a:off x="-35935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2" name="Straight Connector 471"/>
            <p:cNvSpPr/>
            <p:nvPr/>
          </p:nvSpPr>
          <p:spPr>
            <a:xfrm>
              <a:off x="-35935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3" name="Straight Connector 472"/>
            <p:cNvSpPr/>
            <p:nvPr/>
          </p:nvSpPr>
          <p:spPr>
            <a:xfrm>
              <a:off x="-35935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4" name="Straight Connector 473"/>
            <p:cNvSpPr/>
            <p:nvPr/>
          </p:nvSpPr>
          <p:spPr>
            <a:xfrm>
              <a:off x="-35935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5" name="Straight Connector 474"/>
            <p:cNvSpPr/>
            <p:nvPr/>
          </p:nvSpPr>
          <p:spPr>
            <a:xfrm>
              <a:off x="-35935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6" name="Straight Connector 475"/>
            <p:cNvSpPr/>
            <p:nvPr/>
          </p:nvSpPr>
          <p:spPr>
            <a:xfrm>
              <a:off x="-35935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7" name="Straight Connector 476"/>
            <p:cNvSpPr/>
            <p:nvPr/>
          </p:nvSpPr>
          <p:spPr>
            <a:xfrm>
              <a:off x="-35935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8" name="Straight Connector 477"/>
            <p:cNvSpPr/>
            <p:nvPr/>
          </p:nvSpPr>
          <p:spPr>
            <a:xfrm>
              <a:off x="-347868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9" name="Straight Connector 478"/>
            <p:cNvSpPr/>
            <p:nvPr/>
          </p:nvSpPr>
          <p:spPr>
            <a:xfrm>
              <a:off x="-347868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0" name="Straight Connector 479"/>
            <p:cNvSpPr/>
            <p:nvPr/>
          </p:nvSpPr>
          <p:spPr>
            <a:xfrm>
              <a:off x="-347868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1" name="Straight Connector 480"/>
            <p:cNvSpPr/>
            <p:nvPr/>
          </p:nvSpPr>
          <p:spPr>
            <a:xfrm>
              <a:off x="-347868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2" name="Straight Connector 481"/>
            <p:cNvSpPr/>
            <p:nvPr/>
          </p:nvSpPr>
          <p:spPr>
            <a:xfrm>
              <a:off x="-347868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3" name="Straight Connector 482"/>
            <p:cNvSpPr/>
            <p:nvPr/>
          </p:nvSpPr>
          <p:spPr>
            <a:xfrm>
              <a:off x="-347868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4" name="Straight Connector 483"/>
            <p:cNvSpPr/>
            <p:nvPr/>
          </p:nvSpPr>
          <p:spPr>
            <a:xfrm>
              <a:off x="-347868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5" name="Straight Connector 484"/>
            <p:cNvSpPr/>
            <p:nvPr/>
          </p:nvSpPr>
          <p:spPr>
            <a:xfrm>
              <a:off x="-347868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6" name="Straight Connector 485"/>
            <p:cNvSpPr/>
            <p:nvPr/>
          </p:nvSpPr>
          <p:spPr>
            <a:xfrm>
              <a:off x="-347868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7" name="Straight Connector 486"/>
            <p:cNvSpPr/>
            <p:nvPr/>
          </p:nvSpPr>
          <p:spPr>
            <a:xfrm>
              <a:off x="-347868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8" name="Straight Connector 487"/>
            <p:cNvSpPr/>
            <p:nvPr/>
          </p:nvSpPr>
          <p:spPr>
            <a:xfrm>
              <a:off x="-347868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9" name="Straight Connector 488"/>
            <p:cNvSpPr/>
            <p:nvPr/>
          </p:nvSpPr>
          <p:spPr>
            <a:xfrm>
              <a:off x="-347868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0" name="Straight Connector 489"/>
            <p:cNvSpPr/>
            <p:nvPr/>
          </p:nvSpPr>
          <p:spPr>
            <a:xfrm>
              <a:off x="-347868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1" name="Straight Connector 490"/>
            <p:cNvSpPr/>
            <p:nvPr/>
          </p:nvSpPr>
          <p:spPr>
            <a:xfrm>
              <a:off x="-3507479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2" name="Straight Connector 491"/>
            <p:cNvSpPr/>
            <p:nvPr/>
          </p:nvSpPr>
          <p:spPr>
            <a:xfrm>
              <a:off x="-3507479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3" name="Straight Connector 492"/>
            <p:cNvSpPr/>
            <p:nvPr/>
          </p:nvSpPr>
          <p:spPr>
            <a:xfrm>
              <a:off x="-3507479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4" name="Straight Connector 493"/>
            <p:cNvSpPr/>
            <p:nvPr/>
          </p:nvSpPr>
          <p:spPr>
            <a:xfrm>
              <a:off x="-3507479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5" name="Straight Connector 494"/>
            <p:cNvSpPr/>
            <p:nvPr/>
          </p:nvSpPr>
          <p:spPr>
            <a:xfrm>
              <a:off x="-3507479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6" name="Straight Connector 495"/>
            <p:cNvSpPr/>
            <p:nvPr/>
          </p:nvSpPr>
          <p:spPr>
            <a:xfrm>
              <a:off x="-3507479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7" name="Straight Connector 496"/>
            <p:cNvSpPr/>
            <p:nvPr/>
          </p:nvSpPr>
          <p:spPr>
            <a:xfrm>
              <a:off x="-3507479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8" name="Straight Connector 497"/>
            <p:cNvSpPr/>
            <p:nvPr/>
          </p:nvSpPr>
          <p:spPr>
            <a:xfrm>
              <a:off x="-3507479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9" name="Straight Connector 498"/>
            <p:cNvSpPr/>
            <p:nvPr/>
          </p:nvSpPr>
          <p:spPr>
            <a:xfrm>
              <a:off x="-3507479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0" name="Straight Connector 499"/>
            <p:cNvSpPr/>
            <p:nvPr/>
          </p:nvSpPr>
          <p:spPr>
            <a:xfrm>
              <a:off x="-3507479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1" name="Straight Connector 500"/>
            <p:cNvSpPr/>
            <p:nvPr/>
          </p:nvSpPr>
          <p:spPr>
            <a:xfrm>
              <a:off x="-3507479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2" name="Straight Connector 501"/>
            <p:cNvSpPr/>
            <p:nvPr/>
          </p:nvSpPr>
          <p:spPr>
            <a:xfrm>
              <a:off x="-3507479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3" name="Straight Connector 502"/>
            <p:cNvSpPr/>
            <p:nvPr/>
          </p:nvSpPr>
          <p:spPr>
            <a:xfrm>
              <a:off x="-3507479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4" name="Straight Connector 503"/>
            <p:cNvSpPr/>
            <p:nvPr/>
          </p:nvSpPr>
          <p:spPr>
            <a:xfrm>
              <a:off x="-353628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5" name="Straight Connector 504"/>
            <p:cNvSpPr/>
            <p:nvPr/>
          </p:nvSpPr>
          <p:spPr>
            <a:xfrm>
              <a:off x="-353628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6" name="Straight Connector 505"/>
            <p:cNvSpPr/>
            <p:nvPr/>
          </p:nvSpPr>
          <p:spPr>
            <a:xfrm>
              <a:off x="-353628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7" name="Straight Connector 506"/>
            <p:cNvSpPr/>
            <p:nvPr/>
          </p:nvSpPr>
          <p:spPr>
            <a:xfrm>
              <a:off x="-353628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8" name="Straight Connector 507"/>
            <p:cNvSpPr/>
            <p:nvPr/>
          </p:nvSpPr>
          <p:spPr>
            <a:xfrm>
              <a:off x="-353628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9" name="Straight Connector 508"/>
            <p:cNvSpPr/>
            <p:nvPr/>
          </p:nvSpPr>
          <p:spPr>
            <a:xfrm>
              <a:off x="-353628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0" name="Straight Connector 509"/>
            <p:cNvSpPr/>
            <p:nvPr/>
          </p:nvSpPr>
          <p:spPr>
            <a:xfrm>
              <a:off x="-353628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1" name="Straight Connector 510"/>
            <p:cNvSpPr/>
            <p:nvPr/>
          </p:nvSpPr>
          <p:spPr>
            <a:xfrm>
              <a:off x="-353628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2" name="Straight Connector 511"/>
            <p:cNvSpPr/>
            <p:nvPr/>
          </p:nvSpPr>
          <p:spPr>
            <a:xfrm>
              <a:off x="-353628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3" name="Straight Connector 512"/>
            <p:cNvSpPr/>
            <p:nvPr/>
          </p:nvSpPr>
          <p:spPr>
            <a:xfrm>
              <a:off x="-353628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4" name="Straight Connector 513"/>
            <p:cNvSpPr/>
            <p:nvPr/>
          </p:nvSpPr>
          <p:spPr>
            <a:xfrm>
              <a:off x="-353628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5" name="Straight Connector 514"/>
            <p:cNvSpPr/>
            <p:nvPr/>
          </p:nvSpPr>
          <p:spPr>
            <a:xfrm>
              <a:off x="-353628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6" name="Straight Connector 515"/>
            <p:cNvSpPr/>
            <p:nvPr/>
          </p:nvSpPr>
          <p:spPr>
            <a:xfrm>
              <a:off x="-353628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7" name="Straight Connector 516"/>
            <p:cNvSpPr/>
            <p:nvPr/>
          </p:nvSpPr>
          <p:spPr>
            <a:xfrm>
              <a:off x="-35647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8" name="Straight Connector 517"/>
            <p:cNvSpPr/>
            <p:nvPr/>
          </p:nvSpPr>
          <p:spPr>
            <a:xfrm>
              <a:off x="-35647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9" name="Straight Connector 518"/>
            <p:cNvSpPr/>
            <p:nvPr/>
          </p:nvSpPr>
          <p:spPr>
            <a:xfrm>
              <a:off x="-35647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0" name="Straight Connector 519"/>
            <p:cNvSpPr/>
            <p:nvPr/>
          </p:nvSpPr>
          <p:spPr>
            <a:xfrm>
              <a:off x="-35647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1" name="Straight Connector 520"/>
            <p:cNvSpPr/>
            <p:nvPr/>
          </p:nvSpPr>
          <p:spPr>
            <a:xfrm>
              <a:off x="-35647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2" name="Straight Connector 521"/>
            <p:cNvSpPr/>
            <p:nvPr/>
          </p:nvSpPr>
          <p:spPr>
            <a:xfrm>
              <a:off x="-35647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3" name="Straight Connector 522"/>
            <p:cNvSpPr/>
            <p:nvPr/>
          </p:nvSpPr>
          <p:spPr>
            <a:xfrm>
              <a:off x="-35647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4" name="Straight Connector 523"/>
            <p:cNvSpPr/>
            <p:nvPr/>
          </p:nvSpPr>
          <p:spPr>
            <a:xfrm>
              <a:off x="-35647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5" name="Straight Connector 524"/>
            <p:cNvSpPr/>
            <p:nvPr/>
          </p:nvSpPr>
          <p:spPr>
            <a:xfrm>
              <a:off x="-35647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6" name="Straight Connector 525"/>
            <p:cNvSpPr/>
            <p:nvPr/>
          </p:nvSpPr>
          <p:spPr>
            <a:xfrm>
              <a:off x="-35647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7" name="Straight Connector 526"/>
            <p:cNvSpPr/>
            <p:nvPr/>
          </p:nvSpPr>
          <p:spPr>
            <a:xfrm>
              <a:off x="-35647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8" name="Straight Connector 527"/>
            <p:cNvSpPr/>
            <p:nvPr/>
          </p:nvSpPr>
          <p:spPr>
            <a:xfrm>
              <a:off x="-35647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9" name="Straight Connector 528"/>
            <p:cNvSpPr/>
            <p:nvPr/>
          </p:nvSpPr>
          <p:spPr>
            <a:xfrm>
              <a:off x="-35647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0" name="Freeform: Shape 525"/>
            <p:cNvSpPr/>
            <p:nvPr/>
          </p:nvSpPr>
          <p:spPr>
            <a:xfrm>
              <a:off x="-4857120" y="4914360"/>
              <a:ext cx="64080" cy="151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9" h="423">
                  <a:moveTo>
                    <a:pt x="179" y="0"/>
                  </a:moveTo>
                  <a:lnTo>
                    <a:pt x="179" y="423"/>
                  </a:lnTo>
                  <a:lnTo>
                    <a:pt x="0" y="2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1" name="Straight Connector 530"/>
            <p:cNvSpPr/>
            <p:nvPr/>
          </p:nvSpPr>
          <p:spPr>
            <a:xfrm>
              <a:off x="-4856400" y="5070960"/>
              <a:ext cx="363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2" name="Freeform: Shape 527"/>
            <p:cNvSpPr/>
            <p:nvPr/>
          </p:nvSpPr>
          <p:spPr>
            <a:xfrm>
              <a:off x="-522720" y="4912919"/>
              <a:ext cx="54360" cy="128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2" h="358">
                  <a:moveTo>
                    <a:pt x="152" y="0"/>
                  </a:moveTo>
                  <a:lnTo>
                    <a:pt x="152" y="358"/>
                  </a:lnTo>
                  <a:lnTo>
                    <a:pt x="0" y="2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3" name="Straight Connector 532"/>
            <p:cNvSpPr/>
            <p:nvPr/>
          </p:nvSpPr>
          <p:spPr>
            <a:xfrm>
              <a:off x="-522000" y="5045400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4" name="Freeform: Shape 529"/>
            <p:cNvSpPr/>
            <p:nvPr/>
          </p:nvSpPr>
          <p:spPr>
            <a:xfrm>
              <a:off x="-4664520" y="4919400"/>
              <a:ext cx="89640" cy="210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50" h="587">
                  <a:moveTo>
                    <a:pt x="250" y="0"/>
                  </a:moveTo>
                  <a:lnTo>
                    <a:pt x="250" y="587"/>
                  </a:lnTo>
                  <a:lnTo>
                    <a:pt x="0" y="3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5" name="Straight Connector 534"/>
            <p:cNvSpPr/>
            <p:nvPr/>
          </p:nvSpPr>
          <p:spPr>
            <a:xfrm>
              <a:off x="-4662720" y="5136840"/>
              <a:ext cx="504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6" name="Freeform: Shape 531"/>
            <p:cNvSpPr/>
            <p:nvPr/>
          </p:nvSpPr>
          <p:spPr>
            <a:xfrm>
              <a:off x="-905039" y="4865040"/>
              <a:ext cx="110160" cy="260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724">
                  <a:moveTo>
                    <a:pt x="307" y="0"/>
                  </a:moveTo>
                  <a:lnTo>
                    <a:pt x="307" y="724"/>
                  </a:lnTo>
                  <a:lnTo>
                    <a:pt x="0" y="48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7" name="Straight Connector 536"/>
            <p:cNvSpPr/>
            <p:nvPr/>
          </p:nvSpPr>
          <p:spPr>
            <a:xfrm>
              <a:off x="-903240" y="5133240"/>
              <a:ext cx="619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8" name="Straight Connector 537"/>
            <p:cNvSpPr/>
            <p:nvPr/>
          </p:nvSpPr>
          <p:spPr>
            <a:xfrm>
              <a:off x="-5202360" y="4673160"/>
              <a:ext cx="967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9" name="Straight Connector 538"/>
            <p:cNvSpPr/>
            <p:nvPr/>
          </p:nvSpPr>
          <p:spPr>
            <a:xfrm>
              <a:off x="-5132520" y="4446000"/>
              <a:ext cx="0" cy="312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0" name="Straight Connector 539"/>
            <p:cNvSpPr/>
            <p:nvPr/>
          </p:nvSpPr>
          <p:spPr>
            <a:xfrm>
              <a:off x="-4321800" y="4446000"/>
              <a:ext cx="0" cy="312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1" name="Freeform: Shape 536"/>
            <p:cNvSpPr/>
            <p:nvPr/>
          </p:nvSpPr>
          <p:spPr>
            <a:xfrm>
              <a:off x="-5130720" y="4471200"/>
              <a:ext cx="808560" cy="153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47" h="426">
                  <a:moveTo>
                    <a:pt x="2247" y="0"/>
                  </a:moveTo>
                  <a:cubicBezTo>
                    <a:pt x="1971" y="261"/>
                    <a:pt x="1567" y="426"/>
                    <a:pt x="1117" y="426"/>
                  </a:cubicBezTo>
                  <a:cubicBezTo>
                    <a:pt x="674" y="426"/>
                    <a:pt x="276" y="266"/>
                    <a:pt x="0" y="1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2" name="Straight Connector 541"/>
            <p:cNvSpPr/>
            <p:nvPr/>
          </p:nvSpPr>
          <p:spPr>
            <a:xfrm>
              <a:off x="-506700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3" name="Straight Connector 542"/>
            <p:cNvSpPr/>
            <p:nvPr/>
          </p:nvSpPr>
          <p:spPr>
            <a:xfrm>
              <a:off x="-5019480" y="455364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4" name="Straight Connector 543"/>
            <p:cNvSpPr/>
            <p:nvPr/>
          </p:nvSpPr>
          <p:spPr>
            <a:xfrm>
              <a:off x="-4969800" y="457884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5" name="Straight Connector 544"/>
            <p:cNvSpPr/>
            <p:nvPr/>
          </p:nvSpPr>
          <p:spPr>
            <a:xfrm>
              <a:off x="-4921560" y="459648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6" name="Straight Connector 545"/>
            <p:cNvSpPr/>
            <p:nvPr/>
          </p:nvSpPr>
          <p:spPr>
            <a:xfrm>
              <a:off x="-4873320" y="460800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7" name="Straight Connector 546"/>
            <p:cNvSpPr/>
            <p:nvPr/>
          </p:nvSpPr>
          <p:spPr>
            <a:xfrm>
              <a:off x="-4825080" y="461844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8" name="Straight Connector 547"/>
            <p:cNvSpPr/>
            <p:nvPr/>
          </p:nvSpPr>
          <p:spPr>
            <a:xfrm>
              <a:off x="-4776480" y="4622760"/>
              <a:ext cx="0" cy="50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9" name="Straight Connector 548"/>
            <p:cNvSpPr/>
            <p:nvPr/>
          </p:nvSpPr>
          <p:spPr>
            <a:xfrm>
              <a:off x="-438984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0" name="Straight Connector 549"/>
            <p:cNvSpPr/>
            <p:nvPr/>
          </p:nvSpPr>
          <p:spPr>
            <a:xfrm>
              <a:off x="-4437720" y="455364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1" name="Straight Connector 550"/>
            <p:cNvSpPr/>
            <p:nvPr/>
          </p:nvSpPr>
          <p:spPr>
            <a:xfrm>
              <a:off x="-4487040" y="457884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2" name="Straight Connector 551"/>
            <p:cNvSpPr/>
            <p:nvPr/>
          </p:nvSpPr>
          <p:spPr>
            <a:xfrm>
              <a:off x="-4535280" y="459648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3" name="Straight Connector 552"/>
            <p:cNvSpPr/>
            <p:nvPr/>
          </p:nvSpPr>
          <p:spPr>
            <a:xfrm>
              <a:off x="-4583520" y="460800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4" name="Straight Connector 553"/>
            <p:cNvSpPr/>
            <p:nvPr/>
          </p:nvSpPr>
          <p:spPr>
            <a:xfrm>
              <a:off x="-4631760" y="461844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5" name="Straight Connector 554"/>
            <p:cNvSpPr/>
            <p:nvPr/>
          </p:nvSpPr>
          <p:spPr>
            <a:xfrm>
              <a:off x="-4680360" y="4622760"/>
              <a:ext cx="0" cy="50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6" name="Straight Connector 555"/>
            <p:cNvSpPr/>
            <p:nvPr/>
          </p:nvSpPr>
          <p:spPr>
            <a:xfrm>
              <a:off x="-4728239" y="4624560"/>
              <a:ext cx="0" cy="46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7" name="Straight Connector 556"/>
            <p:cNvSpPr/>
            <p:nvPr/>
          </p:nvSpPr>
          <p:spPr>
            <a:xfrm>
              <a:off x="-5539320" y="4673160"/>
              <a:ext cx="493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8" name="Freeform: Shape 553"/>
            <p:cNvSpPr/>
            <p:nvPr/>
          </p:nvSpPr>
          <p:spPr>
            <a:xfrm>
              <a:off x="-5539320" y="4471200"/>
              <a:ext cx="406080" cy="153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9" h="426">
                  <a:moveTo>
                    <a:pt x="1129" y="0"/>
                  </a:moveTo>
                  <a:cubicBezTo>
                    <a:pt x="853" y="261"/>
                    <a:pt x="450" y="426"/>
                    <a:pt x="0" y="426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9" name="Straight Connector 558"/>
            <p:cNvSpPr/>
            <p:nvPr/>
          </p:nvSpPr>
          <p:spPr>
            <a:xfrm>
              <a:off x="-520056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0" name="Straight Connector 559"/>
            <p:cNvSpPr/>
            <p:nvPr/>
          </p:nvSpPr>
          <p:spPr>
            <a:xfrm>
              <a:off x="-5248440" y="455364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1" name="Straight Connector 560"/>
            <p:cNvSpPr/>
            <p:nvPr/>
          </p:nvSpPr>
          <p:spPr>
            <a:xfrm>
              <a:off x="-5298120" y="457884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2" name="Straight Connector 561"/>
            <p:cNvSpPr/>
            <p:nvPr/>
          </p:nvSpPr>
          <p:spPr>
            <a:xfrm>
              <a:off x="-5346360" y="459648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3" name="Straight Connector 562"/>
            <p:cNvSpPr/>
            <p:nvPr/>
          </p:nvSpPr>
          <p:spPr>
            <a:xfrm>
              <a:off x="-5394960" y="460800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4" name="Straight Connector 563"/>
            <p:cNvSpPr/>
            <p:nvPr/>
          </p:nvSpPr>
          <p:spPr>
            <a:xfrm>
              <a:off x="-5443200" y="461844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5" name="Straight Connector 564"/>
            <p:cNvSpPr/>
            <p:nvPr/>
          </p:nvSpPr>
          <p:spPr>
            <a:xfrm>
              <a:off x="-5491440" y="4622760"/>
              <a:ext cx="0" cy="50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6" name="Straight Connector 565"/>
            <p:cNvSpPr/>
            <p:nvPr/>
          </p:nvSpPr>
          <p:spPr>
            <a:xfrm>
              <a:off x="-4391279" y="4673160"/>
              <a:ext cx="1623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7" name="Freeform: Shape 562"/>
            <p:cNvSpPr/>
            <p:nvPr/>
          </p:nvSpPr>
          <p:spPr>
            <a:xfrm>
              <a:off x="-4319640" y="4475160"/>
              <a:ext cx="164160" cy="103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57" h="288">
                  <a:moveTo>
                    <a:pt x="457" y="288"/>
                  </a:moveTo>
                  <a:cubicBezTo>
                    <a:pt x="284" y="217"/>
                    <a:pt x="129" y="119"/>
                    <a:pt x="0" y="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8" name="Straight Connector 567"/>
            <p:cNvSpPr/>
            <p:nvPr/>
          </p:nvSpPr>
          <p:spPr>
            <a:xfrm>
              <a:off x="-425664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9" name="Straight Connector 568"/>
            <p:cNvSpPr/>
            <p:nvPr/>
          </p:nvSpPr>
          <p:spPr>
            <a:xfrm>
              <a:off x="-4208400" y="4553640"/>
              <a:ext cx="0" cy="936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0" name="Straight Connector 569"/>
            <p:cNvSpPr/>
            <p:nvPr/>
          </p:nvSpPr>
          <p:spPr>
            <a:xfrm>
              <a:off x="-4159080" y="4578840"/>
              <a:ext cx="0" cy="53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1" name="Freeform: Shape 566"/>
            <p:cNvSpPr/>
            <p:nvPr/>
          </p:nvSpPr>
          <p:spPr>
            <a:xfrm>
              <a:off x="3089160" y="3954240"/>
              <a:ext cx="279360" cy="702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77" h="1951" fill="none">
                  <a:moveTo>
                    <a:pt x="0" y="1949"/>
                  </a:moveTo>
                  <a:lnTo>
                    <a:pt x="399" y="0"/>
                  </a:lnTo>
                  <a:lnTo>
                    <a:pt x="777" y="195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2" name="Freeform: Shape 567"/>
            <p:cNvSpPr/>
            <p:nvPr/>
          </p:nvSpPr>
          <p:spPr>
            <a:xfrm>
              <a:off x="3156479" y="4094280"/>
              <a:ext cx="150480" cy="1965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9" h="547" fill="none">
                  <a:moveTo>
                    <a:pt x="20" y="547"/>
                  </a:moveTo>
                  <a:lnTo>
                    <a:pt x="0" y="0"/>
                  </a:lnTo>
                  <a:lnTo>
                    <a:pt x="419" y="0"/>
                  </a:lnTo>
                  <a:lnTo>
                    <a:pt x="390" y="5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3" name="Straight Connector 572"/>
            <p:cNvSpPr/>
            <p:nvPr/>
          </p:nvSpPr>
          <p:spPr>
            <a:xfrm>
              <a:off x="3219839" y="4127040"/>
              <a:ext cx="219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4" name="Straight Connector 573"/>
            <p:cNvSpPr/>
            <p:nvPr/>
          </p:nvSpPr>
          <p:spPr>
            <a:xfrm>
              <a:off x="3213720" y="4158720"/>
              <a:ext cx="338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5" name="Straight Connector 574"/>
            <p:cNvSpPr/>
            <p:nvPr/>
          </p:nvSpPr>
          <p:spPr>
            <a:xfrm>
              <a:off x="3208320" y="4190399"/>
              <a:ext cx="4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6" name="Straight Connector 575"/>
            <p:cNvSpPr/>
            <p:nvPr/>
          </p:nvSpPr>
          <p:spPr>
            <a:xfrm>
              <a:off x="3202560" y="4221719"/>
              <a:ext cx="55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7" name="Straight Connector 576"/>
            <p:cNvSpPr/>
            <p:nvPr/>
          </p:nvSpPr>
          <p:spPr>
            <a:xfrm>
              <a:off x="3196800" y="4253400"/>
              <a:ext cx="67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8" name="Straight Connector 577"/>
            <p:cNvSpPr/>
            <p:nvPr/>
          </p:nvSpPr>
          <p:spPr>
            <a:xfrm>
              <a:off x="3191040" y="4285080"/>
              <a:ext cx="784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9" name="Straight Connector 578"/>
            <p:cNvSpPr/>
            <p:nvPr/>
          </p:nvSpPr>
          <p:spPr>
            <a:xfrm>
              <a:off x="3185279" y="4316760"/>
              <a:ext cx="90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0" name="Straight Connector 579"/>
            <p:cNvSpPr/>
            <p:nvPr/>
          </p:nvSpPr>
          <p:spPr>
            <a:xfrm>
              <a:off x="3179880" y="4348440"/>
              <a:ext cx="1011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1" name="Straight Connector 580"/>
            <p:cNvSpPr/>
            <p:nvPr/>
          </p:nvSpPr>
          <p:spPr>
            <a:xfrm>
              <a:off x="3174120" y="4380120"/>
              <a:ext cx="112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2" name="Straight Connector 581"/>
            <p:cNvSpPr/>
            <p:nvPr/>
          </p:nvSpPr>
          <p:spPr>
            <a:xfrm>
              <a:off x="3168360" y="4411800"/>
              <a:ext cx="1234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3" name="Straight Connector 582"/>
            <p:cNvSpPr/>
            <p:nvPr/>
          </p:nvSpPr>
          <p:spPr>
            <a:xfrm>
              <a:off x="3162600" y="4443120"/>
              <a:ext cx="135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4" name="Straight Connector 583"/>
            <p:cNvSpPr/>
            <p:nvPr/>
          </p:nvSpPr>
          <p:spPr>
            <a:xfrm>
              <a:off x="3156840" y="4474440"/>
              <a:ext cx="146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5" name="Straight Connector 584"/>
            <p:cNvSpPr/>
            <p:nvPr/>
          </p:nvSpPr>
          <p:spPr>
            <a:xfrm>
              <a:off x="3151080" y="4506120"/>
              <a:ext cx="1576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6" name="Straight Connector 585"/>
            <p:cNvSpPr/>
            <p:nvPr/>
          </p:nvSpPr>
          <p:spPr>
            <a:xfrm>
              <a:off x="3145679" y="4537800"/>
              <a:ext cx="1684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7" name="Straight Connector 586"/>
            <p:cNvSpPr/>
            <p:nvPr/>
          </p:nvSpPr>
          <p:spPr>
            <a:xfrm>
              <a:off x="3139559" y="4569480"/>
              <a:ext cx="1803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8" name="Straight Connector 587"/>
            <p:cNvSpPr/>
            <p:nvPr/>
          </p:nvSpPr>
          <p:spPr>
            <a:xfrm>
              <a:off x="3134160" y="4601160"/>
              <a:ext cx="1915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9" name="Straight Connector 588"/>
            <p:cNvSpPr/>
            <p:nvPr/>
          </p:nvSpPr>
          <p:spPr>
            <a:xfrm>
              <a:off x="3128400" y="4632840"/>
              <a:ext cx="202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defTabSz="457189"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62678147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69496" y="386876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2"/>
                </a:solidFill>
                <a:latin typeface="+mn-lt"/>
                <a:cs typeface="CiscoSansTT ExtraLight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69496" y="410876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2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69496" y="434876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2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="0" i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 userDrawn="1"/>
        </p:nvSpPr>
        <p:spPr bwMode="auto">
          <a:xfrm>
            <a:off x="469496" y="391308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5073"/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-1444417" y="389303"/>
            <a:ext cx="10588417" cy="2117268"/>
            <a:chOff x="-1444417" y="389303"/>
            <a:chExt cx="10588417" cy="2117268"/>
          </a:xfrm>
        </p:grpSpPr>
        <p:sp>
          <p:nvSpPr>
            <p:cNvPr id="9" name="Freeform: Shape 2"/>
            <p:cNvSpPr/>
            <p:nvPr/>
          </p:nvSpPr>
          <p:spPr>
            <a:xfrm>
              <a:off x="4672025" y="1717771"/>
              <a:ext cx="341330" cy="34133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95" h="895">
                  <a:moveTo>
                    <a:pt x="895" y="448"/>
                  </a:moveTo>
                  <a:cubicBezTo>
                    <a:pt x="895" y="530"/>
                    <a:pt x="876" y="600"/>
                    <a:pt x="835" y="672"/>
                  </a:cubicBezTo>
                  <a:cubicBezTo>
                    <a:pt x="794" y="743"/>
                    <a:pt x="742" y="793"/>
                    <a:pt x="671" y="835"/>
                  </a:cubicBezTo>
                  <a:cubicBezTo>
                    <a:pt x="599" y="876"/>
                    <a:pt x="529" y="895"/>
                    <a:pt x="447" y="895"/>
                  </a:cubicBezTo>
                  <a:cubicBezTo>
                    <a:pt x="364" y="895"/>
                    <a:pt x="294" y="876"/>
                    <a:pt x="223" y="835"/>
                  </a:cubicBezTo>
                  <a:cubicBezTo>
                    <a:pt x="151" y="793"/>
                    <a:pt x="101" y="743"/>
                    <a:pt x="60" y="672"/>
                  </a:cubicBezTo>
                  <a:cubicBezTo>
                    <a:pt x="18" y="600"/>
                    <a:pt x="0" y="530"/>
                    <a:pt x="0" y="448"/>
                  </a:cubicBezTo>
                  <a:cubicBezTo>
                    <a:pt x="0" y="365"/>
                    <a:pt x="18" y="295"/>
                    <a:pt x="60" y="224"/>
                  </a:cubicBezTo>
                  <a:cubicBezTo>
                    <a:pt x="101" y="153"/>
                    <a:pt x="151" y="101"/>
                    <a:pt x="223" y="60"/>
                  </a:cubicBezTo>
                  <a:cubicBezTo>
                    <a:pt x="294" y="19"/>
                    <a:pt x="365" y="0"/>
                    <a:pt x="447" y="0"/>
                  </a:cubicBezTo>
                  <a:cubicBezTo>
                    <a:pt x="530" y="0"/>
                    <a:pt x="599" y="19"/>
                    <a:pt x="671" y="60"/>
                  </a:cubicBezTo>
                  <a:cubicBezTo>
                    <a:pt x="742" y="101"/>
                    <a:pt x="794" y="153"/>
                    <a:pt x="835" y="224"/>
                  </a:cubicBezTo>
                  <a:cubicBezTo>
                    <a:pt x="876" y="295"/>
                    <a:pt x="895" y="365"/>
                    <a:pt x="895" y="44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Straight Connector 9"/>
            <p:cNvSpPr/>
            <p:nvPr/>
          </p:nvSpPr>
          <p:spPr>
            <a:xfrm>
              <a:off x="4842689" y="1710517"/>
              <a:ext cx="0" cy="2252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Straight Connector 10"/>
            <p:cNvSpPr/>
            <p:nvPr/>
          </p:nvSpPr>
          <p:spPr>
            <a:xfrm>
              <a:off x="4842689" y="2051083"/>
              <a:ext cx="0" cy="2252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Straight Connector 11"/>
            <p:cNvSpPr/>
            <p:nvPr/>
          </p:nvSpPr>
          <p:spPr>
            <a:xfrm flipH="1">
              <a:off x="4903395" y="1724262"/>
              <a:ext cx="840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Straight Connector 12"/>
            <p:cNvSpPr/>
            <p:nvPr/>
          </p:nvSpPr>
          <p:spPr>
            <a:xfrm flipH="1">
              <a:off x="4773965" y="2039247"/>
              <a:ext cx="840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Straight Connector 13"/>
            <p:cNvSpPr/>
            <p:nvPr/>
          </p:nvSpPr>
          <p:spPr>
            <a:xfrm flipH="1">
              <a:off x="4956085" y="1764733"/>
              <a:ext cx="15653" cy="1565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Straight Connector 14"/>
            <p:cNvSpPr/>
            <p:nvPr/>
          </p:nvSpPr>
          <p:spPr>
            <a:xfrm flipH="1">
              <a:off x="4713641" y="2004122"/>
              <a:ext cx="16035" cy="1527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Straight Connector 20"/>
            <p:cNvSpPr/>
            <p:nvPr/>
          </p:nvSpPr>
          <p:spPr>
            <a:xfrm flipH="1">
              <a:off x="4990064" y="1823530"/>
              <a:ext cx="20617" cy="8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Straight Connector 21"/>
            <p:cNvSpPr/>
            <p:nvPr/>
          </p:nvSpPr>
          <p:spPr>
            <a:xfrm flipH="1">
              <a:off x="4674315" y="1951815"/>
              <a:ext cx="20999" cy="8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Straight Connector 22"/>
            <p:cNvSpPr/>
            <p:nvPr/>
          </p:nvSpPr>
          <p:spPr>
            <a:xfrm flipH="1">
              <a:off x="5001518" y="1891491"/>
              <a:ext cx="2252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Straight Connector 23"/>
            <p:cNvSpPr/>
            <p:nvPr/>
          </p:nvSpPr>
          <p:spPr>
            <a:xfrm flipH="1">
              <a:off x="4661334" y="1892254"/>
              <a:ext cx="22144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Straight Connector 24"/>
            <p:cNvSpPr/>
            <p:nvPr/>
          </p:nvSpPr>
          <p:spPr>
            <a:xfrm flipH="1" flipV="1">
              <a:off x="4990064" y="1951815"/>
              <a:ext cx="21000" cy="80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Straight Connector 25"/>
            <p:cNvSpPr/>
            <p:nvPr/>
          </p:nvSpPr>
          <p:spPr>
            <a:xfrm flipH="1" flipV="1">
              <a:off x="4674315" y="1823912"/>
              <a:ext cx="20999" cy="8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Straight Connector 26"/>
            <p:cNvSpPr/>
            <p:nvPr/>
          </p:nvSpPr>
          <p:spPr>
            <a:xfrm>
              <a:off x="4715169" y="1763206"/>
              <a:ext cx="15653" cy="1565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Straight Connector 27"/>
            <p:cNvSpPr/>
            <p:nvPr/>
          </p:nvSpPr>
          <p:spPr>
            <a:xfrm>
              <a:off x="4954558" y="2005267"/>
              <a:ext cx="15653" cy="1565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Straight Connector 28"/>
            <p:cNvSpPr/>
            <p:nvPr/>
          </p:nvSpPr>
          <p:spPr>
            <a:xfrm>
              <a:off x="4769766" y="1725788"/>
              <a:ext cx="9162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Straight Connector 29"/>
            <p:cNvSpPr/>
            <p:nvPr/>
          </p:nvSpPr>
          <p:spPr>
            <a:xfrm>
              <a:off x="4906831" y="2037719"/>
              <a:ext cx="8781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Freeform: Shape 19"/>
            <p:cNvSpPr/>
            <p:nvPr/>
          </p:nvSpPr>
          <p:spPr>
            <a:xfrm>
              <a:off x="4788855" y="1885382"/>
              <a:ext cx="106904" cy="318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81" h="834" fill="none">
                  <a:moveTo>
                    <a:pt x="0" y="834"/>
                  </a:moveTo>
                  <a:lnTo>
                    <a:pt x="159" y="0"/>
                  </a:lnTo>
                  <a:lnTo>
                    <a:pt x="281" y="65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Straight Connector 31"/>
            <p:cNvSpPr/>
            <p:nvPr/>
          </p:nvSpPr>
          <p:spPr>
            <a:xfrm>
              <a:off x="4685005" y="2182422"/>
              <a:ext cx="0" cy="11644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Freeform: Shape 21"/>
            <p:cNvSpPr/>
            <p:nvPr/>
          </p:nvSpPr>
          <p:spPr>
            <a:xfrm>
              <a:off x="5098113" y="1929671"/>
              <a:ext cx="158447" cy="3562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Freeform: Shape 22"/>
            <p:cNvSpPr/>
            <p:nvPr/>
          </p:nvSpPr>
          <p:spPr>
            <a:xfrm>
              <a:off x="5131330" y="2140424"/>
              <a:ext cx="92396" cy="15195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60" y="0"/>
                  </a:lnTo>
                  <a:cubicBezTo>
                    <a:pt x="206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Straight Connector 34"/>
            <p:cNvSpPr/>
            <p:nvPr/>
          </p:nvSpPr>
          <p:spPr>
            <a:xfrm>
              <a:off x="5121021" y="2025502"/>
              <a:ext cx="11339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Freeform: Shape 24"/>
            <p:cNvSpPr/>
            <p:nvPr/>
          </p:nvSpPr>
          <p:spPr>
            <a:xfrm>
              <a:off x="4714404" y="1929671"/>
              <a:ext cx="376837" cy="32796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8" h="860">
                  <a:moveTo>
                    <a:pt x="988" y="0"/>
                  </a:moveTo>
                  <a:cubicBezTo>
                    <a:pt x="909" y="478"/>
                    <a:pt x="499" y="846"/>
                    <a:pt x="0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Straight Connector 36"/>
            <p:cNvSpPr/>
            <p:nvPr/>
          </p:nvSpPr>
          <p:spPr>
            <a:xfrm>
              <a:off x="4898814" y="2211439"/>
              <a:ext cx="18097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Freeform: Shape 26"/>
            <p:cNvSpPr/>
            <p:nvPr/>
          </p:nvSpPr>
          <p:spPr>
            <a:xfrm>
              <a:off x="5829643" y="1929671"/>
              <a:ext cx="376455" cy="32796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7" h="860">
                  <a:moveTo>
                    <a:pt x="0" y="0"/>
                  </a:moveTo>
                  <a:cubicBezTo>
                    <a:pt x="79" y="478"/>
                    <a:pt x="489" y="846"/>
                    <a:pt x="987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Straight Connector 38"/>
            <p:cNvSpPr/>
            <p:nvPr/>
          </p:nvSpPr>
          <p:spPr>
            <a:xfrm flipH="1">
              <a:off x="5841097" y="2211439"/>
              <a:ext cx="18135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Straight Connector 39"/>
            <p:cNvSpPr/>
            <p:nvPr/>
          </p:nvSpPr>
          <p:spPr>
            <a:xfrm>
              <a:off x="4728532" y="2304217"/>
              <a:ext cx="21380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Straight Connector 40"/>
            <p:cNvSpPr/>
            <p:nvPr/>
          </p:nvSpPr>
          <p:spPr>
            <a:xfrm>
              <a:off x="5256942" y="1939979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Straight Connector 41"/>
            <p:cNvSpPr/>
            <p:nvPr/>
          </p:nvSpPr>
          <p:spPr>
            <a:xfrm>
              <a:off x="5256942" y="1966705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Straight Connector 42"/>
            <p:cNvSpPr/>
            <p:nvPr/>
          </p:nvSpPr>
          <p:spPr>
            <a:xfrm>
              <a:off x="5256942" y="2017485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Straight Connector 43"/>
            <p:cNvSpPr/>
            <p:nvPr/>
          </p:nvSpPr>
          <p:spPr>
            <a:xfrm>
              <a:off x="5256942" y="2198458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Straight Connector 44"/>
            <p:cNvSpPr/>
            <p:nvPr/>
          </p:nvSpPr>
          <p:spPr>
            <a:xfrm>
              <a:off x="5256942" y="2250383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Freeform: Shape 34"/>
            <p:cNvSpPr/>
            <p:nvPr/>
          </p:nvSpPr>
          <p:spPr>
            <a:xfrm>
              <a:off x="5094677" y="1829257"/>
              <a:ext cx="38944" cy="6948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2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Freeform: Shape 35"/>
            <p:cNvSpPr/>
            <p:nvPr/>
          </p:nvSpPr>
          <p:spPr>
            <a:xfrm>
              <a:off x="5222962" y="1829257"/>
              <a:ext cx="38562" cy="6948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0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Freeform: Shape 36"/>
            <p:cNvSpPr/>
            <p:nvPr/>
          </p:nvSpPr>
          <p:spPr>
            <a:xfrm>
              <a:off x="5120258" y="1753279"/>
              <a:ext cx="114158" cy="14546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49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Freeform: Shape 37"/>
            <p:cNvSpPr/>
            <p:nvPr/>
          </p:nvSpPr>
          <p:spPr>
            <a:xfrm>
              <a:off x="5162638" y="1956015"/>
              <a:ext cx="29399" cy="3512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Freeform: Shape 38"/>
            <p:cNvSpPr/>
            <p:nvPr/>
          </p:nvSpPr>
          <p:spPr>
            <a:xfrm>
              <a:off x="5663942" y="1929671"/>
              <a:ext cx="158447" cy="3562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Freeform: Shape 39"/>
            <p:cNvSpPr/>
            <p:nvPr/>
          </p:nvSpPr>
          <p:spPr>
            <a:xfrm>
              <a:off x="5697158" y="2140424"/>
              <a:ext cx="92396" cy="15195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59" y="0"/>
                  </a:lnTo>
                  <a:cubicBezTo>
                    <a:pt x="205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" name="Straight Connector 51"/>
            <p:cNvSpPr/>
            <p:nvPr/>
          </p:nvSpPr>
          <p:spPr>
            <a:xfrm>
              <a:off x="5686468" y="2025502"/>
              <a:ext cx="11377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" name="Freeform: Shape 41"/>
            <p:cNvSpPr/>
            <p:nvPr/>
          </p:nvSpPr>
          <p:spPr>
            <a:xfrm>
              <a:off x="5660505" y="1829257"/>
              <a:ext cx="38562" cy="6948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2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" name="Freeform: Shape 42"/>
            <p:cNvSpPr/>
            <p:nvPr/>
          </p:nvSpPr>
          <p:spPr>
            <a:xfrm>
              <a:off x="5788409" y="1829257"/>
              <a:ext cx="38944" cy="6948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1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" name="Freeform: Shape 43"/>
            <p:cNvSpPr/>
            <p:nvPr/>
          </p:nvSpPr>
          <p:spPr>
            <a:xfrm>
              <a:off x="5685704" y="1753279"/>
              <a:ext cx="114158" cy="14546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51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" name="Freeform: Shape 44"/>
            <p:cNvSpPr/>
            <p:nvPr/>
          </p:nvSpPr>
          <p:spPr>
            <a:xfrm>
              <a:off x="7548126" y="2107208"/>
              <a:ext cx="272224" cy="4047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14" h="107">
                  <a:moveTo>
                    <a:pt x="357" y="0"/>
                  </a:moveTo>
                  <a:lnTo>
                    <a:pt x="0" y="107"/>
                  </a:lnTo>
                  <a:lnTo>
                    <a:pt x="714" y="10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" name="Freeform: Shape 45"/>
            <p:cNvSpPr/>
            <p:nvPr/>
          </p:nvSpPr>
          <p:spPr>
            <a:xfrm>
              <a:off x="5728466" y="1956015"/>
              <a:ext cx="29399" cy="3512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" name="Straight Connector 57"/>
            <p:cNvSpPr/>
            <p:nvPr/>
          </p:nvSpPr>
          <p:spPr>
            <a:xfrm>
              <a:off x="5051152" y="2304217"/>
              <a:ext cx="7937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" name="Straight Connector 58"/>
            <p:cNvSpPr/>
            <p:nvPr/>
          </p:nvSpPr>
          <p:spPr>
            <a:xfrm>
              <a:off x="5167601" y="2337815"/>
              <a:ext cx="0" cy="5421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0" name="Straight Connector 59"/>
            <p:cNvSpPr/>
            <p:nvPr/>
          </p:nvSpPr>
          <p:spPr>
            <a:xfrm>
              <a:off x="5229071" y="2335143"/>
              <a:ext cx="45548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1" name="Straight Connector 60"/>
            <p:cNvSpPr/>
            <p:nvPr/>
          </p:nvSpPr>
          <p:spPr>
            <a:xfrm>
              <a:off x="5366519" y="2379431"/>
              <a:ext cx="16646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2" name="Straight Connector 61"/>
            <p:cNvSpPr/>
            <p:nvPr/>
          </p:nvSpPr>
          <p:spPr>
            <a:xfrm>
              <a:off x="5413099" y="2407685"/>
              <a:ext cx="8017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3" name="Straight Connector 62"/>
            <p:cNvSpPr/>
            <p:nvPr/>
          </p:nvSpPr>
          <p:spPr>
            <a:xfrm>
              <a:off x="7335463" y="2432502"/>
              <a:ext cx="16646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4" name="Straight Connector 63"/>
            <p:cNvSpPr/>
            <p:nvPr/>
          </p:nvSpPr>
          <p:spPr>
            <a:xfrm>
              <a:off x="7382044" y="2461137"/>
              <a:ext cx="8017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5" name="Straight Connector 64"/>
            <p:cNvSpPr/>
            <p:nvPr/>
          </p:nvSpPr>
          <p:spPr>
            <a:xfrm>
              <a:off x="7582107" y="2402721"/>
              <a:ext cx="4008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6" name="Straight Connector 65"/>
            <p:cNvSpPr/>
            <p:nvPr/>
          </p:nvSpPr>
          <p:spPr>
            <a:xfrm>
              <a:off x="5837279" y="2329797"/>
              <a:ext cx="0" cy="805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7" name="Straight Connector 66"/>
            <p:cNvSpPr/>
            <p:nvPr/>
          </p:nvSpPr>
          <p:spPr>
            <a:xfrm flipH="1">
              <a:off x="5862096" y="2340106"/>
              <a:ext cx="36347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8" name="Straight Connector 67"/>
            <p:cNvSpPr/>
            <p:nvPr/>
          </p:nvSpPr>
          <p:spPr>
            <a:xfrm flipV="1">
              <a:off x="5862096" y="2218312"/>
              <a:ext cx="0" cy="4581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9" name="Freeform: Shape 57"/>
            <p:cNvSpPr/>
            <p:nvPr/>
          </p:nvSpPr>
          <p:spPr>
            <a:xfrm>
              <a:off x="5902185" y="2277109"/>
              <a:ext cx="303913" cy="423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7" h="112">
                  <a:moveTo>
                    <a:pt x="399" y="112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797" y="0"/>
                  </a:lnTo>
                  <a:lnTo>
                    <a:pt x="797" y="11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0" name="Freeform: Shape 58"/>
            <p:cNvSpPr/>
            <p:nvPr/>
          </p:nvSpPr>
          <p:spPr>
            <a:xfrm>
              <a:off x="5998781" y="1627666"/>
              <a:ext cx="83996" cy="59064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1" h="1548" fill="none">
                  <a:moveTo>
                    <a:pt x="0" y="1421"/>
                  </a:moveTo>
                  <a:lnTo>
                    <a:pt x="0" y="0"/>
                  </a:lnTo>
                  <a:lnTo>
                    <a:pt x="221" y="0"/>
                  </a:lnTo>
                  <a:lnTo>
                    <a:pt x="221" y="154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1" name="Freeform: Shape 59"/>
            <p:cNvSpPr/>
            <p:nvPr/>
          </p:nvSpPr>
          <p:spPr>
            <a:xfrm>
              <a:off x="6051086" y="1503962"/>
              <a:ext cx="285969" cy="73343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50" h="1922" fill="none">
                  <a:moveTo>
                    <a:pt x="0" y="1839"/>
                  </a:moveTo>
                  <a:lnTo>
                    <a:pt x="0" y="0"/>
                  </a:lnTo>
                  <a:lnTo>
                    <a:pt x="276" y="0"/>
                  </a:lnTo>
                  <a:lnTo>
                    <a:pt x="276" y="1922"/>
                  </a:lnTo>
                  <a:lnTo>
                    <a:pt x="750" y="1922"/>
                  </a:lnTo>
                  <a:lnTo>
                    <a:pt x="550" y="1831"/>
                  </a:lnTo>
                  <a:lnTo>
                    <a:pt x="407" y="183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2" name="Freeform: Shape 60"/>
            <p:cNvSpPr/>
            <p:nvPr/>
          </p:nvSpPr>
          <p:spPr>
            <a:xfrm>
              <a:off x="6083159" y="1555888"/>
              <a:ext cx="104995" cy="66242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6" h="1736" fill="none">
                  <a:moveTo>
                    <a:pt x="276" y="1736"/>
                  </a:moveTo>
                  <a:lnTo>
                    <a:pt x="276" y="0"/>
                  </a:lnTo>
                  <a:lnTo>
                    <a:pt x="0" y="0"/>
                  </a:lnTo>
                  <a:lnTo>
                    <a:pt x="0" y="19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3" name="Straight Connector 72"/>
            <p:cNvSpPr/>
            <p:nvPr/>
          </p:nvSpPr>
          <p:spPr>
            <a:xfrm>
              <a:off x="6210680" y="1979305"/>
              <a:ext cx="3054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4" name="Straight Connector 73"/>
            <p:cNvSpPr/>
            <p:nvPr/>
          </p:nvSpPr>
          <p:spPr>
            <a:xfrm>
              <a:off x="6224043" y="2021303"/>
              <a:ext cx="0" cy="2138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5" name="Freeform: Shape 63"/>
            <p:cNvSpPr/>
            <p:nvPr/>
          </p:nvSpPr>
          <p:spPr>
            <a:xfrm>
              <a:off x="6261078" y="1471892"/>
              <a:ext cx="76360" cy="73076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1" h="1915" fill="none">
                  <a:moveTo>
                    <a:pt x="0" y="1915"/>
                  </a:moveTo>
                  <a:lnTo>
                    <a:pt x="0" y="617"/>
                  </a:lnTo>
                  <a:lnTo>
                    <a:pt x="201" y="474"/>
                  </a:lnTo>
                  <a:lnTo>
                    <a:pt x="95" y="474"/>
                  </a:lnTo>
                  <a:lnTo>
                    <a:pt x="95" y="0"/>
                  </a:lnTo>
                  <a:lnTo>
                    <a:pt x="20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6" name="Freeform: Shape 64"/>
            <p:cNvSpPr/>
            <p:nvPr/>
          </p:nvSpPr>
          <p:spPr>
            <a:xfrm>
              <a:off x="6337819" y="1130562"/>
              <a:ext cx="112249" cy="115380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5" h="3023" fill="none">
                  <a:moveTo>
                    <a:pt x="0" y="3023"/>
                  </a:moveTo>
                  <a:lnTo>
                    <a:pt x="0" y="503"/>
                  </a:lnTo>
                  <a:lnTo>
                    <a:pt x="198" y="306"/>
                  </a:lnTo>
                  <a:lnTo>
                    <a:pt x="198" y="0"/>
                  </a:lnTo>
                  <a:lnTo>
                    <a:pt x="295" y="190"/>
                  </a:lnTo>
                  <a:lnTo>
                    <a:pt x="295" y="89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7" name="Straight Connector 76"/>
            <p:cNvSpPr/>
            <p:nvPr/>
          </p:nvSpPr>
          <p:spPr>
            <a:xfrm>
              <a:off x="6359582" y="1332153"/>
              <a:ext cx="0" cy="95335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8" name="Freeform: Shape 66"/>
            <p:cNvSpPr/>
            <p:nvPr/>
          </p:nvSpPr>
          <p:spPr>
            <a:xfrm>
              <a:off x="6337819" y="1413858"/>
              <a:ext cx="161883" cy="87126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5" h="2283" fill="none">
                  <a:moveTo>
                    <a:pt x="0" y="2283"/>
                  </a:moveTo>
                  <a:lnTo>
                    <a:pt x="138" y="2283"/>
                  </a:lnTo>
                  <a:lnTo>
                    <a:pt x="138" y="356"/>
                  </a:lnTo>
                  <a:lnTo>
                    <a:pt x="425" y="70"/>
                  </a:lnTo>
                  <a:lnTo>
                    <a:pt x="295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9" name="Freeform: Shape 67"/>
            <p:cNvSpPr/>
            <p:nvPr/>
          </p:nvSpPr>
          <p:spPr>
            <a:xfrm>
              <a:off x="6450449" y="1387132"/>
              <a:ext cx="113395" cy="73114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916" fill="none">
                  <a:moveTo>
                    <a:pt x="0" y="0"/>
                  </a:moveTo>
                  <a:lnTo>
                    <a:pt x="200" y="106"/>
                  </a:lnTo>
                  <a:lnTo>
                    <a:pt x="200" y="1916"/>
                  </a:lnTo>
                  <a:lnTo>
                    <a:pt x="298" y="1916"/>
                  </a:lnTo>
                  <a:lnTo>
                    <a:pt x="298" y="654"/>
                  </a:lnTo>
                  <a:lnTo>
                    <a:pt x="207" y="58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0" name="Straight Connector 79"/>
            <p:cNvSpPr/>
            <p:nvPr/>
          </p:nvSpPr>
          <p:spPr>
            <a:xfrm>
              <a:off x="6492449" y="1513126"/>
              <a:ext cx="0" cy="5853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1" name="Freeform: Shape 69"/>
            <p:cNvSpPr/>
            <p:nvPr/>
          </p:nvSpPr>
          <p:spPr>
            <a:xfrm>
              <a:off x="6447777" y="2136225"/>
              <a:ext cx="400127" cy="14661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49" h="385" fill="none">
                  <a:moveTo>
                    <a:pt x="0" y="385"/>
                  </a:moveTo>
                  <a:lnTo>
                    <a:pt x="0" y="0"/>
                  </a:lnTo>
                  <a:lnTo>
                    <a:pt x="437" y="0"/>
                  </a:lnTo>
                  <a:lnTo>
                    <a:pt x="437" y="335"/>
                  </a:lnTo>
                  <a:lnTo>
                    <a:pt x="512" y="335"/>
                  </a:lnTo>
                  <a:lnTo>
                    <a:pt x="512" y="0"/>
                  </a:lnTo>
                  <a:lnTo>
                    <a:pt x="793" y="0"/>
                  </a:lnTo>
                  <a:lnTo>
                    <a:pt x="793" y="344"/>
                  </a:lnTo>
                  <a:lnTo>
                    <a:pt x="1049" y="34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2" name="Straight Connector 81"/>
            <p:cNvSpPr/>
            <p:nvPr/>
          </p:nvSpPr>
          <p:spPr>
            <a:xfrm>
              <a:off x="6323311" y="2317198"/>
              <a:ext cx="19662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3" name="Straight Connector 82"/>
            <p:cNvSpPr/>
            <p:nvPr/>
          </p:nvSpPr>
          <p:spPr>
            <a:xfrm>
              <a:off x="6304985" y="2329797"/>
              <a:ext cx="0" cy="5994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4" name="Straight Connector 83"/>
            <p:cNvSpPr/>
            <p:nvPr/>
          </p:nvSpPr>
          <p:spPr>
            <a:xfrm>
              <a:off x="6579880" y="1944179"/>
              <a:ext cx="794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5" name="Straight Connector 84"/>
            <p:cNvSpPr/>
            <p:nvPr/>
          </p:nvSpPr>
          <p:spPr>
            <a:xfrm>
              <a:off x="6602406" y="1886909"/>
              <a:ext cx="0" cy="5727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6" name="Straight Connector 85"/>
            <p:cNvSpPr/>
            <p:nvPr/>
          </p:nvSpPr>
          <p:spPr>
            <a:xfrm>
              <a:off x="6626461" y="1886909"/>
              <a:ext cx="0" cy="5727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" name="Freeform: Shape 75"/>
            <p:cNvSpPr/>
            <p:nvPr/>
          </p:nvSpPr>
          <p:spPr>
            <a:xfrm>
              <a:off x="6602406" y="2021303"/>
              <a:ext cx="40471" cy="9125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7" h="240">
                  <a:moveTo>
                    <a:pt x="54" y="240"/>
                  </a:moveTo>
                  <a:lnTo>
                    <a:pt x="0" y="240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2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8" name="Freeform: Shape 76"/>
            <p:cNvSpPr/>
            <p:nvPr/>
          </p:nvSpPr>
          <p:spPr>
            <a:xfrm>
              <a:off x="6487102" y="2255346"/>
              <a:ext cx="77124" cy="3168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3" h="84">
                  <a:moveTo>
                    <a:pt x="101" y="84"/>
                  </a:moveTo>
                  <a:lnTo>
                    <a:pt x="0" y="84"/>
                  </a:lnTo>
                  <a:lnTo>
                    <a:pt x="0" y="0"/>
                  </a:lnTo>
                  <a:lnTo>
                    <a:pt x="203" y="0"/>
                  </a:lnTo>
                  <a:lnTo>
                    <a:pt x="203" y="8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9" name="Freeform: Shape 77"/>
            <p:cNvSpPr/>
            <p:nvPr/>
          </p:nvSpPr>
          <p:spPr>
            <a:xfrm>
              <a:off x="6636006" y="2283218"/>
              <a:ext cx="179064" cy="4428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70" h="117">
                  <a:moveTo>
                    <a:pt x="235" y="117"/>
                  </a:moveTo>
                  <a:lnTo>
                    <a:pt x="0" y="117"/>
                  </a:lnTo>
                  <a:lnTo>
                    <a:pt x="0" y="0"/>
                  </a:lnTo>
                  <a:lnTo>
                    <a:pt x="470" y="0"/>
                  </a:lnTo>
                  <a:lnTo>
                    <a:pt x="470" y="11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0" name="Freeform: Shape 78"/>
            <p:cNvSpPr/>
            <p:nvPr/>
          </p:nvSpPr>
          <p:spPr>
            <a:xfrm>
              <a:off x="6282840" y="2106062"/>
              <a:ext cx="54597" cy="9048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4" h="238" fill="none">
                  <a:moveTo>
                    <a:pt x="144" y="238"/>
                  </a:moveTo>
                  <a:lnTo>
                    <a:pt x="0" y="238"/>
                  </a:lnTo>
                  <a:lnTo>
                    <a:pt x="0" y="0"/>
                  </a:lnTo>
                  <a:lnTo>
                    <a:pt x="144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1" name="Straight Connector 90"/>
            <p:cNvSpPr/>
            <p:nvPr/>
          </p:nvSpPr>
          <p:spPr>
            <a:xfrm>
              <a:off x="6277113" y="1714717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2" name="Straight Connector 91"/>
            <p:cNvSpPr/>
            <p:nvPr/>
          </p:nvSpPr>
          <p:spPr>
            <a:xfrm>
              <a:off x="6277113" y="1745261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3" name="Straight Connector 92"/>
            <p:cNvSpPr/>
            <p:nvPr/>
          </p:nvSpPr>
          <p:spPr>
            <a:xfrm>
              <a:off x="6277113" y="1775805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4" name="Straight Connector 93"/>
            <p:cNvSpPr/>
            <p:nvPr/>
          </p:nvSpPr>
          <p:spPr>
            <a:xfrm>
              <a:off x="6277113" y="1805967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5" name="Straight Connector 94"/>
            <p:cNvSpPr/>
            <p:nvPr/>
          </p:nvSpPr>
          <p:spPr>
            <a:xfrm>
              <a:off x="6277113" y="1836511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6" name="Straight Connector 95"/>
            <p:cNvSpPr/>
            <p:nvPr/>
          </p:nvSpPr>
          <p:spPr>
            <a:xfrm>
              <a:off x="6277113" y="1867055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7" name="Straight Connector 96"/>
            <p:cNvSpPr/>
            <p:nvPr/>
          </p:nvSpPr>
          <p:spPr>
            <a:xfrm>
              <a:off x="6277113" y="1897599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8" name="Straight Connector 97"/>
            <p:cNvSpPr/>
            <p:nvPr/>
          </p:nvSpPr>
          <p:spPr>
            <a:xfrm>
              <a:off x="6277113" y="1928143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9" name="Straight Connector 98"/>
            <p:cNvSpPr/>
            <p:nvPr/>
          </p:nvSpPr>
          <p:spPr>
            <a:xfrm>
              <a:off x="6277113" y="1958687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0" name="Straight Connector 99"/>
            <p:cNvSpPr/>
            <p:nvPr/>
          </p:nvSpPr>
          <p:spPr>
            <a:xfrm>
              <a:off x="6277113" y="1989613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1" name="Straight Connector 100"/>
            <p:cNvSpPr/>
            <p:nvPr/>
          </p:nvSpPr>
          <p:spPr>
            <a:xfrm>
              <a:off x="6277113" y="2019775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2" name="Straight Connector 101"/>
            <p:cNvSpPr/>
            <p:nvPr/>
          </p:nvSpPr>
          <p:spPr>
            <a:xfrm>
              <a:off x="6277113" y="2050319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3" name="Straight Connector 102"/>
            <p:cNvSpPr/>
            <p:nvPr/>
          </p:nvSpPr>
          <p:spPr>
            <a:xfrm>
              <a:off x="6529483" y="1636830"/>
              <a:ext cx="3474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4" name="Straight Connector 103"/>
            <p:cNvSpPr/>
            <p:nvPr/>
          </p:nvSpPr>
          <p:spPr>
            <a:xfrm>
              <a:off x="6736801" y="2353469"/>
              <a:ext cx="22029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5" name="Straight Connector 104"/>
            <p:cNvSpPr/>
            <p:nvPr/>
          </p:nvSpPr>
          <p:spPr>
            <a:xfrm>
              <a:off x="6880358" y="2279400"/>
              <a:ext cx="26573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6" name="Freeform: Shape 94"/>
            <p:cNvSpPr/>
            <p:nvPr/>
          </p:nvSpPr>
          <p:spPr>
            <a:xfrm>
              <a:off x="6659295" y="1445929"/>
              <a:ext cx="302768" cy="78536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4" h="2058">
                  <a:moveTo>
                    <a:pt x="0" y="1774"/>
                  </a:moveTo>
                  <a:lnTo>
                    <a:pt x="0" y="0"/>
                  </a:lnTo>
                  <a:lnTo>
                    <a:pt x="541" y="0"/>
                  </a:lnTo>
                  <a:lnTo>
                    <a:pt x="794" y="1518"/>
                  </a:lnTo>
                  <a:lnTo>
                    <a:pt x="655" y="1518"/>
                  </a:lnTo>
                  <a:lnTo>
                    <a:pt x="655" y="1746"/>
                  </a:lnTo>
                  <a:lnTo>
                    <a:pt x="541" y="1746"/>
                  </a:lnTo>
                  <a:lnTo>
                    <a:pt x="541" y="2058"/>
                  </a:lnTo>
                  <a:lnTo>
                    <a:pt x="456" y="2058"/>
                  </a:lnTo>
                  <a:lnTo>
                    <a:pt x="158" y="78"/>
                  </a:lnTo>
                  <a:lnTo>
                    <a:pt x="77" y="78"/>
                  </a:lnTo>
                  <a:lnTo>
                    <a:pt x="77" y="177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7" name="Freeform: Shape 95"/>
            <p:cNvSpPr/>
            <p:nvPr/>
          </p:nvSpPr>
          <p:spPr>
            <a:xfrm>
              <a:off x="6926937" y="2010994"/>
              <a:ext cx="335603" cy="2256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0" h="592" fill="none">
                  <a:moveTo>
                    <a:pt x="0" y="85"/>
                  </a:moveTo>
                  <a:lnTo>
                    <a:pt x="275" y="85"/>
                  </a:lnTo>
                  <a:lnTo>
                    <a:pt x="275" y="0"/>
                  </a:lnTo>
                  <a:lnTo>
                    <a:pt x="412" y="0"/>
                  </a:lnTo>
                  <a:lnTo>
                    <a:pt x="412" y="209"/>
                  </a:lnTo>
                  <a:lnTo>
                    <a:pt x="582" y="209"/>
                  </a:lnTo>
                  <a:lnTo>
                    <a:pt x="582" y="592"/>
                  </a:lnTo>
                  <a:lnTo>
                    <a:pt x="880" y="59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8" name="Straight Connector 107"/>
            <p:cNvSpPr/>
            <p:nvPr/>
          </p:nvSpPr>
          <p:spPr>
            <a:xfrm>
              <a:off x="7010934" y="2337815"/>
              <a:ext cx="54826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9" name="Freeform: Shape 97"/>
            <p:cNvSpPr/>
            <p:nvPr/>
          </p:nvSpPr>
          <p:spPr>
            <a:xfrm>
              <a:off x="6930755" y="2066355"/>
              <a:ext cx="57270" cy="1867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490">
                  <a:moveTo>
                    <a:pt x="76" y="490"/>
                  </a:moveTo>
                  <a:lnTo>
                    <a:pt x="0" y="490"/>
                  </a:lnTo>
                  <a:lnTo>
                    <a:pt x="0" y="0"/>
                  </a:lnTo>
                  <a:lnTo>
                    <a:pt x="151" y="0"/>
                  </a:lnTo>
                  <a:lnTo>
                    <a:pt x="151" y="49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0" name="Freeform: Shape 98"/>
            <p:cNvSpPr/>
            <p:nvPr/>
          </p:nvSpPr>
          <p:spPr>
            <a:xfrm>
              <a:off x="7018570" y="2194640"/>
              <a:ext cx="111104" cy="2596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2" h="69">
                  <a:moveTo>
                    <a:pt x="146" y="69"/>
                  </a:moveTo>
                  <a:lnTo>
                    <a:pt x="0" y="69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292" y="6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1" name="Straight Connector 110"/>
            <p:cNvSpPr/>
            <p:nvPr/>
          </p:nvSpPr>
          <p:spPr>
            <a:xfrm>
              <a:off x="6957099" y="1882326"/>
              <a:ext cx="0" cy="332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2" name="Freeform: Shape 100"/>
            <p:cNvSpPr/>
            <p:nvPr/>
          </p:nvSpPr>
          <p:spPr>
            <a:xfrm>
              <a:off x="6977334" y="1437912"/>
              <a:ext cx="255043" cy="73611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69" h="1929">
                  <a:moveTo>
                    <a:pt x="4" y="1419"/>
                  </a:moveTo>
                  <a:cubicBezTo>
                    <a:pt x="4" y="1419"/>
                    <a:pt x="-63" y="664"/>
                    <a:pt x="337" y="0"/>
                  </a:cubicBezTo>
                  <a:cubicBezTo>
                    <a:pt x="337" y="0"/>
                    <a:pt x="845" y="812"/>
                    <a:pt x="603" y="192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3" name="Freeform: Shape 101"/>
            <p:cNvSpPr/>
            <p:nvPr/>
          </p:nvSpPr>
          <p:spPr>
            <a:xfrm>
              <a:off x="7071639" y="1514654"/>
              <a:ext cx="105377" cy="12179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7" h="320">
                  <a:moveTo>
                    <a:pt x="0" y="0"/>
                  </a:moveTo>
                  <a:cubicBezTo>
                    <a:pt x="0" y="0"/>
                    <a:pt x="103" y="215"/>
                    <a:pt x="277" y="32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4" name="Freeform: Shape 102"/>
            <p:cNvSpPr/>
            <p:nvPr/>
          </p:nvSpPr>
          <p:spPr>
            <a:xfrm>
              <a:off x="7054077" y="1597504"/>
              <a:ext cx="134776" cy="152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0" y="0"/>
                  </a:moveTo>
                  <a:cubicBezTo>
                    <a:pt x="0" y="0"/>
                    <a:pt x="132" y="269"/>
                    <a:pt x="354" y="40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5" name="Freeform: Shape 103"/>
            <p:cNvSpPr/>
            <p:nvPr/>
          </p:nvSpPr>
          <p:spPr>
            <a:xfrm>
              <a:off x="7036514" y="1681118"/>
              <a:ext cx="158447" cy="17868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0" y="0"/>
                  </a:moveTo>
                  <a:cubicBezTo>
                    <a:pt x="0" y="0"/>
                    <a:pt x="155" y="315"/>
                    <a:pt x="416" y="46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6" name="Freeform: Shape 104"/>
            <p:cNvSpPr/>
            <p:nvPr/>
          </p:nvSpPr>
          <p:spPr>
            <a:xfrm>
              <a:off x="7018570" y="1763206"/>
              <a:ext cx="185937" cy="20693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8" h="543">
                  <a:moveTo>
                    <a:pt x="0" y="0"/>
                  </a:moveTo>
                  <a:cubicBezTo>
                    <a:pt x="0" y="0"/>
                    <a:pt x="181" y="365"/>
                    <a:pt x="488" y="5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7" name="Freeform: Shape 105"/>
            <p:cNvSpPr/>
            <p:nvPr/>
          </p:nvSpPr>
          <p:spPr>
            <a:xfrm>
              <a:off x="7001007" y="1847583"/>
              <a:ext cx="206172" cy="23098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41" h="606">
                  <a:moveTo>
                    <a:pt x="0" y="0"/>
                  </a:moveTo>
                  <a:cubicBezTo>
                    <a:pt x="0" y="0"/>
                    <a:pt x="202" y="407"/>
                    <a:pt x="541" y="606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8" name="Freeform: Shape 106"/>
            <p:cNvSpPr/>
            <p:nvPr/>
          </p:nvSpPr>
          <p:spPr>
            <a:xfrm>
              <a:off x="7033841" y="1522290"/>
              <a:ext cx="105759" cy="12217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321">
                  <a:moveTo>
                    <a:pt x="278" y="0"/>
                  </a:moveTo>
                  <a:cubicBezTo>
                    <a:pt x="278" y="0"/>
                    <a:pt x="174" y="216"/>
                    <a:pt x="0" y="32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9" name="Freeform: Shape 107"/>
            <p:cNvSpPr/>
            <p:nvPr/>
          </p:nvSpPr>
          <p:spPr>
            <a:xfrm>
              <a:off x="7022005" y="1605140"/>
              <a:ext cx="134776" cy="152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354" y="0"/>
                  </a:moveTo>
                  <a:cubicBezTo>
                    <a:pt x="354" y="0"/>
                    <a:pt x="222" y="270"/>
                    <a:pt x="0" y="40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0" name="Freeform: Shape 108"/>
            <p:cNvSpPr/>
            <p:nvPr/>
          </p:nvSpPr>
          <p:spPr>
            <a:xfrm>
              <a:off x="7015897" y="1689135"/>
              <a:ext cx="158447" cy="17868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416" y="0"/>
                  </a:moveTo>
                  <a:cubicBezTo>
                    <a:pt x="416" y="0"/>
                    <a:pt x="261" y="315"/>
                    <a:pt x="0" y="46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1" name="Freeform: Shape 109"/>
            <p:cNvSpPr/>
            <p:nvPr/>
          </p:nvSpPr>
          <p:spPr>
            <a:xfrm>
              <a:off x="7006733" y="1770842"/>
              <a:ext cx="185555" cy="20693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7" h="543">
                  <a:moveTo>
                    <a:pt x="487" y="0"/>
                  </a:moveTo>
                  <a:cubicBezTo>
                    <a:pt x="487" y="0"/>
                    <a:pt x="306" y="365"/>
                    <a:pt x="0" y="5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2" name="Freeform: Shape 110"/>
            <p:cNvSpPr/>
            <p:nvPr/>
          </p:nvSpPr>
          <p:spPr>
            <a:xfrm>
              <a:off x="7097983" y="1855601"/>
              <a:ext cx="111868" cy="15577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4" h="409">
                  <a:moveTo>
                    <a:pt x="294" y="0"/>
                  </a:moveTo>
                  <a:cubicBezTo>
                    <a:pt x="294" y="0"/>
                    <a:pt x="188" y="215"/>
                    <a:pt x="0" y="40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3" name="Freeform: Shape 111"/>
            <p:cNvSpPr/>
            <p:nvPr/>
          </p:nvSpPr>
          <p:spPr>
            <a:xfrm>
              <a:off x="7289647" y="1637211"/>
              <a:ext cx="247407" cy="59102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49" h="1549">
                  <a:moveTo>
                    <a:pt x="67" y="1549"/>
                  </a:moveTo>
                  <a:cubicBezTo>
                    <a:pt x="67" y="1549"/>
                    <a:pt x="-71" y="262"/>
                    <a:pt x="48" y="48"/>
                  </a:cubicBezTo>
                  <a:cubicBezTo>
                    <a:pt x="48" y="48"/>
                    <a:pt x="366" y="-69"/>
                    <a:pt x="605" y="61"/>
                  </a:cubicBezTo>
                  <a:cubicBezTo>
                    <a:pt x="605" y="61"/>
                    <a:pt x="723" y="431"/>
                    <a:pt x="573" y="1548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4" name="Freeform: Shape 112"/>
            <p:cNvSpPr/>
            <p:nvPr/>
          </p:nvSpPr>
          <p:spPr>
            <a:xfrm>
              <a:off x="7251467" y="1601322"/>
              <a:ext cx="57270" cy="62042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1626">
                  <a:moveTo>
                    <a:pt x="79" y="1626"/>
                  </a:moveTo>
                  <a:cubicBezTo>
                    <a:pt x="79" y="1626"/>
                    <a:pt x="-95" y="347"/>
                    <a:pt x="73" y="0"/>
                  </a:cubicBezTo>
                  <a:lnTo>
                    <a:pt x="151" y="11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5" name="Freeform: Shape 113"/>
            <p:cNvSpPr/>
            <p:nvPr/>
          </p:nvSpPr>
          <p:spPr>
            <a:xfrm>
              <a:off x="7288120" y="1574214"/>
              <a:ext cx="267642" cy="54253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2" h="1422">
                  <a:moveTo>
                    <a:pt x="0" y="47"/>
                  </a:moveTo>
                  <a:cubicBezTo>
                    <a:pt x="0" y="47"/>
                    <a:pt x="380" y="-73"/>
                    <a:pt x="608" y="71"/>
                  </a:cubicBezTo>
                  <a:cubicBezTo>
                    <a:pt x="608" y="71"/>
                    <a:pt x="782" y="185"/>
                    <a:pt x="657" y="142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6" name="Straight Connector 125"/>
            <p:cNvSpPr/>
            <p:nvPr/>
          </p:nvSpPr>
          <p:spPr>
            <a:xfrm flipV="1">
              <a:off x="7315227" y="1687991"/>
              <a:ext cx="200064" cy="114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7" name="Straight Connector 126"/>
            <p:cNvSpPr/>
            <p:nvPr/>
          </p:nvSpPr>
          <p:spPr>
            <a:xfrm flipV="1">
              <a:off x="7316756" y="1717390"/>
              <a:ext cx="197009" cy="76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8" name="Straight Connector 127"/>
            <p:cNvSpPr/>
            <p:nvPr/>
          </p:nvSpPr>
          <p:spPr>
            <a:xfrm flipV="1">
              <a:off x="7318665" y="1746788"/>
              <a:ext cx="193573" cy="76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9" name="Straight Connector 128"/>
            <p:cNvSpPr/>
            <p:nvPr/>
          </p:nvSpPr>
          <p:spPr>
            <a:xfrm flipV="1">
              <a:off x="7320574" y="1776187"/>
              <a:ext cx="190137" cy="76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0" name="Straight Connector 129"/>
            <p:cNvSpPr/>
            <p:nvPr/>
          </p:nvSpPr>
          <p:spPr>
            <a:xfrm flipV="1">
              <a:off x="7322483" y="1805204"/>
              <a:ext cx="187082" cy="76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1" name="Straight Connector 130"/>
            <p:cNvSpPr/>
            <p:nvPr/>
          </p:nvSpPr>
          <p:spPr>
            <a:xfrm flipV="1">
              <a:off x="7324392" y="1834602"/>
              <a:ext cx="183646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2" name="Straight Connector 131"/>
            <p:cNvSpPr/>
            <p:nvPr/>
          </p:nvSpPr>
          <p:spPr>
            <a:xfrm flipV="1">
              <a:off x="7326301" y="1864001"/>
              <a:ext cx="180592" cy="76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3" name="Straight Connector 132"/>
            <p:cNvSpPr/>
            <p:nvPr/>
          </p:nvSpPr>
          <p:spPr>
            <a:xfrm flipV="1">
              <a:off x="7328210" y="1893400"/>
              <a:ext cx="176774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4" name="Straight Connector 133"/>
            <p:cNvSpPr/>
            <p:nvPr/>
          </p:nvSpPr>
          <p:spPr>
            <a:xfrm flipV="1">
              <a:off x="7329736" y="1922797"/>
              <a:ext cx="173719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5" name="Straight Connector 134"/>
            <p:cNvSpPr/>
            <p:nvPr/>
          </p:nvSpPr>
          <p:spPr>
            <a:xfrm flipV="1">
              <a:off x="7331645" y="1952197"/>
              <a:ext cx="170665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6" name="Straight Connector 135"/>
            <p:cNvSpPr/>
            <p:nvPr/>
          </p:nvSpPr>
          <p:spPr>
            <a:xfrm flipV="1">
              <a:off x="7333554" y="1981595"/>
              <a:ext cx="167230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7" name="Straight Connector 136"/>
            <p:cNvSpPr/>
            <p:nvPr/>
          </p:nvSpPr>
          <p:spPr>
            <a:xfrm>
              <a:off x="7335463" y="2010994"/>
              <a:ext cx="16417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8" name="Straight Connector 137"/>
            <p:cNvSpPr/>
            <p:nvPr/>
          </p:nvSpPr>
          <p:spPr>
            <a:xfrm flipV="1">
              <a:off x="7337372" y="2040392"/>
              <a:ext cx="160739" cy="38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9" name="Straight Connector 138"/>
            <p:cNvSpPr/>
            <p:nvPr/>
          </p:nvSpPr>
          <p:spPr>
            <a:xfrm>
              <a:off x="7339281" y="2069791"/>
              <a:ext cx="15730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0" name="Straight Connector 139"/>
            <p:cNvSpPr/>
            <p:nvPr/>
          </p:nvSpPr>
          <p:spPr>
            <a:xfrm>
              <a:off x="7340809" y="2099190"/>
              <a:ext cx="15424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1" name="Straight Connector 140"/>
            <p:cNvSpPr/>
            <p:nvPr/>
          </p:nvSpPr>
          <p:spPr>
            <a:xfrm>
              <a:off x="7342718" y="2128589"/>
              <a:ext cx="15119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2" name="Straight Connector 141"/>
            <p:cNvSpPr/>
            <p:nvPr/>
          </p:nvSpPr>
          <p:spPr>
            <a:xfrm>
              <a:off x="7344627" y="2157987"/>
              <a:ext cx="14775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3" name="Straight Connector 142"/>
            <p:cNvSpPr/>
            <p:nvPr/>
          </p:nvSpPr>
          <p:spPr>
            <a:xfrm>
              <a:off x="7346536" y="2187386"/>
              <a:ext cx="144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4" name="Straight Connector 143"/>
            <p:cNvSpPr/>
            <p:nvPr/>
          </p:nvSpPr>
          <p:spPr>
            <a:xfrm>
              <a:off x="7348062" y="2216784"/>
              <a:ext cx="14126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5" name="Straight Connector 144"/>
            <p:cNvSpPr/>
            <p:nvPr/>
          </p:nvSpPr>
          <p:spPr>
            <a:xfrm>
              <a:off x="7223977" y="2077809"/>
              <a:ext cx="416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6" name="Straight Connector 145"/>
            <p:cNvSpPr/>
            <p:nvPr/>
          </p:nvSpPr>
          <p:spPr>
            <a:xfrm>
              <a:off x="7242686" y="2133552"/>
              <a:ext cx="0" cy="6108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7" name="Straight Connector 146"/>
            <p:cNvSpPr/>
            <p:nvPr/>
          </p:nvSpPr>
          <p:spPr>
            <a:xfrm>
              <a:off x="7303775" y="2253437"/>
              <a:ext cx="1630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8" name="Straight Connector 147"/>
            <p:cNvSpPr/>
            <p:nvPr/>
          </p:nvSpPr>
          <p:spPr>
            <a:xfrm>
              <a:off x="7519110" y="2275964"/>
              <a:ext cx="496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9" name="Straight Connector 148"/>
            <p:cNvSpPr/>
            <p:nvPr/>
          </p:nvSpPr>
          <p:spPr>
            <a:xfrm>
              <a:off x="7666103" y="2284745"/>
              <a:ext cx="0" cy="8743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0" name="Straight Connector 149"/>
            <p:cNvSpPr/>
            <p:nvPr/>
          </p:nvSpPr>
          <p:spPr>
            <a:xfrm>
              <a:off x="7735973" y="2322543"/>
              <a:ext cx="6948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1" name="Straight Connector 150"/>
            <p:cNvSpPr/>
            <p:nvPr/>
          </p:nvSpPr>
          <p:spPr>
            <a:xfrm>
              <a:off x="7741318" y="2358432"/>
              <a:ext cx="5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2" name="Straight Connector 151"/>
            <p:cNvSpPr/>
            <p:nvPr/>
          </p:nvSpPr>
          <p:spPr>
            <a:xfrm>
              <a:off x="7529036" y="2119044"/>
              <a:ext cx="931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3" name="Straight Connector 152"/>
            <p:cNvSpPr/>
            <p:nvPr/>
          </p:nvSpPr>
          <p:spPr>
            <a:xfrm>
              <a:off x="7761935" y="2115225"/>
              <a:ext cx="542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4" name="Straight Connector 153"/>
            <p:cNvSpPr/>
            <p:nvPr/>
          </p:nvSpPr>
          <p:spPr>
            <a:xfrm>
              <a:off x="7795533" y="2074372"/>
              <a:ext cx="0" cy="4085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5" name="Straight Connector 154"/>
            <p:cNvSpPr/>
            <p:nvPr/>
          </p:nvSpPr>
          <p:spPr>
            <a:xfrm>
              <a:off x="7808515" y="2194640"/>
              <a:ext cx="0" cy="7368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6" name="Straight Connector 155"/>
            <p:cNvSpPr/>
            <p:nvPr/>
          </p:nvSpPr>
          <p:spPr>
            <a:xfrm>
              <a:off x="7606923" y="2040392"/>
              <a:ext cx="0" cy="5154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7" name="Straight Connector 156"/>
            <p:cNvSpPr/>
            <p:nvPr/>
          </p:nvSpPr>
          <p:spPr>
            <a:xfrm>
              <a:off x="7632505" y="2040774"/>
              <a:ext cx="0" cy="511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8" name="Straight Connector 157"/>
            <p:cNvSpPr/>
            <p:nvPr/>
          </p:nvSpPr>
          <p:spPr>
            <a:xfrm>
              <a:off x="7658466" y="2040774"/>
              <a:ext cx="0" cy="511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9" name="Straight Connector 158"/>
            <p:cNvSpPr/>
            <p:nvPr/>
          </p:nvSpPr>
          <p:spPr>
            <a:xfrm>
              <a:off x="7684430" y="2040774"/>
              <a:ext cx="0" cy="511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0" name="Straight Connector 159"/>
            <p:cNvSpPr/>
            <p:nvPr/>
          </p:nvSpPr>
          <p:spPr>
            <a:xfrm>
              <a:off x="7710392" y="2041156"/>
              <a:ext cx="0" cy="5077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1" name="Straight Connector 160"/>
            <p:cNvSpPr/>
            <p:nvPr/>
          </p:nvSpPr>
          <p:spPr>
            <a:xfrm>
              <a:off x="7735973" y="2041156"/>
              <a:ext cx="0" cy="5077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2" name="Straight Connector 161"/>
            <p:cNvSpPr/>
            <p:nvPr/>
          </p:nvSpPr>
          <p:spPr>
            <a:xfrm>
              <a:off x="7761935" y="2041538"/>
              <a:ext cx="0" cy="5039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3" name="Straight Connector 162"/>
            <p:cNvSpPr/>
            <p:nvPr/>
          </p:nvSpPr>
          <p:spPr>
            <a:xfrm>
              <a:off x="7587070" y="2148060"/>
              <a:ext cx="0" cy="10003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4" name="Straight Connector 163"/>
            <p:cNvSpPr/>
            <p:nvPr/>
          </p:nvSpPr>
          <p:spPr>
            <a:xfrm>
              <a:off x="7783698" y="2148060"/>
              <a:ext cx="0" cy="10003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5" name="Straight Connector 164"/>
            <p:cNvSpPr/>
            <p:nvPr/>
          </p:nvSpPr>
          <p:spPr>
            <a:xfrm>
              <a:off x="7595852" y="2014430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6" name="Freeform: Shape 154"/>
            <p:cNvSpPr/>
            <p:nvPr/>
          </p:nvSpPr>
          <p:spPr>
            <a:xfrm>
              <a:off x="7598524" y="1885764"/>
              <a:ext cx="170665" cy="10194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48" h="268">
                  <a:moveTo>
                    <a:pt x="448" y="268"/>
                  </a:moveTo>
                  <a:lnTo>
                    <a:pt x="0" y="268"/>
                  </a:lnTo>
                  <a:cubicBezTo>
                    <a:pt x="0" y="268"/>
                    <a:pt x="60" y="0"/>
                    <a:pt x="225" y="0"/>
                  </a:cubicBezTo>
                  <a:cubicBezTo>
                    <a:pt x="390" y="0"/>
                    <a:pt x="448" y="268"/>
                    <a:pt x="448" y="26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7" name="Straight Connector 166"/>
            <p:cNvSpPr/>
            <p:nvPr/>
          </p:nvSpPr>
          <p:spPr>
            <a:xfrm>
              <a:off x="7666103" y="1861328"/>
              <a:ext cx="3703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8" name="Straight Connector 167"/>
            <p:cNvSpPr/>
            <p:nvPr/>
          </p:nvSpPr>
          <p:spPr>
            <a:xfrm>
              <a:off x="7672594" y="1837275"/>
              <a:ext cx="255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9" name="Straight Connector 168"/>
            <p:cNvSpPr/>
            <p:nvPr/>
          </p:nvSpPr>
          <p:spPr>
            <a:xfrm>
              <a:off x="7685575" y="1759006"/>
              <a:ext cx="0" cy="465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0" name="Straight Connector 169"/>
            <p:cNvSpPr/>
            <p:nvPr/>
          </p:nvSpPr>
          <p:spPr>
            <a:xfrm>
              <a:off x="7650831" y="2232820"/>
              <a:ext cx="683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1" name="Straight Connector 170"/>
            <p:cNvSpPr/>
            <p:nvPr/>
          </p:nvSpPr>
          <p:spPr>
            <a:xfrm>
              <a:off x="7854331" y="2068263"/>
              <a:ext cx="763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2" name="Straight Connector 171"/>
            <p:cNvSpPr/>
            <p:nvPr/>
          </p:nvSpPr>
          <p:spPr>
            <a:xfrm>
              <a:off x="7840204" y="1966323"/>
              <a:ext cx="0" cy="9010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3" name="Straight Connector 172"/>
            <p:cNvSpPr/>
            <p:nvPr/>
          </p:nvSpPr>
          <p:spPr>
            <a:xfrm>
              <a:off x="7940999" y="1966323"/>
              <a:ext cx="0" cy="9010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4" name="Straight Connector 173"/>
            <p:cNvSpPr/>
            <p:nvPr/>
          </p:nvSpPr>
          <p:spPr>
            <a:xfrm>
              <a:off x="7845166" y="2079718"/>
              <a:ext cx="0" cy="229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5" name="Straight Connector 174"/>
            <p:cNvSpPr/>
            <p:nvPr/>
          </p:nvSpPr>
          <p:spPr>
            <a:xfrm>
              <a:off x="7868839" y="2079718"/>
              <a:ext cx="0" cy="229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6" name="Straight Connector 175"/>
            <p:cNvSpPr/>
            <p:nvPr/>
          </p:nvSpPr>
          <p:spPr>
            <a:xfrm>
              <a:off x="7892129" y="2079718"/>
              <a:ext cx="0" cy="229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7" name="Straight Connector 176"/>
            <p:cNvSpPr/>
            <p:nvPr/>
          </p:nvSpPr>
          <p:spPr>
            <a:xfrm>
              <a:off x="7915419" y="2079718"/>
              <a:ext cx="0" cy="229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8" name="Straight Connector 177"/>
            <p:cNvSpPr/>
            <p:nvPr/>
          </p:nvSpPr>
          <p:spPr>
            <a:xfrm>
              <a:off x="7938709" y="2079718"/>
              <a:ext cx="0" cy="229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9" name="Freeform: Shape 167"/>
            <p:cNvSpPr/>
            <p:nvPr/>
          </p:nvSpPr>
          <p:spPr>
            <a:xfrm>
              <a:off x="7836386" y="1858274"/>
              <a:ext cx="105759" cy="9086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239" fill="none">
                  <a:moveTo>
                    <a:pt x="0" y="239"/>
                  </a:moveTo>
                  <a:lnTo>
                    <a:pt x="72" y="123"/>
                  </a:lnTo>
                  <a:lnTo>
                    <a:pt x="72" y="0"/>
                  </a:lnTo>
                  <a:lnTo>
                    <a:pt x="204" y="0"/>
                  </a:lnTo>
                  <a:lnTo>
                    <a:pt x="204" y="119"/>
                  </a:lnTo>
                  <a:lnTo>
                    <a:pt x="278" y="2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0" name="Freeform: Shape 168"/>
            <p:cNvSpPr/>
            <p:nvPr/>
          </p:nvSpPr>
          <p:spPr>
            <a:xfrm>
              <a:off x="7867694" y="1990377"/>
              <a:ext cx="46580" cy="465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3" h="123">
                  <a:moveTo>
                    <a:pt x="123" y="61"/>
                  </a:moveTo>
                  <a:cubicBezTo>
                    <a:pt x="123" y="73"/>
                    <a:pt x="121" y="82"/>
                    <a:pt x="115" y="92"/>
                  </a:cubicBezTo>
                  <a:cubicBezTo>
                    <a:pt x="109" y="102"/>
                    <a:pt x="101" y="109"/>
                    <a:pt x="92" y="115"/>
                  </a:cubicBezTo>
                  <a:cubicBezTo>
                    <a:pt x="82" y="120"/>
                    <a:pt x="73" y="123"/>
                    <a:pt x="62" y="123"/>
                  </a:cubicBezTo>
                  <a:cubicBezTo>
                    <a:pt x="50" y="123"/>
                    <a:pt x="41" y="120"/>
                    <a:pt x="31" y="115"/>
                  </a:cubicBezTo>
                  <a:cubicBezTo>
                    <a:pt x="21" y="109"/>
                    <a:pt x="14" y="102"/>
                    <a:pt x="8" y="92"/>
                  </a:cubicBezTo>
                  <a:cubicBezTo>
                    <a:pt x="2" y="82"/>
                    <a:pt x="0" y="72"/>
                    <a:pt x="0" y="61"/>
                  </a:cubicBezTo>
                  <a:cubicBezTo>
                    <a:pt x="0" y="49"/>
                    <a:pt x="2" y="40"/>
                    <a:pt x="8" y="30"/>
                  </a:cubicBezTo>
                  <a:cubicBezTo>
                    <a:pt x="14" y="20"/>
                    <a:pt x="21" y="14"/>
                    <a:pt x="31" y="8"/>
                  </a:cubicBezTo>
                  <a:cubicBezTo>
                    <a:pt x="41" y="2"/>
                    <a:pt x="50" y="0"/>
                    <a:pt x="62" y="0"/>
                  </a:cubicBezTo>
                  <a:cubicBezTo>
                    <a:pt x="73" y="0"/>
                    <a:pt x="82" y="2"/>
                    <a:pt x="92" y="8"/>
                  </a:cubicBezTo>
                  <a:cubicBezTo>
                    <a:pt x="101" y="14"/>
                    <a:pt x="109" y="20"/>
                    <a:pt x="115" y="30"/>
                  </a:cubicBezTo>
                  <a:cubicBezTo>
                    <a:pt x="121" y="39"/>
                    <a:pt x="123" y="50"/>
                    <a:pt x="123" y="61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1" name="Straight Connector 180"/>
            <p:cNvSpPr/>
            <p:nvPr/>
          </p:nvSpPr>
          <p:spPr>
            <a:xfrm>
              <a:off x="7863112" y="1940743"/>
              <a:ext cx="538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2" name="Straight Connector 181"/>
            <p:cNvSpPr/>
            <p:nvPr/>
          </p:nvSpPr>
          <p:spPr>
            <a:xfrm>
              <a:off x="7863112" y="1959069"/>
              <a:ext cx="538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3" name="Straight Connector 182"/>
            <p:cNvSpPr/>
            <p:nvPr/>
          </p:nvSpPr>
          <p:spPr>
            <a:xfrm>
              <a:off x="7863876" y="1905235"/>
              <a:ext cx="507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4" name="Freeform: Shape 172"/>
            <p:cNvSpPr/>
            <p:nvPr/>
          </p:nvSpPr>
          <p:spPr>
            <a:xfrm>
              <a:off x="7863876" y="1818185"/>
              <a:ext cx="50016" cy="3970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2" h="105" fill="none">
                  <a:moveTo>
                    <a:pt x="0" y="105"/>
                  </a:moveTo>
                  <a:lnTo>
                    <a:pt x="67" y="0"/>
                  </a:lnTo>
                  <a:lnTo>
                    <a:pt x="132" y="10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5" name="Straight Connector 184"/>
            <p:cNvSpPr/>
            <p:nvPr/>
          </p:nvSpPr>
          <p:spPr>
            <a:xfrm>
              <a:off x="7890220" y="1873164"/>
              <a:ext cx="0" cy="217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6" name="Straight Connector 185"/>
            <p:cNvSpPr/>
            <p:nvPr/>
          </p:nvSpPr>
          <p:spPr>
            <a:xfrm flipV="1">
              <a:off x="7889456" y="1780005"/>
              <a:ext cx="0" cy="3856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7" name="Straight Connector 186"/>
            <p:cNvSpPr/>
            <p:nvPr/>
          </p:nvSpPr>
          <p:spPr>
            <a:xfrm>
              <a:off x="7983378" y="2125534"/>
              <a:ext cx="0" cy="8628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8" name="Straight Connector 187"/>
            <p:cNvSpPr/>
            <p:nvPr/>
          </p:nvSpPr>
          <p:spPr>
            <a:xfrm>
              <a:off x="7955890" y="2211821"/>
              <a:ext cx="538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9" name="Straight Connector 188"/>
            <p:cNvSpPr/>
            <p:nvPr/>
          </p:nvSpPr>
          <p:spPr>
            <a:xfrm>
              <a:off x="7879911" y="2358432"/>
              <a:ext cx="4394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0" name="Freeform: Shape 178"/>
            <p:cNvSpPr/>
            <p:nvPr/>
          </p:nvSpPr>
          <p:spPr>
            <a:xfrm>
              <a:off x="7996361" y="1052675"/>
              <a:ext cx="322621" cy="128704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46" h="3372" fill="none">
                  <a:moveTo>
                    <a:pt x="0" y="3372"/>
                  </a:moveTo>
                  <a:lnTo>
                    <a:pt x="348" y="0"/>
                  </a:lnTo>
                  <a:lnTo>
                    <a:pt x="408" y="169"/>
                  </a:lnTo>
                  <a:lnTo>
                    <a:pt x="468" y="0"/>
                  </a:lnTo>
                  <a:lnTo>
                    <a:pt x="846" y="336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1" name="Straight Connector 190"/>
            <p:cNvSpPr/>
            <p:nvPr/>
          </p:nvSpPr>
          <p:spPr>
            <a:xfrm>
              <a:off x="8157100" y="1147741"/>
              <a:ext cx="130534" cy="118358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2" name="Straight Connector 191"/>
            <p:cNvSpPr/>
            <p:nvPr/>
          </p:nvSpPr>
          <p:spPr>
            <a:xfrm>
              <a:off x="8301037" y="2174023"/>
              <a:ext cx="12866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3" name="Straight Connector 192"/>
            <p:cNvSpPr/>
            <p:nvPr/>
          </p:nvSpPr>
          <p:spPr>
            <a:xfrm>
              <a:off x="8352962" y="2248474"/>
              <a:ext cx="0" cy="11797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4" name="Straight Connector 193"/>
            <p:cNvSpPr/>
            <p:nvPr/>
          </p:nvSpPr>
          <p:spPr>
            <a:xfrm>
              <a:off x="9072656" y="2248474"/>
              <a:ext cx="0" cy="11797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5" name="Straight Connector 194"/>
            <p:cNvSpPr/>
            <p:nvPr/>
          </p:nvSpPr>
          <p:spPr>
            <a:xfrm>
              <a:off x="8526300" y="2358432"/>
              <a:ext cx="26611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6" name="Straight Connector 195"/>
            <p:cNvSpPr/>
            <p:nvPr/>
          </p:nvSpPr>
          <p:spPr>
            <a:xfrm>
              <a:off x="8577843" y="2389740"/>
              <a:ext cx="771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7" name="Straight Connector 196"/>
            <p:cNvSpPr/>
            <p:nvPr/>
          </p:nvSpPr>
          <p:spPr>
            <a:xfrm>
              <a:off x="8315164" y="2014812"/>
              <a:ext cx="67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8" name="Straight Connector 197"/>
            <p:cNvSpPr/>
            <p:nvPr/>
          </p:nvSpPr>
          <p:spPr>
            <a:xfrm>
              <a:off x="8476284" y="2014812"/>
              <a:ext cx="14966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9" name="Straight Connector 198"/>
            <p:cNvSpPr/>
            <p:nvPr/>
          </p:nvSpPr>
          <p:spPr>
            <a:xfrm>
              <a:off x="8385797" y="1918598"/>
              <a:ext cx="0" cy="20044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0" name="Freeform: Shape 188"/>
            <p:cNvSpPr/>
            <p:nvPr/>
          </p:nvSpPr>
          <p:spPr>
            <a:xfrm>
              <a:off x="8476284" y="1918598"/>
              <a:ext cx="353929" cy="32605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8" h="855" fill="none">
                  <a:moveTo>
                    <a:pt x="0" y="0"/>
                  </a:moveTo>
                  <a:lnTo>
                    <a:pt x="0" y="855"/>
                  </a:lnTo>
                  <a:lnTo>
                    <a:pt x="928" y="855"/>
                  </a:lnTo>
                  <a:lnTo>
                    <a:pt x="883" y="782"/>
                  </a:lnTo>
                  <a:lnTo>
                    <a:pt x="77" y="78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1" name="Straight Connector 200"/>
            <p:cNvSpPr/>
            <p:nvPr/>
          </p:nvSpPr>
          <p:spPr>
            <a:xfrm>
              <a:off x="8429704" y="1918598"/>
              <a:ext cx="0" cy="4467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2" name="Straight Connector 201"/>
            <p:cNvSpPr/>
            <p:nvPr/>
          </p:nvSpPr>
          <p:spPr>
            <a:xfrm>
              <a:off x="8429704" y="2011376"/>
              <a:ext cx="0" cy="1909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3" name="Straight Connector 202"/>
            <p:cNvSpPr/>
            <p:nvPr/>
          </p:nvSpPr>
          <p:spPr>
            <a:xfrm>
              <a:off x="8359835" y="1900272"/>
              <a:ext cx="14203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4" name="Freeform: Shape 192"/>
            <p:cNvSpPr/>
            <p:nvPr/>
          </p:nvSpPr>
          <p:spPr>
            <a:xfrm>
              <a:off x="8371289" y="1838420"/>
              <a:ext cx="113395" cy="4696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5" name="Straight Connector 204"/>
            <p:cNvSpPr/>
            <p:nvPr/>
          </p:nvSpPr>
          <p:spPr>
            <a:xfrm>
              <a:off x="8430849" y="1750606"/>
              <a:ext cx="0" cy="8819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7" name="Straight Connector 206"/>
            <p:cNvSpPr/>
            <p:nvPr/>
          </p:nvSpPr>
          <p:spPr>
            <a:xfrm>
              <a:off x="8629004" y="1918598"/>
              <a:ext cx="0" cy="20044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8" name="Straight Connector 207"/>
            <p:cNvSpPr/>
            <p:nvPr/>
          </p:nvSpPr>
          <p:spPr>
            <a:xfrm>
              <a:off x="8719491" y="1918598"/>
              <a:ext cx="0" cy="20044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9" name="Straight Connector 208"/>
            <p:cNvSpPr/>
            <p:nvPr/>
          </p:nvSpPr>
          <p:spPr>
            <a:xfrm>
              <a:off x="8673293" y="1918598"/>
              <a:ext cx="0" cy="4467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0" name="Straight Connector 209"/>
            <p:cNvSpPr/>
            <p:nvPr/>
          </p:nvSpPr>
          <p:spPr>
            <a:xfrm>
              <a:off x="8673293" y="2011376"/>
              <a:ext cx="0" cy="1909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1" name="Straight Connector 210"/>
            <p:cNvSpPr/>
            <p:nvPr/>
          </p:nvSpPr>
          <p:spPr>
            <a:xfrm>
              <a:off x="8603422" y="1900272"/>
              <a:ext cx="14203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2" name="Freeform: Shape 200"/>
            <p:cNvSpPr/>
            <p:nvPr/>
          </p:nvSpPr>
          <p:spPr>
            <a:xfrm>
              <a:off x="8614876" y="1838420"/>
              <a:ext cx="113395" cy="4696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3" name="Straight Connector 212"/>
            <p:cNvSpPr/>
            <p:nvPr/>
          </p:nvSpPr>
          <p:spPr>
            <a:xfrm>
              <a:off x="8674438" y="1750606"/>
              <a:ext cx="0" cy="8819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4" name="Freeform: Shape 202"/>
            <p:cNvSpPr/>
            <p:nvPr/>
          </p:nvSpPr>
          <p:spPr>
            <a:xfrm>
              <a:off x="8746217" y="2136606"/>
              <a:ext cx="45816" cy="3932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5" name="Freeform: Shape 203"/>
            <p:cNvSpPr/>
            <p:nvPr/>
          </p:nvSpPr>
          <p:spPr>
            <a:xfrm>
              <a:off x="8838612" y="2136606"/>
              <a:ext cx="45816" cy="3932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6" name="Freeform: Shape 204"/>
            <p:cNvSpPr/>
            <p:nvPr/>
          </p:nvSpPr>
          <p:spPr>
            <a:xfrm>
              <a:off x="8931008" y="2136606"/>
              <a:ext cx="45816" cy="3932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7" name="Freeform: Shape 205"/>
            <p:cNvSpPr/>
            <p:nvPr/>
          </p:nvSpPr>
          <p:spPr>
            <a:xfrm>
              <a:off x="9023403" y="2136606"/>
              <a:ext cx="45816" cy="3932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8" name="Freeform: Shape 206"/>
            <p:cNvSpPr/>
            <p:nvPr/>
          </p:nvSpPr>
          <p:spPr>
            <a:xfrm>
              <a:off x="8374725" y="2287418"/>
              <a:ext cx="200445" cy="500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9" name="Freeform: Shape 207"/>
            <p:cNvSpPr/>
            <p:nvPr/>
          </p:nvSpPr>
          <p:spPr>
            <a:xfrm>
              <a:off x="8614495" y="2287418"/>
              <a:ext cx="200063" cy="500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5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5" y="132"/>
                    <a:pt x="525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0" name="Freeform: Shape 208"/>
            <p:cNvSpPr/>
            <p:nvPr/>
          </p:nvSpPr>
          <p:spPr>
            <a:xfrm>
              <a:off x="8854266" y="2287418"/>
              <a:ext cx="200445" cy="500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3" y="0"/>
                    <a:pt x="277" y="0"/>
                  </a:cubicBezTo>
                  <a:cubicBezTo>
                    <a:pt x="491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1" name="Straight Connector 220"/>
            <p:cNvSpPr/>
            <p:nvPr/>
          </p:nvSpPr>
          <p:spPr>
            <a:xfrm>
              <a:off x="9112745" y="1956778"/>
              <a:ext cx="0" cy="5841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2" name="Straight Connector 221"/>
            <p:cNvSpPr/>
            <p:nvPr/>
          </p:nvSpPr>
          <p:spPr>
            <a:xfrm>
              <a:off x="0" y="2215257"/>
              <a:ext cx="1656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3" name="Straight Connector 222"/>
            <p:cNvSpPr/>
            <p:nvPr/>
          </p:nvSpPr>
          <p:spPr>
            <a:xfrm>
              <a:off x="53002" y="2248474"/>
              <a:ext cx="0" cy="1233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4" name="Straight Connector 223"/>
            <p:cNvSpPr/>
            <p:nvPr/>
          </p:nvSpPr>
          <p:spPr>
            <a:xfrm>
              <a:off x="201523" y="2145770"/>
              <a:ext cx="5681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5" name="Straight Connector 224"/>
            <p:cNvSpPr/>
            <p:nvPr/>
          </p:nvSpPr>
          <p:spPr>
            <a:xfrm>
              <a:off x="327899" y="2190822"/>
              <a:ext cx="30734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6" name="Straight Connector 225"/>
            <p:cNvSpPr/>
            <p:nvPr/>
          </p:nvSpPr>
          <p:spPr>
            <a:xfrm>
              <a:off x="425258" y="2233584"/>
              <a:ext cx="11301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7" name="Straight Connector 226"/>
            <p:cNvSpPr/>
            <p:nvPr/>
          </p:nvSpPr>
          <p:spPr>
            <a:xfrm>
              <a:off x="831112" y="2115988"/>
              <a:ext cx="0" cy="3474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8" name="Straight Connector 227"/>
            <p:cNvSpPr/>
            <p:nvPr/>
          </p:nvSpPr>
          <p:spPr>
            <a:xfrm>
              <a:off x="871201" y="2150733"/>
              <a:ext cx="3798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9" name="Freeform: Shape 226"/>
            <p:cNvSpPr/>
            <p:nvPr/>
          </p:nvSpPr>
          <p:spPr>
            <a:xfrm>
              <a:off x="918926" y="1782296"/>
              <a:ext cx="547883" cy="35011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36" h="918" fill="none">
                  <a:moveTo>
                    <a:pt x="0" y="918"/>
                  </a:moveTo>
                  <a:lnTo>
                    <a:pt x="718" y="0"/>
                  </a:lnTo>
                  <a:lnTo>
                    <a:pt x="1436" y="918"/>
                  </a:lnTo>
                  <a:lnTo>
                    <a:pt x="1436" y="75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0" name="Freeform: Shape 227"/>
            <p:cNvSpPr/>
            <p:nvPr/>
          </p:nvSpPr>
          <p:spPr>
            <a:xfrm>
              <a:off x="1501935" y="1459292"/>
              <a:ext cx="339039" cy="71434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9" h="1872" fill="none">
                  <a:moveTo>
                    <a:pt x="0" y="1872"/>
                  </a:moveTo>
                  <a:lnTo>
                    <a:pt x="0" y="0"/>
                  </a:lnTo>
                  <a:lnTo>
                    <a:pt x="889" y="0"/>
                  </a:lnTo>
                  <a:lnTo>
                    <a:pt x="889" y="142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1" name="Freeform: Shape 228"/>
            <p:cNvSpPr/>
            <p:nvPr/>
          </p:nvSpPr>
          <p:spPr>
            <a:xfrm>
              <a:off x="1702380" y="2028939"/>
              <a:ext cx="277951" cy="2172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29" h="570" fill="none">
                  <a:moveTo>
                    <a:pt x="0" y="570"/>
                  </a:moveTo>
                  <a:lnTo>
                    <a:pt x="0" y="0"/>
                  </a:lnTo>
                  <a:lnTo>
                    <a:pt x="729" y="0"/>
                  </a:lnTo>
                  <a:lnTo>
                    <a:pt x="729" y="56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2" name="Straight Connector 231"/>
            <p:cNvSpPr/>
            <p:nvPr/>
          </p:nvSpPr>
          <p:spPr>
            <a:xfrm>
              <a:off x="1879918" y="1983123"/>
              <a:ext cx="8437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3" name="Straight Connector 232"/>
            <p:cNvSpPr/>
            <p:nvPr/>
          </p:nvSpPr>
          <p:spPr>
            <a:xfrm>
              <a:off x="1905880" y="1931961"/>
              <a:ext cx="0" cy="2863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4" name="Straight Connector 233"/>
            <p:cNvSpPr/>
            <p:nvPr/>
          </p:nvSpPr>
          <p:spPr>
            <a:xfrm>
              <a:off x="1651219" y="1338262"/>
              <a:ext cx="423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5" name="Straight Connector 234"/>
            <p:cNvSpPr/>
            <p:nvPr/>
          </p:nvSpPr>
          <p:spPr>
            <a:xfrm>
              <a:off x="1620675" y="1375296"/>
              <a:ext cx="10308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6" name="Freeform: Shape 233"/>
            <p:cNvSpPr/>
            <p:nvPr/>
          </p:nvSpPr>
          <p:spPr>
            <a:xfrm>
              <a:off x="1597768" y="1403931"/>
              <a:ext cx="151575" cy="5497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98" h="145" fill="none">
                  <a:moveTo>
                    <a:pt x="0" y="145"/>
                  </a:moveTo>
                  <a:lnTo>
                    <a:pt x="0" y="0"/>
                  </a:lnTo>
                  <a:lnTo>
                    <a:pt x="398" y="0"/>
                  </a:lnTo>
                  <a:lnTo>
                    <a:pt x="398" y="14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7" name="Straight Connector 236"/>
            <p:cNvSpPr/>
            <p:nvPr/>
          </p:nvSpPr>
          <p:spPr>
            <a:xfrm>
              <a:off x="1588604" y="2263364"/>
              <a:ext cx="19777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8" name="Straight Connector 237"/>
            <p:cNvSpPr/>
            <p:nvPr/>
          </p:nvSpPr>
          <p:spPr>
            <a:xfrm flipV="1">
              <a:off x="1895190" y="2072081"/>
              <a:ext cx="0" cy="16799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9" name="Straight Connector 238"/>
            <p:cNvSpPr/>
            <p:nvPr/>
          </p:nvSpPr>
          <p:spPr>
            <a:xfrm flipV="1">
              <a:off x="2037983" y="1520762"/>
              <a:ext cx="0" cy="52803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0" name="Straight Connector 239"/>
            <p:cNvSpPr/>
            <p:nvPr/>
          </p:nvSpPr>
          <p:spPr>
            <a:xfrm flipV="1">
              <a:off x="2169323" y="1520762"/>
              <a:ext cx="0" cy="52803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1" name="Freeform: Shape 238"/>
            <p:cNvSpPr/>
            <p:nvPr/>
          </p:nvSpPr>
          <p:spPr>
            <a:xfrm>
              <a:off x="2044475" y="1496708"/>
              <a:ext cx="116831" cy="3588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95" fill="none">
                  <a:moveTo>
                    <a:pt x="0" y="95"/>
                  </a:moveTo>
                  <a:lnTo>
                    <a:pt x="155" y="0"/>
                  </a:lnTo>
                  <a:lnTo>
                    <a:pt x="307" y="9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2" name="Straight Connector 241"/>
            <p:cNvSpPr/>
            <p:nvPr/>
          </p:nvSpPr>
          <p:spPr>
            <a:xfrm flipV="1">
              <a:off x="2103653" y="1382169"/>
              <a:ext cx="0" cy="1145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3" name="Freeform: Shape 240"/>
            <p:cNvSpPr/>
            <p:nvPr/>
          </p:nvSpPr>
          <p:spPr>
            <a:xfrm>
              <a:off x="2074254" y="1557033"/>
              <a:ext cx="58034" cy="3207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3" h="85">
                  <a:moveTo>
                    <a:pt x="76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153" y="0"/>
                  </a:lnTo>
                  <a:lnTo>
                    <a:pt x="153" y="8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4" name="Freeform: Shape 241"/>
            <p:cNvSpPr/>
            <p:nvPr/>
          </p:nvSpPr>
          <p:spPr>
            <a:xfrm>
              <a:off x="2058982" y="1619649"/>
              <a:ext cx="87050" cy="1641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9" h="44">
                  <a:moveTo>
                    <a:pt x="115" y="44"/>
                  </a:moveTo>
                  <a:lnTo>
                    <a:pt x="0" y="44"/>
                  </a:lnTo>
                  <a:lnTo>
                    <a:pt x="0" y="0"/>
                  </a:lnTo>
                  <a:lnTo>
                    <a:pt x="229" y="0"/>
                  </a:lnTo>
                  <a:lnTo>
                    <a:pt x="229" y="4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5" name="Freeform: Shape 242"/>
            <p:cNvSpPr/>
            <p:nvPr/>
          </p:nvSpPr>
          <p:spPr>
            <a:xfrm>
              <a:off x="2055546" y="1659738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6" name="Freeform: Shape 243"/>
            <p:cNvSpPr/>
            <p:nvPr/>
          </p:nvSpPr>
          <p:spPr>
            <a:xfrm>
              <a:off x="2055546" y="1691426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7" name="Freeform: Shape 244"/>
            <p:cNvSpPr/>
            <p:nvPr/>
          </p:nvSpPr>
          <p:spPr>
            <a:xfrm>
              <a:off x="2055546" y="1722735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8" name="Freeform: Shape 245"/>
            <p:cNvSpPr/>
            <p:nvPr/>
          </p:nvSpPr>
          <p:spPr>
            <a:xfrm>
              <a:off x="2055546" y="1754041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9" name="Freeform: Shape 246"/>
            <p:cNvSpPr/>
            <p:nvPr/>
          </p:nvSpPr>
          <p:spPr>
            <a:xfrm>
              <a:off x="2055546" y="1785350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0" name="Freeform: Shape 247"/>
            <p:cNvSpPr/>
            <p:nvPr/>
          </p:nvSpPr>
          <p:spPr>
            <a:xfrm>
              <a:off x="2055546" y="1816658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1" name="Freeform: Shape 248"/>
            <p:cNvSpPr/>
            <p:nvPr/>
          </p:nvSpPr>
          <p:spPr>
            <a:xfrm>
              <a:off x="2055546" y="1847965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2" name="Freeform: Shape 249"/>
            <p:cNvSpPr/>
            <p:nvPr/>
          </p:nvSpPr>
          <p:spPr>
            <a:xfrm>
              <a:off x="2055546" y="1879655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3" name="Freeform: Shape 250"/>
            <p:cNvSpPr/>
            <p:nvPr/>
          </p:nvSpPr>
          <p:spPr>
            <a:xfrm>
              <a:off x="2055546" y="1910962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4" name="Freeform: Shape 251"/>
            <p:cNvSpPr/>
            <p:nvPr/>
          </p:nvSpPr>
          <p:spPr>
            <a:xfrm>
              <a:off x="2055546" y="1942269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5" name="Freeform: Shape 252"/>
            <p:cNvSpPr/>
            <p:nvPr/>
          </p:nvSpPr>
          <p:spPr>
            <a:xfrm>
              <a:off x="2055546" y="1973959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6" name="Freeform: Shape 253"/>
            <p:cNvSpPr/>
            <p:nvPr/>
          </p:nvSpPr>
          <p:spPr>
            <a:xfrm>
              <a:off x="2055546" y="2005649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7" name="Freeform: Shape 254"/>
            <p:cNvSpPr/>
            <p:nvPr/>
          </p:nvSpPr>
          <p:spPr>
            <a:xfrm>
              <a:off x="2055546" y="2036956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8" name="Freeform: Shape 255"/>
            <p:cNvSpPr/>
            <p:nvPr/>
          </p:nvSpPr>
          <p:spPr>
            <a:xfrm>
              <a:off x="2186122" y="1738389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9" name="Freeform: Shape 256"/>
            <p:cNvSpPr/>
            <p:nvPr/>
          </p:nvSpPr>
          <p:spPr>
            <a:xfrm>
              <a:off x="2186122" y="1759769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0" name="Freeform: Shape 257"/>
            <p:cNvSpPr/>
            <p:nvPr/>
          </p:nvSpPr>
          <p:spPr>
            <a:xfrm>
              <a:off x="2186122" y="1780768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1" name="Freeform: Shape 258"/>
            <p:cNvSpPr/>
            <p:nvPr/>
          </p:nvSpPr>
          <p:spPr>
            <a:xfrm>
              <a:off x="2186122" y="1802149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2" name="Freeform: Shape 259"/>
            <p:cNvSpPr/>
            <p:nvPr/>
          </p:nvSpPr>
          <p:spPr>
            <a:xfrm>
              <a:off x="2186122" y="1823530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3" name="Freeform: Shape 260"/>
            <p:cNvSpPr/>
            <p:nvPr/>
          </p:nvSpPr>
          <p:spPr>
            <a:xfrm>
              <a:off x="2186122" y="1844911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4" name="Freeform: Shape 261"/>
            <p:cNvSpPr/>
            <p:nvPr/>
          </p:nvSpPr>
          <p:spPr>
            <a:xfrm>
              <a:off x="2186122" y="1866292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5" name="Freeform: Shape 262"/>
            <p:cNvSpPr/>
            <p:nvPr/>
          </p:nvSpPr>
          <p:spPr>
            <a:xfrm>
              <a:off x="2186122" y="1888054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6" name="Freeform: Shape 263"/>
            <p:cNvSpPr/>
            <p:nvPr/>
          </p:nvSpPr>
          <p:spPr>
            <a:xfrm>
              <a:off x="2186122" y="1909053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7" name="Freeform: Shape 264"/>
            <p:cNvSpPr/>
            <p:nvPr/>
          </p:nvSpPr>
          <p:spPr>
            <a:xfrm>
              <a:off x="2186122" y="1930434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8" name="Freeform: Shape 265"/>
            <p:cNvSpPr/>
            <p:nvPr/>
          </p:nvSpPr>
          <p:spPr>
            <a:xfrm>
              <a:off x="2186122" y="1951815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9" name="Freeform: Shape 266"/>
            <p:cNvSpPr/>
            <p:nvPr/>
          </p:nvSpPr>
          <p:spPr>
            <a:xfrm>
              <a:off x="2186122" y="1973196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0" name="Freeform: Shape 267"/>
            <p:cNvSpPr/>
            <p:nvPr/>
          </p:nvSpPr>
          <p:spPr>
            <a:xfrm>
              <a:off x="2186122" y="1994577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1" name="Freeform: Shape 268"/>
            <p:cNvSpPr/>
            <p:nvPr/>
          </p:nvSpPr>
          <p:spPr>
            <a:xfrm>
              <a:off x="2186122" y="2015957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2" name="Freeform: Shape 269"/>
            <p:cNvSpPr/>
            <p:nvPr/>
          </p:nvSpPr>
          <p:spPr>
            <a:xfrm>
              <a:off x="2186122" y="2037719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3" name="Straight Connector 272"/>
            <p:cNvSpPr/>
            <p:nvPr/>
          </p:nvSpPr>
          <p:spPr>
            <a:xfrm>
              <a:off x="2348770" y="1733807"/>
              <a:ext cx="0" cy="30887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4" name="Freeform: Shape 271"/>
            <p:cNvSpPr/>
            <p:nvPr/>
          </p:nvSpPr>
          <p:spPr>
            <a:xfrm>
              <a:off x="2077308" y="2059865"/>
              <a:ext cx="652497" cy="10614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10" h="279" fill="none">
                  <a:moveTo>
                    <a:pt x="0" y="0"/>
                  </a:moveTo>
                  <a:lnTo>
                    <a:pt x="1034" y="0"/>
                  </a:lnTo>
                  <a:lnTo>
                    <a:pt x="1034" y="170"/>
                  </a:lnTo>
                  <a:lnTo>
                    <a:pt x="1710" y="170"/>
                  </a:lnTo>
                  <a:lnTo>
                    <a:pt x="1710" y="27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5" name="Freeform: Shape 272"/>
            <p:cNvSpPr/>
            <p:nvPr/>
          </p:nvSpPr>
          <p:spPr>
            <a:xfrm>
              <a:off x="2465599" y="2177077"/>
              <a:ext cx="483740" cy="5230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68" h="138" fill="none">
                  <a:moveTo>
                    <a:pt x="0" y="0"/>
                  </a:moveTo>
                  <a:lnTo>
                    <a:pt x="491" y="0"/>
                  </a:lnTo>
                  <a:lnTo>
                    <a:pt x="491" y="138"/>
                  </a:lnTo>
                  <a:lnTo>
                    <a:pt x="1268" y="13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6" name="Straight Connector 275"/>
            <p:cNvSpPr/>
            <p:nvPr/>
          </p:nvSpPr>
          <p:spPr>
            <a:xfrm>
              <a:off x="2000185" y="1907908"/>
              <a:ext cx="0" cy="14470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7" name="Straight Connector 276"/>
            <p:cNvSpPr/>
            <p:nvPr/>
          </p:nvSpPr>
          <p:spPr>
            <a:xfrm>
              <a:off x="2018129" y="1907908"/>
              <a:ext cx="0" cy="14470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8" name="Freeform: Shape 275"/>
            <p:cNvSpPr/>
            <p:nvPr/>
          </p:nvSpPr>
          <p:spPr>
            <a:xfrm>
              <a:off x="2025765" y="2113317"/>
              <a:ext cx="190137" cy="101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99" h="267" fill="none">
                  <a:moveTo>
                    <a:pt x="0" y="267"/>
                  </a:moveTo>
                  <a:lnTo>
                    <a:pt x="0" y="0"/>
                  </a:lnTo>
                  <a:lnTo>
                    <a:pt x="499" y="0"/>
                  </a:lnTo>
                  <a:lnTo>
                    <a:pt x="499" y="26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9" name="Freeform: Shape 276"/>
            <p:cNvSpPr/>
            <p:nvPr/>
          </p:nvSpPr>
          <p:spPr>
            <a:xfrm>
              <a:off x="2055546" y="2140043"/>
              <a:ext cx="103086" cy="263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1" h="70">
                  <a:moveTo>
                    <a:pt x="135" y="70"/>
                  </a:moveTo>
                  <a:lnTo>
                    <a:pt x="0" y="70"/>
                  </a:lnTo>
                  <a:lnTo>
                    <a:pt x="0" y="0"/>
                  </a:lnTo>
                  <a:lnTo>
                    <a:pt x="271" y="0"/>
                  </a:lnTo>
                  <a:lnTo>
                    <a:pt x="271" y="7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0" name="Freeform: Shape 277"/>
            <p:cNvSpPr/>
            <p:nvPr/>
          </p:nvSpPr>
          <p:spPr>
            <a:xfrm>
              <a:off x="2300280" y="2078572"/>
              <a:ext cx="146611" cy="2405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85" h="64">
                  <a:moveTo>
                    <a:pt x="192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385" y="0"/>
                  </a:lnTo>
                  <a:lnTo>
                    <a:pt x="385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1" name="Freeform: Shape 278"/>
            <p:cNvSpPr/>
            <p:nvPr/>
          </p:nvSpPr>
          <p:spPr>
            <a:xfrm>
              <a:off x="2519433" y="2066355"/>
              <a:ext cx="88960" cy="2405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4" h="64">
                  <a:moveTo>
                    <a:pt x="117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234" y="0"/>
                  </a:lnTo>
                  <a:lnTo>
                    <a:pt x="234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2" name="Freeform: Shape 279"/>
            <p:cNvSpPr/>
            <p:nvPr/>
          </p:nvSpPr>
          <p:spPr>
            <a:xfrm>
              <a:off x="2746986" y="2060246"/>
              <a:ext cx="82469" cy="5536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7" h="146">
                  <a:moveTo>
                    <a:pt x="109" y="146"/>
                  </a:moveTo>
                  <a:lnTo>
                    <a:pt x="0" y="146"/>
                  </a:lnTo>
                  <a:lnTo>
                    <a:pt x="0" y="0"/>
                  </a:lnTo>
                  <a:lnTo>
                    <a:pt x="217" y="0"/>
                  </a:lnTo>
                  <a:lnTo>
                    <a:pt x="217" y="14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3" name="Freeform: Shape 280"/>
            <p:cNvSpPr/>
            <p:nvPr/>
          </p:nvSpPr>
          <p:spPr>
            <a:xfrm>
              <a:off x="2763022" y="2147297"/>
              <a:ext cx="31308" cy="5345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3" h="141">
                  <a:moveTo>
                    <a:pt x="42" y="141"/>
                  </a:moveTo>
                  <a:lnTo>
                    <a:pt x="0" y="141"/>
                  </a:lnTo>
                  <a:lnTo>
                    <a:pt x="0" y="0"/>
                  </a:lnTo>
                  <a:lnTo>
                    <a:pt x="83" y="0"/>
                  </a:lnTo>
                  <a:lnTo>
                    <a:pt x="83" y="141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4" name="Freeform: Shape 281"/>
            <p:cNvSpPr/>
            <p:nvPr/>
          </p:nvSpPr>
          <p:spPr>
            <a:xfrm>
              <a:off x="2415965" y="1897981"/>
              <a:ext cx="60324" cy="1985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9" h="53">
                  <a:moveTo>
                    <a:pt x="80" y="53"/>
                  </a:moveTo>
                  <a:lnTo>
                    <a:pt x="0" y="53"/>
                  </a:lnTo>
                  <a:lnTo>
                    <a:pt x="0" y="0"/>
                  </a:lnTo>
                  <a:lnTo>
                    <a:pt x="159" y="0"/>
                  </a:lnTo>
                  <a:lnTo>
                    <a:pt x="159" y="5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5" name="Freeform: Shape 282"/>
            <p:cNvSpPr/>
            <p:nvPr/>
          </p:nvSpPr>
          <p:spPr>
            <a:xfrm>
              <a:off x="2396876" y="1879655"/>
              <a:ext cx="137066" cy="16035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0" h="421" fill="none">
                  <a:moveTo>
                    <a:pt x="0" y="421"/>
                  </a:moveTo>
                  <a:lnTo>
                    <a:pt x="0" y="0"/>
                  </a:lnTo>
                  <a:lnTo>
                    <a:pt x="360" y="0"/>
                  </a:lnTo>
                  <a:lnTo>
                    <a:pt x="360" y="42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6" name="Freeform: Shape 283"/>
            <p:cNvSpPr/>
            <p:nvPr/>
          </p:nvSpPr>
          <p:spPr>
            <a:xfrm>
              <a:off x="1424430" y="1971287"/>
              <a:ext cx="42380" cy="6147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" h="162">
                  <a:moveTo>
                    <a:pt x="56" y="162"/>
                  </a:moveTo>
                  <a:lnTo>
                    <a:pt x="0" y="162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16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7" name="Freeform: Shape 284"/>
            <p:cNvSpPr/>
            <p:nvPr/>
          </p:nvSpPr>
          <p:spPr>
            <a:xfrm>
              <a:off x="1396177" y="2175168"/>
              <a:ext cx="74069" cy="2443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95" h="65">
                  <a:moveTo>
                    <a:pt x="98" y="65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195" y="0"/>
                  </a:lnTo>
                  <a:lnTo>
                    <a:pt x="195" y="6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8" name="Freeform: Shape 285"/>
            <p:cNvSpPr/>
            <p:nvPr/>
          </p:nvSpPr>
          <p:spPr>
            <a:xfrm>
              <a:off x="3682016" y="2012521"/>
              <a:ext cx="34362" cy="6299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1" h="166">
                  <a:moveTo>
                    <a:pt x="46" y="166"/>
                  </a:moveTo>
                  <a:lnTo>
                    <a:pt x="0" y="166"/>
                  </a:lnTo>
                  <a:lnTo>
                    <a:pt x="0" y="0"/>
                  </a:lnTo>
                  <a:lnTo>
                    <a:pt x="91" y="0"/>
                  </a:lnTo>
                  <a:lnTo>
                    <a:pt x="91" y="16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9" name="Freeform: Shape 286"/>
            <p:cNvSpPr/>
            <p:nvPr/>
          </p:nvSpPr>
          <p:spPr>
            <a:xfrm>
              <a:off x="3733942" y="2120189"/>
              <a:ext cx="59561" cy="2252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7" h="60">
                  <a:moveTo>
                    <a:pt x="79" y="60"/>
                  </a:moveTo>
                  <a:lnTo>
                    <a:pt x="0" y="60"/>
                  </a:lnTo>
                  <a:lnTo>
                    <a:pt x="0" y="0"/>
                  </a:lnTo>
                  <a:lnTo>
                    <a:pt x="157" y="0"/>
                  </a:lnTo>
                  <a:lnTo>
                    <a:pt x="157" y="6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0" name="Freeform: Shape 287"/>
            <p:cNvSpPr/>
            <p:nvPr/>
          </p:nvSpPr>
          <p:spPr>
            <a:xfrm>
              <a:off x="3845809" y="2051083"/>
              <a:ext cx="160356" cy="500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1" h="132">
                  <a:moveTo>
                    <a:pt x="211" y="132"/>
                  </a:moveTo>
                  <a:lnTo>
                    <a:pt x="0" y="132"/>
                  </a:lnTo>
                  <a:lnTo>
                    <a:pt x="0" y="0"/>
                  </a:lnTo>
                  <a:lnTo>
                    <a:pt x="421" y="0"/>
                  </a:lnTo>
                  <a:lnTo>
                    <a:pt x="421" y="13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1" name="Straight Connector 290"/>
            <p:cNvSpPr/>
            <p:nvPr/>
          </p:nvSpPr>
          <p:spPr>
            <a:xfrm>
              <a:off x="2187267" y="1657447"/>
              <a:ext cx="500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2" name="Straight Connector 291"/>
            <p:cNvSpPr/>
            <p:nvPr/>
          </p:nvSpPr>
          <p:spPr>
            <a:xfrm>
              <a:off x="2187267" y="1683409"/>
              <a:ext cx="500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3" name="Straight Connector 292"/>
            <p:cNvSpPr/>
            <p:nvPr/>
          </p:nvSpPr>
          <p:spPr>
            <a:xfrm>
              <a:off x="2187267" y="1709754"/>
              <a:ext cx="500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4" name="Straight Connector 293"/>
            <p:cNvSpPr/>
            <p:nvPr/>
          </p:nvSpPr>
          <p:spPr>
            <a:xfrm>
              <a:off x="2202158" y="1608958"/>
              <a:ext cx="0" cy="2863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5" name="Straight Connector 294"/>
            <p:cNvSpPr/>
            <p:nvPr/>
          </p:nvSpPr>
          <p:spPr>
            <a:xfrm>
              <a:off x="2591976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6" name="Straight Connector 295"/>
            <p:cNvSpPr/>
            <p:nvPr/>
          </p:nvSpPr>
          <p:spPr>
            <a:xfrm>
              <a:off x="2614120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7" name="Straight Connector 296"/>
            <p:cNvSpPr/>
            <p:nvPr/>
          </p:nvSpPr>
          <p:spPr>
            <a:xfrm>
              <a:off x="2636264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8" name="Straight Connector 297"/>
            <p:cNvSpPr/>
            <p:nvPr/>
          </p:nvSpPr>
          <p:spPr>
            <a:xfrm>
              <a:off x="2658409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9" name="Straight Connector 298"/>
            <p:cNvSpPr/>
            <p:nvPr/>
          </p:nvSpPr>
          <p:spPr>
            <a:xfrm>
              <a:off x="2680553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0" name="Straight Connector 299"/>
            <p:cNvSpPr/>
            <p:nvPr/>
          </p:nvSpPr>
          <p:spPr>
            <a:xfrm>
              <a:off x="2702699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1" name="Straight Connector 300"/>
            <p:cNvSpPr/>
            <p:nvPr/>
          </p:nvSpPr>
          <p:spPr>
            <a:xfrm>
              <a:off x="2725224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2" name="Straight Connector 301"/>
            <p:cNvSpPr/>
            <p:nvPr/>
          </p:nvSpPr>
          <p:spPr>
            <a:xfrm>
              <a:off x="2746986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3" name="Straight Connector 302"/>
            <p:cNvSpPr/>
            <p:nvPr/>
          </p:nvSpPr>
          <p:spPr>
            <a:xfrm>
              <a:off x="3479661" y="1681882"/>
              <a:ext cx="0" cy="48870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4" name="Straight Connector 303"/>
            <p:cNvSpPr/>
            <p:nvPr/>
          </p:nvSpPr>
          <p:spPr>
            <a:xfrm>
              <a:off x="3644981" y="1681882"/>
              <a:ext cx="0" cy="48870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5" name="Freeform: Shape 302"/>
            <p:cNvSpPr/>
            <p:nvPr/>
          </p:nvSpPr>
          <p:spPr>
            <a:xfrm>
              <a:off x="2571358" y="1523435"/>
              <a:ext cx="193573" cy="53032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08" h="1390" fill="none">
                  <a:moveTo>
                    <a:pt x="0" y="1390"/>
                  </a:moveTo>
                  <a:lnTo>
                    <a:pt x="0" y="0"/>
                  </a:lnTo>
                  <a:lnTo>
                    <a:pt x="508" y="0"/>
                  </a:lnTo>
                  <a:lnTo>
                    <a:pt x="508" y="138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6" name="Straight Connector 305"/>
            <p:cNvSpPr/>
            <p:nvPr/>
          </p:nvSpPr>
          <p:spPr>
            <a:xfrm>
              <a:off x="2559141" y="1494417"/>
              <a:ext cx="22106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7" name="Straight Connector 306"/>
            <p:cNvSpPr/>
            <p:nvPr/>
          </p:nvSpPr>
          <p:spPr>
            <a:xfrm>
              <a:off x="2816856" y="1931961"/>
              <a:ext cx="0" cy="5459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8" name="Straight Connector 307"/>
            <p:cNvSpPr/>
            <p:nvPr/>
          </p:nvSpPr>
          <p:spPr>
            <a:xfrm>
              <a:off x="2785930" y="1991904"/>
              <a:ext cx="6185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9" name="Straight Connector 308"/>
            <p:cNvSpPr/>
            <p:nvPr/>
          </p:nvSpPr>
          <p:spPr>
            <a:xfrm>
              <a:off x="3149786" y="2004885"/>
              <a:ext cx="10843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0" name="Straight Connector 309"/>
            <p:cNvSpPr/>
            <p:nvPr/>
          </p:nvSpPr>
          <p:spPr>
            <a:xfrm>
              <a:off x="3242945" y="1971287"/>
              <a:ext cx="0" cy="3092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1" name="Straight Connector 310"/>
            <p:cNvSpPr/>
            <p:nvPr/>
          </p:nvSpPr>
          <p:spPr>
            <a:xfrm>
              <a:off x="3350995" y="1997249"/>
              <a:ext cx="11606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2" name="Straight Connector 311"/>
            <p:cNvSpPr/>
            <p:nvPr/>
          </p:nvSpPr>
          <p:spPr>
            <a:xfrm>
              <a:off x="3410556" y="1935779"/>
              <a:ext cx="0" cy="4505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3" name="Straight Connector 312"/>
            <p:cNvSpPr/>
            <p:nvPr/>
          </p:nvSpPr>
          <p:spPr>
            <a:xfrm>
              <a:off x="3396047" y="2181659"/>
              <a:ext cx="0" cy="8552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4" name="Straight Connector 313"/>
            <p:cNvSpPr/>
            <p:nvPr/>
          </p:nvSpPr>
          <p:spPr>
            <a:xfrm>
              <a:off x="3504860" y="2236256"/>
              <a:ext cx="18593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5" name="Straight Connector 314"/>
            <p:cNvSpPr/>
            <p:nvPr/>
          </p:nvSpPr>
          <p:spPr>
            <a:xfrm>
              <a:off x="3496461" y="2143097"/>
              <a:ext cx="1317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6" name="Straight Connector 315"/>
            <p:cNvSpPr/>
            <p:nvPr/>
          </p:nvSpPr>
          <p:spPr>
            <a:xfrm>
              <a:off x="3496461" y="1983504"/>
              <a:ext cx="1317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7" name="Straight Connector 316"/>
            <p:cNvSpPr/>
            <p:nvPr/>
          </p:nvSpPr>
          <p:spPr>
            <a:xfrm>
              <a:off x="3496461" y="1827730"/>
              <a:ext cx="1317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8" name="Straight Connector 317"/>
            <p:cNvSpPr/>
            <p:nvPr/>
          </p:nvSpPr>
          <p:spPr>
            <a:xfrm>
              <a:off x="3516697" y="2004885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9" name="Straight Connector 318"/>
            <p:cNvSpPr/>
            <p:nvPr/>
          </p:nvSpPr>
          <p:spPr>
            <a:xfrm>
              <a:off x="3547241" y="2004885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0" name="Straight Connector 319"/>
            <p:cNvSpPr/>
            <p:nvPr/>
          </p:nvSpPr>
          <p:spPr>
            <a:xfrm>
              <a:off x="3577785" y="2004885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1" name="Straight Connector 320"/>
            <p:cNvSpPr/>
            <p:nvPr/>
          </p:nvSpPr>
          <p:spPr>
            <a:xfrm>
              <a:off x="3607946" y="2004885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2" name="Straight Connector 321"/>
            <p:cNvSpPr/>
            <p:nvPr/>
          </p:nvSpPr>
          <p:spPr>
            <a:xfrm>
              <a:off x="3516697" y="1847202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3" name="Straight Connector 322"/>
            <p:cNvSpPr/>
            <p:nvPr/>
          </p:nvSpPr>
          <p:spPr>
            <a:xfrm>
              <a:off x="3547241" y="1847202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4" name="Straight Connector 323"/>
            <p:cNvSpPr/>
            <p:nvPr/>
          </p:nvSpPr>
          <p:spPr>
            <a:xfrm>
              <a:off x="3577785" y="1847202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5" name="Straight Connector 324"/>
            <p:cNvSpPr/>
            <p:nvPr/>
          </p:nvSpPr>
          <p:spPr>
            <a:xfrm>
              <a:off x="3607946" y="1847202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6" name="Straight Connector 325"/>
            <p:cNvSpPr/>
            <p:nvPr/>
          </p:nvSpPr>
          <p:spPr>
            <a:xfrm>
              <a:off x="3516697" y="1693336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7" name="Straight Connector 326"/>
            <p:cNvSpPr/>
            <p:nvPr/>
          </p:nvSpPr>
          <p:spPr>
            <a:xfrm>
              <a:off x="3547241" y="1693336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8" name="Straight Connector 327"/>
            <p:cNvSpPr/>
            <p:nvPr/>
          </p:nvSpPr>
          <p:spPr>
            <a:xfrm>
              <a:off x="3577785" y="1693336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9" name="Straight Connector 328"/>
            <p:cNvSpPr/>
            <p:nvPr/>
          </p:nvSpPr>
          <p:spPr>
            <a:xfrm>
              <a:off x="3607946" y="1693336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0" name="Freeform: Shape 327"/>
            <p:cNvSpPr/>
            <p:nvPr/>
          </p:nvSpPr>
          <p:spPr>
            <a:xfrm>
              <a:off x="3489970" y="1584905"/>
              <a:ext cx="144321" cy="8285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79" h="218">
                  <a:moveTo>
                    <a:pt x="0" y="218"/>
                  </a:moveTo>
                  <a:lnTo>
                    <a:pt x="379" y="218"/>
                  </a:lnTo>
                  <a:lnTo>
                    <a:pt x="309" y="0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1" name="Freeform: Shape 328"/>
            <p:cNvSpPr/>
            <p:nvPr/>
          </p:nvSpPr>
          <p:spPr>
            <a:xfrm>
              <a:off x="2304861" y="2233584"/>
              <a:ext cx="1040406" cy="4199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26" h="111" fill="none">
                  <a:moveTo>
                    <a:pt x="0" y="90"/>
                  </a:moveTo>
                  <a:lnTo>
                    <a:pt x="190" y="0"/>
                  </a:lnTo>
                  <a:lnTo>
                    <a:pt x="782" y="0"/>
                  </a:lnTo>
                  <a:lnTo>
                    <a:pt x="782" y="111"/>
                  </a:lnTo>
                  <a:lnTo>
                    <a:pt x="2726" y="11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2" name="Freeform: Shape 329"/>
            <p:cNvSpPr/>
            <p:nvPr/>
          </p:nvSpPr>
          <p:spPr>
            <a:xfrm>
              <a:off x="2818001" y="2076664"/>
              <a:ext cx="439834" cy="11683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53" h="307" fill="none">
                  <a:moveTo>
                    <a:pt x="0" y="307"/>
                  </a:moveTo>
                  <a:lnTo>
                    <a:pt x="658" y="307"/>
                  </a:lnTo>
                  <a:lnTo>
                    <a:pt x="658" y="88"/>
                  </a:lnTo>
                  <a:lnTo>
                    <a:pt x="973" y="88"/>
                  </a:lnTo>
                  <a:lnTo>
                    <a:pt x="973" y="0"/>
                  </a:lnTo>
                  <a:lnTo>
                    <a:pt x="1153" y="0"/>
                  </a:lnTo>
                  <a:lnTo>
                    <a:pt x="1153" y="236"/>
                  </a:lnTo>
                  <a:lnTo>
                    <a:pt x="936" y="23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3" name="Freeform: Shape 330"/>
            <p:cNvSpPr/>
            <p:nvPr/>
          </p:nvSpPr>
          <p:spPr>
            <a:xfrm>
              <a:off x="3286089" y="2025502"/>
              <a:ext cx="59179" cy="4047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6" h="107" fill="none">
                  <a:moveTo>
                    <a:pt x="0" y="95"/>
                  </a:moveTo>
                  <a:lnTo>
                    <a:pt x="0" y="0"/>
                  </a:lnTo>
                  <a:lnTo>
                    <a:pt x="156" y="0"/>
                  </a:lnTo>
                  <a:lnTo>
                    <a:pt x="156" y="10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4" name="Freeform: Shape 331"/>
            <p:cNvSpPr/>
            <p:nvPr/>
          </p:nvSpPr>
          <p:spPr>
            <a:xfrm>
              <a:off x="3340686" y="2088118"/>
              <a:ext cx="101559" cy="416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7" h="110" fill="none">
                  <a:moveTo>
                    <a:pt x="267" y="0"/>
                  </a:moveTo>
                  <a:lnTo>
                    <a:pt x="0" y="0"/>
                  </a:lnTo>
                  <a:lnTo>
                    <a:pt x="0" y="110"/>
                  </a:lnTo>
                  <a:lnTo>
                    <a:pt x="267" y="11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5" name="Freeform: Shape 332"/>
            <p:cNvSpPr/>
            <p:nvPr/>
          </p:nvSpPr>
          <p:spPr>
            <a:xfrm>
              <a:off x="3753795" y="1663937"/>
              <a:ext cx="267260" cy="3913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1" h="1026">
                  <a:moveTo>
                    <a:pt x="0" y="1026"/>
                  </a:moveTo>
                  <a:lnTo>
                    <a:pt x="0" y="93"/>
                  </a:lnTo>
                  <a:cubicBezTo>
                    <a:pt x="0" y="93"/>
                    <a:pt x="-13" y="0"/>
                    <a:pt x="340" y="0"/>
                  </a:cubicBezTo>
                  <a:cubicBezTo>
                    <a:pt x="718" y="0"/>
                    <a:pt x="701" y="98"/>
                    <a:pt x="701" y="98"/>
                  </a:cubicBezTo>
                  <a:lnTo>
                    <a:pt x="701" y="1003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6" name="Straight Connector 335"/>
            <p:cNvSpPr/>
            <p:nvPr/>
          </p:nvSpPr>
          <p:spPr>
            <a:xfrm>
              <a:off x="3811064" y="2194640"/>
              <a:ext cx="855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7" name="Straight Connector 336"/>
            <p:cNvSpPr/>
            <p:nvPr/>
          </p:nvSpPr>
          <p:spPr>
            <a:xfrm>
              <a:off x="4035945" y="2167532"/>
              <a:ext cx="33178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8" name="Straight Connector 337"/>
            <p:cNvSpPr/>
            <p:nvPr/>
          </p:nvSpPr>
          <p:spPr>
            <a:xfrm>
              <a:off x="4386437" y="2143097"/>
              <a:ext cx="0" cy="11606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9" name="Freeform: Shape 336"/>
            <p:cNvSpPr/>
            <p:nvPr/>
          </p:nvSpPr>
          <p:spPr>
            <a:xfrm>
              <a:off x="4109633" y="2012521"/>
              <a:ext cx="442507" cy="18173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60" h="477" fill="none">
                  <a:moveTo>
                    <a:pt x="840" y="282"/>
                  </a:moveTo>
                  <a:lnTo>
                    <a:pt x="840" y="477"/>
                  </a:lnTo>
                  <a:lnTo>
                    <a:pt x="1160" y="477"/>
                  </a:lnTo>
                  <a:lnTo>
                    <a:pt x="1160" y="312"/>
                  </a:lnTo>
                  <a:lnTo>
                    <a:pt x="1020" y="312"/>
                  </a:lnTo>
                  <a:lnTo>
                    <a:pt x="1020" y="176"/>
                  </a:lnTo>
                  <a:lnTo>
                    <a:pt x="288" y="176"/>
                  </a:lnTo>
                  <a:lnTo>
                    <a:pt x="288" y="0"/>
                  </a:lnTo>
                  <a:lnTo>
                    <a:pt x="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0" name="Straight Connector 339"/>
            <p:cNvSpPr/>
            <p:nvPr/>
          </p:nvSpPr>
          <p:spPr>
            <a:xfrm>
              <a:off x="4306259" y="2036956"/>
              <a:ext cx="0" cy="4008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1" name="Straight Connector 340"/>
            <p:cNvSpPr/>
            <p:nvPr/>
          </p:nvSpPr>
          <p:spPr>
            <a:xfrm>
              <a:off x="3677052" y="1947615"/>
              <a:ext cx="0" cy="2787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2" name="Freeform: Shape 339"/>
            <p:cNvSpPr/>
            <p:nvPr/>
          </p:nvSpPr>
          <p:spPr>
            <a:xfrm>
              <a:off x="4048926" y="1718535"/>
              <a:ext cx="34744" cy="35812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" h="939">
                  <a:moveTo>
                    <a:pt x="46" y="939"/>
                  </a:moveTo>
                  <a:lnTo>
                    <a:pt x="0" y="939"/>
                  </a:lnTo>
                  <a:lnTo>
                    <a:pt x="0" y="0"/>
                  </a:lnTo>
                  <a:lnTo>
                    <a:pt x="92" y="0"/>
                  </a:lnTo>
                  <a:lnTo>
                    <a:pt x="92" y="93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3" name="Straight Connector 342"/>
            <p:cNvSpPr/>
            <p:nvPr/>
          </p:nvSpPr>
          <p:spPr>
            <a:xfrm>
              <a:off x="1571805" y="2359960"/>
              <a:ext cx="0" cy="76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4" name="Straight Connector 343"/>
            <p:cNvSpPr/>
            <p:nvPr/>
          </p:nvSpPr>
          <p:spPr>
            <a:xfrm>
              <a:off x="2744696" y="2373323"/>
              <a:ext cx="0" cy="6834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5" name="Freeform: Shape 342"/>
            <p:cNvSpPr/>
            <p:nvPr/>
          </p:nvSpPr>
          <p:spPr>
            <a:xfrm>
              <a:off x="667320" y="2189295"/>
              <a:ext cx="3895510" cy="11835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04" h="311">
                  <a:moveTo>
                    <a:pt x="10204" y="309"/>
                  </a:moveTo>
                  <a:lnTo>
                    <a:pt x="3216" y="309"/>
                  </a:lnTo>
                  <a:cubicBezTo>
                    <a:pt x="3216" y="309"/>
                    <a:pt x="0" y="336"/>
                    <a:pt x="0" y="129"/>
                  </a:cubicBezTo>
                  <a:cubicBezTo>
                    <a:pt x="0" y="-37"/>
                    <a:pt x="1652" y="4"/>
                    <a:pt x="1652" y="4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6" name="Freeform: Shape 343"/>
            <p:cNvSpPr/>
            <p:nvPr/>
          </p:nvSpPr>
          <p:spPr>
            <a:xfrm>
              <a:off x="848293" y="2215257"/>
              <a:ext cx="507413" cy="3283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30" h="87" fill="none">
                  <a:moveTo>
                    <a:pt x="0" y="87"/>
                  </a:moveTo>
                  <a:lnTo>
                    <a:pt x="248" y="0"/>
                  </a:lnTo>
                  <a:lnTo>
                    <a:pt x="133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7" name="Straight Connector 346"/>
            <p:cNvSpPr/>
            <p:nvPr/>
          </p:nvSpPr>
          <p:spPr>
            <a:xfrm>
              <a:off x="1028503" y="2339342"/>
              <a:ext cx="34285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8" name="Straight Connector 347"/>
            <p:cNvSpPr/>
            <p:nvPr/>
          </p:nvSpPr>
          <p:spPr>
            <a:xfrm>
              <a:off x="1158315" y="2387449"/>
              <a:ext cx="1099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9" name="Straight Connector 348"/>
            <p:cNvSpPr/>
            <p:nvPr/>
          </p:nvSpPr>
          <p:spPr>
            <a:xfrm>
              <a:off x="1654655" y="2338197"/>
              <a:ext cx="157454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0" name="Straight Connector 349"/>
            <p:cNvSpPr/>
            <p:nvPr/>
          </p:nvSpPr>
          <p:spPr>
            <a:xfrm>
              <a:off x="3315869" y="2353851"/>
              <a:ext cx="31307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1" name="Straight Connector 350"/>
            <p:cNvSpPr/>
            <p:nvPr/>
          </p:nvSpPr>
          <p:spPr>
            <a:xfrm>
              <a:off x="3481570" y="2396231"/>
              <a:ext cx="15844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2" name="Straight Connector 351"/>
            <p:cNvSpPr/>
            <p:nvPr/>
          </p:nvSpPr>
          <p:spPr>
            <a:xfrm>
              <a:off x="3950803" y="2339342"/>
              <a:ext cx="58568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3" name="Straight Connector 352"/>
            <p:cNvSpPr/>
            <p:nvPr/>
          </p:nvSpPr>
          <p:spPr>
            <a:xfrm>
              <a:off x="2187267" y="2236256"/>
              <a:ext cx="5307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4" name="Freeform: Shape 351"/>
            <p:cNvSpPr/>
            <p:nvPr/>
          </p:nvSpPr>
          <p:spPr>
            <a:xfrm>
              <a:off x="2866872" y="1561997"/>
              <a:ext cx="281769" cy="623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39" h="1634" fill="none">
                  <a:moveTo>
                    <a:pt x="0" y="1634"/>
                  </a:moveTo>
                  <a:lnTo>
                    <a:pt x="0" y="0"/>
                  </a:lnTo>
                  <a:lnTo>
                    <a:pt x="739" y="0"/>
                  </a:lnTo>
                  <a:lnTo>
                    <a:pt x="739" y="136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5" name="Straight Connector 354"/>
            <p:cNvSpPr/>
            <p:nvPr/>
          </p:nvSpPr>
          <p:spPr>
            <a:xfrm>
              <a:off x="2866872" y="1653629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6" name="Straight Connector 355"/>
            <p:cNvSpPr/>
            <p:nvPr/>
          </p:nvSpPr>
          <p:spPr>
            <a:xfrm>
              <a:off x="2866872" y="1696009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7" name="Straight Connector 356"/>
            <p:cNvSpPr/>
            <p:nvPr/>
          </p:nvSpPr>
          <p:spPr>
            <a:xfrm>
              <a:off x="2866872" y="1728079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8" name="Straight Connector 357"/>
            <p:cNvSpPr/>
            <p:nvPr/>
          </p:nvSpPr>
          <p:spPr>
            <a:xfrm>
              <a:off x="2866872" y="176015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9" name="Straight Connector 358"/>
            <p:cNvSpPr/>
            <p:nvPr/>
          </p:nvSpPr>
          <p:spPr>
            <a:xfrm>
              <a:off x="2866872" y="179184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0" name="Straight Connector 359"/>
            <p:cNvSpPr/>
            <p:nvPr/>
          </p:nvSpPr>
          <p:spPr>
            <a:xfrm>
              <a:off x="2866872" y="1823530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1" name="Straight Connector 360"/>
            <p:cNvSpPr/>
            <p:nvPr/>
          </p:nvSpPr>
          <p:spPr>
            <a:xfrm>
              <a:off x="2866872" y="185560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2" name="Straight Connector 361"/>
            <p:cNvSpPr/>
            <p:nvPr/>
          </p:nvSpPr>
          <p:spPr>
            <a:xfrm>
              <a:off x="2866872" y="188767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3" name="Straight Connector 362"/>
            <p:cNvSpPr/>
            <p:nvPr/>
          </p:nvSpPr>
          <p:spPr>
            <a:xfrm>
              <a:off x="2866872" y="191936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4" name="Straight Connector 363"/>
            <p:cNvSpPr/>
            <p:nvPr/>
          </p:nvSpPr>
          <p:spPr>
            <a:xfrm>
              <a:off x="2866872" y="1951433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5" name="Straight Connector 364"/>
            <p:cNvSpPr/>
            <p:nvPr/>
          </p:nvSpPr>
          <p:spPr>
            <a:xfrm>
              <a:off x="2866872" y="1983123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6" name="Straight Connector 365"/>
            <p:cNvSpPr/>
            <p:nvPr/>
          </p:nvSpPr>
          <p:spPr>
            <a:xfrm>
              <a:off x="2866872" y="2015194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7" name="Straight Connector 366"/>
            <p:cNvSpPr/>
            <p:nvPr/>
          </p:nvSpPr>
          <p:spPr>
            <a:xfrm>
              <a:off x="2866872" y="2047265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8" name="Straight Connector 367"/>
            <p:cNvSpPr/>
            <p:nvPr/>
          </p:nvSpPr>
          <p:spPr>
            <a:xfrm>
              <a:off x="2866872" y="2079336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9" name="Straight Connector 368"/>
            <p:cNvSpPr/>
            <p:nvPr/>
          </p:nvSpPr>
          <p:spPr>
            <a:xfrm>
              <a:off x="2866872" y="2107208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0" name="Straight Connector 369"/>
            <p:cNvSpPr/>
            <p:nvPr/>
          </p:nvSpPr>
          <p:spPr>
            <a:xfrm>
              <a:off x="2866872" y="2139279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1" name="Straight Connector 370"/>
            <p:cNvSpPr/>
            <p:nvPr/>
          </p:nvSpPr>
          <p:spPr>
            <a:xfrm>
              <a:off x="2866872" y="2171350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2" name="Freeform: Shape 369"/>
            <p:cNvSpPr/>
            <p:nvPr/>
          </p:nvSpPr>
          <p:spPr>
            <a:xfrm>
              <a:off x="2916124" y="1522290"/>
              <a:ext cx="81323" cy="8132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4" h="214">
                  <a:moveTo>
                    <a:pt x="214" y="107"/>
                  </a:moveTo>
                  <a:cubicBezTo>
                    <a:pt x="214" y="126"/>
                    <a:pt x="209" y="143"/>
                    <a:pt x="199" y="160"/>
                  </a:cubicBezTo>
                  <a:cubicBezTo>
                    <a:pt x="189" y="177"/>
                    <a:pt x="177" y="189"/>
                    <a:pt x="160" y="199"/>
                  </a:cubicBezTo>
                  <a:cubicBezTo>
                    <a:pt x="143" y="208"/>
                    <a:pt x="126" y="214"/>
                    <a:pt x="107" y="214"/>
                  </a:cubicBezTo>
                  <a:cubicBezTo>
                    <a:pt x="87" y="214"/>
                    <a:pt x="70" y="208"/>
                    <a:pt x="53" y="199"/>
                  </a:cubicBezTo>
                  <a:cubicBezTo>
                    <a:pt x="36" y="189"/>
                    <a:pt x="24" y="177"/>
                    <a:pt x="14" y="160"/>
                  </a:cubicBezTo>
                  <a:cubicBezTo>
                    <a:pt x="4" y="143"/>
                    <a:pt x="0" y="126"/>
                    <a:pt x="0" y="107"/>
                  </a:cubicBezTo>
                  <a:cubicBezTo>
                    <a:pt x="0" y="87"/>
                    <a:pt x="4" y="70"/>
                    <a:pt x="14" y="53"/>
                  </a:cubicBezTo>
                  <a:cubicBezTo>
                    <a:pt x="24" y="36"/>
                    <a:pt x="36" y="24"/>
                    <a:pt x="53" y="14"/>
                  </a:cubicBezTo>
                  <a:cubicBezTo>
                    <a:pt x="70" y="4"/>
                    <a:pt x="87" y="0"/>
                    <a:pt x="107" y="0"/>
                  </a:cubicBezTo>
                  <a:cubicBezTo>
                    <a:pt x="126" y="0"/>
                    <a:pt x="143" y="4"/>
                    <a:pt x="160" y="14"/>
                  </a:cubicBezTo>
                  <a:cubicBezTo>
                    <a:pt x="177" y="24"/>
                    <a:pt x="189" y="36"/>
                    <a:pt x="199" y="53"/>
                  </a:cubicBezTo>
                  <a:cubicBezTo>
                    <a:pt x="209" y="70"/>
                    <a:pt x="214" y="87"/>
                    <a:pt x="214" y="107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3" name="Straight Connector 372"/>
            <p:cNvSpPr/>
            <p:nvPr/>
          </p:nvSpPr>
          <p:spPr>
            <a:xfrm>
              <a:off x="3018446" y="1589868"/>
              <a:ext cx="7750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4" name="Straight Connector 373"/>
            <p:cNvSpPr/>
            <p:nvPr/>
          </p:nvSpPr>
          <p:spPr>
            <a:xfrm>
              <a:off x="1532861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5" name="Straight Connector 374"/>
            <p:cNvSpPr/>
            <p:nvPr/>
          </p:nvSpPr>
          <p:spPr>
            <a:xfrm>
              <a:off x="1532861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6" name="Straight Connector 375"/>
            <p:cNvSpPr/>
            <p:nvPr/>
          </p:nvSpPr>
          <p:spPr>
            <a:xfrm>
              <a:off x="1532861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7" name="Straight Connector 376"/>
            <p:cNvSpPr/>
            <p:nvPr/>
          </p:nvSpPr>
          <p:spPr>
            <a:xfrm>
              <a:off x="1532861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8" name="Straight Connector 377"/>
            <p:cNvSpPr/>
            <p:nvPr/>
          </p:nvSpPr>
          <p:spPr>
            <a:xfrm>
              <a:off x="1532861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9" name="Straight Connector 378"/>
            <p:cNvSpPr/>
            <p:nvPr/>
          </p:nvSpPr>
          <p:spPr>
            <a:xfrm>
              <a:off x="1532861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0" name="Straight Connector 379"/>
            <p:cNvSpPr/>
            <p:nvPr/>
          </p:nvSpPr>
          <p:spPr>
            <a:xfrm>
              <a:off x="1532861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1" name="Straight Connector 380"/>
            <p:cNvSpPr/>
            <p:nvPr/>
          </p:nvSpPr>
          <p:spPr>
            <a:xfrm>
              <a:off x="1532861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2" name="Straight Connector 381"/>
            <p:cNvSpPr/>
            <p:nvPr/>
          </p:nvSpPr>
          <p:spPr>
            <a:xfrm>
              <a:off x="1532861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3" name="Straight Connector 382"/>
            <p:cNvSpPr/>
            <p:nvPr/>
          </p:nvSpPr>
          <p:spPr>
            <a:xfrm>
              <a:off x="1532861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4" name="Straight Connector 383"/>
            <p:cNvSpPr/>
            <p:nvPr/>
          </p:nvSpPr>
          <p:spPr>
            <a:xfrm>
              <a:off x="1532861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5" name="Straight Connector 384"/>
            <p:cNvSpPr/>
            <p:nvPr/>
          </p:nvSpPr>
          <p:spPr>
            <a:xfrm>
              <a:off x="1532861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6" name="Straight Connector 385"/>
            <p:cNvSpPr/>
            <p:nvPr/>
          </p:nvSpPr>
          <p:spPr>
            <a:xfrm>
              <a:off x="1532861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7" name="Straight Connector 386"/>
            <p:cNvSpPr/>
            <p:nvPr/>
          </p:nvSpPr>
          <p:spPr>
            <a:xfrm>
              <a:off x="1532861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8" name="Straight Connector 387"/>
            <p:cNvSpPr/>
            <p:nvPr/>
          </p:nvSpPr>
          <p:spPr>
            <a:xfrm>
              <a:off x="1532861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9" name="Straight Connector 388"/>
            <p:cNvSpPr/>
            <p:nvPr/>
          </p:nvSpPr>
          <p:spPr>
            <a:xfrm>
              <a:off x="1532861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0" name="Straight Connector 389"/>
            <p:cNvSpPr/>
            <p:nvPr/>
          </p:nvSpPr>
          <p:spPr>
            <a:xfrm>
              <a:off x="1532861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1" name="Straight Connector 390"/>
            <p:cNvSpPr/>
            <p:nvPr/>
          </p:nvSpPr>
          <p:spPr>
            <a:xfrm>
              <a:off x="1563023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2" name="Straight Connector 391"/>
            <p:cNvSpPr/>
            <p:nvPr/>
          </p:nvSpPr>
          <p:spPr>
            <a:xfrm>
              <a:off x="1563023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3" name="Straight Connector 392"/>
            <p:cNvSpPr/>
            <p:nvPr/>
          </p:nvSpPr>
          <p:spPr>
            <a:xfrm>
              <a:off x="1563023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4" name="Straight Connector 393"/>
            <p:cNvSpPr/>
            <p:nvPr/>
          </p:nvSpPr>
          <p:spPr>
            <a:xfrm>
              <a:off x="1563023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5" name="Straight Connector 394"/>
            <p:cNvSpPr/>
            <p:nvPr/>
          </p:nvSpPr>
          <p:spPr>
            <a:xfrm>
              <a:off x="1563023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6" name="Straight Connector 395"/>
            <p:cNvSpPr/>
            <p:nvPr/>
          </p:nvSpPr>
          <p:spPr>
            <a:xfrm>
              <a:off x="1563023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7" name="Straight Connector 396"/>
            <p:cNvSpPr/>
            <p:nvPr/>
          </p:nvSpPr>
          <p:spPr>
            <a:xfrm>
              <a:off x="1563023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8" name="Straight Connector 397"/>
            <p:cNvSpPr/>
            <p:nvPr/>
          </p:nvSpPr>
          <p:spPr>
            <a:xfrm>
              <a:off x="1563023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9" name="Straight Connector 398"/>
            <p:cNvSpPr/>
            <p:nvPr/>
          </p:nvSpPr>
          <p:spPr>
            <a:xfrm>
              <a:off x="1563023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0" name="Straight Connector 399"/>
            <p:cNvSpPr/>
            <p:nvPr/>
          </p:nvSpPr>
          <p:spPr>
            <a:xfrm>
              <a:off x="1563023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1" name="Straight Connector 400"/>
            <p:cNvSpPr/>
            <p:nvPr/>
          </p:nvSpPr>
          <p:spPr>
            <a:xfrm>
              <a:off x="1563023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2" name="Straight Connector 401"/>
            <p:cNvSpPr/>
            <p:nvPr/>
          </p:nvSpPr>
          <p:spPr>
            <a:xfrm>
              <a:off x="1563023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3" name="Straight Connector 402"/>
            <p:cNvSpPr/>
            <p:nvPr/>
          </p:nvSpPr>
          <p:spPr>
            <a:xfrm>
              <a:off x="1563023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4" name="Straight Connector 403"/>
            <p:cNvSpPr/>
            <p:nvPr/>
          </p:nvSpPr>
          <p:spPr>
            <a:xfrm>
              <a:off x="1563023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5" name="Straight Connector 404"/>
            <p:cNvSpPr/>
            <p:nvPr/>
          </p:nvSpPr>
          <p:spPr>
            <a:xfrm>
              <a:off x="1563023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6" name="Straight Connector 405"/>
            <p:cNvSpPr/>
            <p:nvPr/>
          </p:nvSpPr>
          <p:spPr>
            <a:xfrm>
              <a:off x="1563023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7" name="Straight Connector 406"/>
            <p:cNvSpPr/>
            <p:nvPr/>
          </p:nvSpPr>
          <p:spPr>
            <a:xfrm>
              <a:off x="1563023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8" name="Straight Connector 407"/>
            <p:cNvSpPr/>
            <p:nvPr/>
          </p:nvSpPr>
          <p:spPr>
            <a:xfrm>
              <a:off x="1593567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9" name="Straight Connector 408"/>
            <p:cNvSpPr/>
            <p:nvPr/>
          </p:nvSpPr>
          <p:spPr>
            <a:xfrm>
              <a:off x="1593567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0" name="Straight Connector 409"/>
            <p:cNvSpPr/>
            <p:nvPr/>
          </p:nvSpPr>
          <p:spPr>
            <a:xfrm>
              <a:off x="1593567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1" name="Straight Connector 410"/>
            <p:cNvSpPr/>
            <p:nvPr/>
          </p:nvSpPr>
          <p:spPr>
            <a:xfrm>
              <a:off x="1593567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2" name="Straight Connector 411"/>
            <p:cNvSpPr/>
            <p:nvPr/>
          </p:nvSpPr>
          <p:spPr>
            <a:xfrm>
              <a:off x="1593567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3" name="Straight Connector 412"/>
            <p:cNvSpPr/>
            <p:nvPr/>
          </p:nvSpPr>
          <p:spPr>
            <a:xfrm>
              <a:off x="1593567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4" name="Straight Connector 413"/>
            <p:cNvSpPr/>
            <p:nvPr/>
          </p:nvSpPr>
          <p:spPr>
            <a:xfrm>
              <a:off x="1593567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5" name="Straight Connector 414"/>
            <p:cNvSpPr/>
            <p:nvPr/>
          </p:nvSpPr>
          <p:spPr>
            <a:xfrm>
              <a:off x="1593567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6" name="Straight Connector 415"/>
            <p:cNvSpPr/>
            <p:nvPr/>
          </p:nvSpPr>
          <p:spPr>
            <a:xfrm>
              <a:off x="1593567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7" name="Straight Connector 416"/>
            <p:cNvSpPr/>
            <p:nvPr/>
          </p:nvSpPr>
          <p:spPr>
            <a:xfrm>
              <a:off x="1593567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8" name="Straight Connector 417"/>
            <p:cNvSpPr/>
            <p:nvPr/>
          </p:nvSpPr>
          <p:spPr>
            <a:xfrm>
              <a:off x="1593567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9" name="Straight Connector 418"/>
            <p:cNvSpPr/>
            <p:nvPr/>
          </p:nvSpPr>
          <p:spPr>
            <a:xfrm>
              <a:off x="1593567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0" name="Straight Connector 419"/>
            <p:cNvSpPr/>
            <p:nvPr/>
          </p:nvSpPr>
          <p:spPr>
            <a:xfrm>
              <a:off x="1593567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1" name="Straight Connector 420"/>
            <p:cNvSpPr/>
            <p:nvPr/>
          </p:nvSpPr>
          <p:spPr>
            <a:xfrm>
              <a:off x="1593567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2" name="Straight Connector 421"/>
            <p:cNvSpPr/>
            <p:nvPr/>
          </p:nvSpPr>
          <p:spPr>
            <a:xfrm>
              <a:off x="1593567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3" name="Straight Connector 422"/>
            <p:cNvSpPr/>
            <p:nvPr/>
          </p:nvSpPr>
          <p:spPr>
            <a:xfrm>
              <a:off x="1593567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4" name="Straight Connector 423"/>
            <p:cNvSpPr/>
            <p:nvPr/>
          </p:nvSpPr>
          <p:spPr>
            <a:xfrm>
              <a:off x="1593567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5" name="Straight Connector 424"/>
            <p:cNvSpPr/>
            <p:nvPr/>
          </p:nvSpPr>
          <p:spPr>
            <a:xfrm>
              <a:off x="1624111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6" name="Straight Connector 425"/>
            <p:cNvSpPr/>
            <p:nvPr/>
          </p:nvSpPr>
          <p:spPr>
            <a:xfrm>
              <a:off x="1624111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7" name="Straight Connector 426"/>
            <p:cNvSpPr/>
            <p:nvPr/>
          </p:nvSpPr>
          <p:spPr>
            <a:xfrm>
              <a:off x="1624111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8" name="Straight Connector 427"/>
            <p:cNvSpPr/>
            <p:nvPr/>
          </p:nvSpPr>
          <p:spPr>
            <a:xfrm>
              <a:off x="1624111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9" name="Straight Connector 428"/>
            <p:cNvSpPr/>
            <p:nvPr/>
          </p:nvSpPr>
          <p:spPr>
            <a:xfrm>
              <a:off x="1624111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0" name="Straight Connector 429"/>
            <p:cNvSpPr/>
            <p:nvPr/>
          </p:nvSpPr>
          <p:spPr>
            <a:xfrm>
              <a:off x="1624111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1" name="Straight Connector 430"/>
            <p:cNvSpPr/>
            <p:nvPr/>
          </p:nvSpPr>
          <p:spPr>
            <a:xfrm>
              <a:off x="1624111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2" name="Straight Connector 431"/>
            <p:cNvSpPr/>
            <p:nvPr/>
          </p:nvSpPr>
          <p:spPr>
            <a:xfrm>
              <a:off x="1624111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3" name="Straight Connector 432"/>
            <p:cNvSpPr/>
            <p:nvPr/>
          </p:nvSpPr>
          <p:spPr>
            <a:xfrm>
              <a:off x="1624111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4" name="Straight Connector 433"/>
            <p:cNvSpPr/>
            <p:nvPr/>
          </p:nvSpPr>
          <p:spPr>
            <a:xfrm>
              <a:off x="1624111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5" name="Straight Connector 434"/>
            <p:cNvSpPr/>
            <p:nvPr/>
          </p:nvSpPr>
          <p:spPr>
            <a:xfrm>
              <a:off x="1624111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6" name="Straight Connector 435"/>
            <p:cNvSpPr/>
            <p:nvPr/>
          </p:nvSpPr>
          <p:spPr>
            <a:xfrm>
              <a:off x="1624111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7" name="Straight Connector 436"/>
            <p:cNvSpPr/>
            <p:nvPr/>
          </p:nvSpPr>
          <p:spPr>
            <a:xfrm>
              <a:off x="1624111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8" name="Straight Connector 437"/>
            <p:cNvSpPr/>
            <p:nvPr/>
          </p:nvSpPr>
          <p:spPr>
            <a:xfrm>
              <a:off x="1624111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9" name="Straight Connector 438"/>
            <p:cNvSpPr/>
            <p:nvPr/>
          </p:nvSpPr>
          <p:spPr>
            <a:xfrm>
              <a:off x="1624111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0" name="Straight Connector 439"/>
            <p:cNvSpPr/>
            <p:nvPr/>
          </p:nvSpPr>
          <p:spPr>
            <a:xfrm>
              <a:off x="1624111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1" name="Straight Connector 440"/>
            <p:cNvSpPr/>
            <p:nvPr/>
          </p:nvSpPr>
          <p:spPr>
            <a:xfrm>
              <a:off x="1624111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2" name="Straight Connector 441"/>
            <p:cNvSpPr/>
            <p:nvPr/>
          </p:nvSpPr>
          <p:spPr>
            <a:xfrm>
              <a:off x="1654655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3" name="Straight Connector 442"/>
            <p:cNvSpPr/>
            <p:nvPr/>
          </p:nvSpPr>
          <p:spPr>
            <a:xfrm>
              <a:off x="1654655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4" name="Straight Connector 443"/>
            <p:cNvSpPr/>
            <p:nvPr/>
          </p:nvSpPr>
          <p:spPr>
            <a:xfrm>
              <a:off x="1654655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5" name="Straight Connector 444"/>
            <p:cNvSpPr/>
            <p:nvPr/>
          </p:nvSpPr>
          <p:spPr>
            <a:xfrm>
              <a:off x="1654655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6" name="Straight Connector 445"/>
            <p:cNvSpPr/>
            <p:nvPr/>
          </p:nvSpPr>
          <p:spPr>
            <a:xfrm>
              <a:off x="1654655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7" name="Straight Connector 446"/>
            <p:cNvSpPr/>
            <p:nvPr/>
          </p:nvSpPr>
          <p:spPr>
            <a:xfrm>
              <a:off x="1654655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8" name="Straight Connector 447"/>
            <p:cNvSpPr/>
            <p:nvPr/>
          </p:nvSpPr>
          <p:spPr>
            <a:xfrm>
              <a:off x="1654655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9" name="Straight Connector 448"/>
            <p:cNvSpPr/>
            <p:nvPr/>
          </p:nvSpPr>
          <p:spPr>
            <a:xfrm>
              <a:off x="1654655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0" name="Straight Connector 449"/>
            <p:cNvSpPr/>
            <p:nvPr/>
          </p:nvSpPr>
          <p:spPr>
            <a:xfrm>
              <a:off x="1654655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1" name="Straight Connector 450"/>
            <p:cNvSpPr/>
            <p:nvPr/>
          </p:nvSpPr>
          <p:spPr>
            <a:xfrm>
              <a:off x="1654655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2" name="Straight Connector 451"/>
            <p:cNvSpPr/>
            <p:nvPr/>
          </p:nvSpPr>
          <p:spPr>
            <a:xfrm>
              <a:off x="1654655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3" name="Straight Connector 452"/>
            <p:cNvSpPr/>
            <p:nvPr/>
          </p:nvSpPr>
          <p:spPr>
            <a:xfrm>
              <a:off x="1654655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4" name="Straight Connector 453"/>
            <p:cNvSpPr/>
            <p:nvPr/>
          </p:nvSpPr>
          <p:spPr>
            <a:xfrm>
              <a:off x="1654655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5" name="Straight Connector 454"/>
            <p:cNvSpPr/>
            <p:nvPr/>
          </p:nvSpPr>
          <p:spPr>
            <a:xfrm>
              <a:off x="1654655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6" name="Straight Connector 455"/>
            <p:cNvSpPr/>
            <p:nvPr/>
          </p:nvSpPr>
          <p:spPr>
            <a:xfrm>
              <a:off x="1654655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7" name="Straight Connector 456"/>
            <p:cNvSpPr/>
            <p:nvPr/>
          </p:nvSpPr>
          <p:spPr>
            <a:xfrm>
              <a:off x="1654655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8" name="Straight Connector 457"/>
            <p:cNvSpPr/>
            <p:nvPr/>
          </p:nvSpPr>
          <p:spPr>
            <a:xfrm>
              <a:off x="1654655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9" name="Straight Connector 458"/>
            <p:cNvSpPr/>
            <p:nvPr/>
          </p:nvSpPr>
          <p:spPr>
            <a:xfrm>
              <a:off x="1685199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0" name="Straight Connector 459"/>
            <p:cNvSpPr/>
            <p:nvPr/>
          </p:nvSpPr>
          <p:spPr>
            <a:xfrm>
              <a:off x="1685199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1" name="Straight Connector 460"/>
            <p:cNvSpPr/>
            <p:nvPr/>
          </p:nvSpPr>
          <p:spPr>
            <a:xfrm>
              <a:off x="1685199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2" name="Straight Connector 461"/>
            <p:cNvSpPr/>
            <p:nvPr/>
          </p:nvSpPr>
          <p:spPr>
            <a:xfrm>
              <a:off x="1685199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3" name="Straight Connector 462"/>
            <p:cNvSpPr/>
            <p:nvPr/>
          </p:nvSpPr>
          <p:spPr>
            <a:xfrm>
              <a:off x="1685199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4" name="Straight Connector 463"/>
            <p:cNvSpPr/>
            <p:nvPr/>
          </p:nvSpPr>
          <p:spPr>
            <a:xfrm>
              <a:off x="1685199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5" name="Straight Connector 464"/>
            <p:cNvSpPr/>
            <p:nvPr/>
          </p:nvSpPr>
          <p:spPr>
            <a:xfrm>
              <a:off x="1685199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6" name="Straight Connector 465"/>
            <p:cNvSpPr/>
            <p:nvPr/>
          </p:nvSpPr>
          <p:spPr>
            <a:xfrm>
              <a:off x="1685199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7" name="Straight Connector 466"/>
            <p:cNvSpPr/>
            <p:nvPr/>
          </p:nvSpPr>
          <p:spPr>
            <a:xfrm>
              <a:off x="1685199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8" name="Straight Connector 467"/>
            <p:cNvSpPr/>
            <p:nvPr/>
          </p:nvSpPr>
          <p:spPr>
            <a:xfrm>
              <a:off x="1685199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9" name="Straight Connector 468"/>
            <p:cNvSpPr/>
            <p:nvPr/>
          </p:nvSpPr>
          <p:spPr>
            <a:xfrm>
              <a:off x="1685199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0" name="Straight Connector 469"/>
            <p:cNvSpPr/>
            <p:nvPr/>
          </p:nvSpPr>
          <p:spPr>
            <a:xfrm>
              <a:off x="1685199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1" name="Straight Connector 470"/>
            <p:cNvSpPr/>
            <p:nvPr/>
          </p:nvSpPr>
          <p:spPr>
            <a:xfrm>
              <a:off x="1685199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2" name="Straight Connector 471"/>
            <p:cNvSpPr/>
            <p:nvPr/>
          </p:nvSpPr>
          <p:spPr>
            <a:xfrm>
              <a:off x="1685199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3" name="Straight Connector 472"/>
            <p:cNvSpPr/>
            <p:nvPr/>
          </p:nvSpPr>
          <p:spPr>
            <a:xfrm>
              <a:off x="1685199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4" name="Straight Connector 473"/>
            <p:cNvSpPr/>
            <p:nvPr/>
          </p:nvSpPr>
          <p:spPr>
            <a:xfrm>
              <a:off x="1685199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5" name="Straight Connector 474"/>
            <p:cNvSpPr/>
            <p:nvPr/>
          </p:nvSpPr>
          <p:spPr>
            <a:xfrm>
              <a:off x="1685199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6" name="Straight Connector 475"/>
            <p:cNvSpPr/>
            <p:nvPr/>
          </p:nvSpPr>
          <p:spPr>
            <a:xfrm>
              <a:off x="1806994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7" name="Straight Connector 476"/>
            <p:cNvSpPr/>
            <p:nvPr/>
          </p:nvSpPr>
          <p:spPr>
            <a:xfrm>
              <a:off x="1806994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8" name="Straight Connector 477"/>
            <p:cNvSpPr/>
            <p:nvPr/>
          </p:nvSpPr>
          <p:spPr>
            <a:xfrm>
              <a:off x="1806994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9" name="Straight Connector 478"/>
            <p:cNvSpPr/>
            <p:nvPr/>
          </p:nvSpPr>
          <p:spPr>
            <a:xfrm>
              <a:off x="1806994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0" name="Straight Connector 479"/>
            <p:cNvSpPr/>
            <p:nvPr/>
          </p:nvSpPr>
          <p:spPr>
            <a:xfrm>
              <a:off x="1806994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1" name="Straight Connector 480"/>
            <p:cNvSpPr/>
            <p:nvPr/>
          </p:nvSpPr>
          <p:spPr>
            <a:xfrm>
              <a:off x="1806994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2" name="Straight Connector 481"/>
            <p:cNvSpPr/>
            <p:nvPr/>
          </p:nvSpPr>
          <p:spPr>
            <a:xfrm>
              <a:off x="1806994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3" name="Straight Connector 482"/>
            <p:cNvSpPr/>
            <p:nvPr/>
          </p:nvSpPr>
          <p:spPr>
            <a:xfrm>
              <a:off x="1806994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4" name="Straight Connector 483"/>
            <p:cNvSpPr/>
            <p:nvPr/>
          </p:nvSpPr>
          <p:spPr>
            <a:xfrm>
              <a:off x="1806994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5" name="Straight Connector 484"/>
            <p:cNvSpPr/>
            <p:nvPr/>
          </p:nvSpPr>
          <p:spPr>
            <a:xfrm>
              <a:off x="1806994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6" name="Straight Connector 485"/>
            <p:cNvSpPr/>
            <p:nvPr/>
          </p:nvSpPr>
          <p:spPr>
            <a:xfrm>
              <a:off x="1806994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7" name="Straight Connector 486"/>
            <p:cNvSpPr/>
            <p:nvPr/>
          </p:nvSpPr>
          <p:spPr>
            <a:xfrm>
              <a:off x="1806994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8" name="Straight Connector 487"/>
            <p:cNvSpPr/>
            <p:nvPr/>
          </p:nvSpPr>
          <p:spPr>
            <a:xfrm>
              <a:off x="1806994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9" name="Straight Connector 488"/>
            <p:cNvSpPr/>
            <p:nvPr/>
          </p:nvSpPr>
          <p:spPr>
            <a:xfrm>
              <a:off x="1776451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0" name="Straight Connector 489"/>
            <p:cNvSpPr/>
            <p:nvPr/>
          </p:nvSpPr>
          <p:spPr>
            <a:xfrm>
              <a:off x="1776451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1" name="Straight Connector 490"/>
            <p:cNvSpPr/>
            <p:nvPr/>
          </p:nvSpPr>
          <p:spPr>
            <a:xfrm>
              <a:off x="1776451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2" name="Straight Connector 491"/>
            <p:cNvSpPr/>
            <p:nvPr/>
          </p:nvSpPr>
          <p:spPr>
            <a:xfrm>
              <a:off x="1776451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3" name="Straight Connector 492"/>
            <p:cNvSpPr/>
            <p:nvPr/>
          </p:nvSpPr>
          <p:spPr>
            <a:xfrm>
              <a:off x="1776451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4" name="Straight Connector 493"/>
            <p:cNvSpPr/>
            <p:nvPr/>
          </p:nvSpPr>
          <p:spPr>
            <a:xfrm>
              <a:off x="1776451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5" name="Straight Connector 494"/>
            <p:cNvSpPr/>
            <p:nvPr/>
          </p:nvSpPr>
          <p:spPr>
            <a:xfrm>
              <a:off x="1776451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6" name="Straight Connector 495"/>
            <p:cNvSpPr/>
            <p:nvPr/>
          </p:nvSpPr>
          <p:spPr>
            <a:xfrm>
              <a:off x="1776451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7" name="Straight Connector 496"/>
            <p:cNvSpPr/>
            <p:nvPr/>
          </p:nvSpPr>
          <p:spPr>
            <a:xfrm>
              <a:off x="1776451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8" name="Straight Connector 497"/>
            <p:cNvSpPr/>
            <p:nvPr/>
          </p:nvSpPr>
          <p:spPr>
            <a:xfrm>
              <a:off x="1776451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9" name="Straight Connector 498"/>
            <p:cNvSpPr/>
            <p:nvPr/>
          </p:nvSpPr>
          <p:spPr>
            <a:xfrm>
              <a:off x="1776451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0" name="Straight Connector 499"/>
            <p:cNvSpPr/>
            <p:nvPr/>
          </p:nvSpPr>
          <p:spPr>
            <a:xfrm>
              <a:off x="1776451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1" name="Straight Connector 500"/>
            <p:cNvSpPr/>
            <p:nvPr/>
          </p:nvSpPr>
          <p:spPr>
            <a:xfrm>
              <a:off x="1776451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2" name="Straight Connector 501"/>
            <p:cNvSpPr/>
            <p:nvPr/>
          </p:nvSpPr>
          <p:spPr>
            <a:xfrm>
              <a:off x="1745906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3" name="Straight Connector 502"/>
            <p:cNvSpPr/>
            <p:nvPr/>
          </p:nvSpPr>
          <p:spPr>
            <a:xfrm>
              <a:off x="1745906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4" name="Straight Connector 503"/>
            <p:cNvSpPr/>
            <p:nvPr/>
          </p:nvSpPr>
          <p:spPr>
            <a:xfrm>
              <a:off x="1745906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5" name="Straight Connector 504"/>
            <p:cNvSpPr/>
            <p:nvPr/>
          </p:nvSpPr>
          <p:spPr>
            <a:xfrm>
              <a:off x="1745906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6" name="Straight Connector 505"/>
            <p:cNvSpPr/>
            <p:nvPr/>
          </p:nvSpPr>
          <p:spPr>
            <a:xfrm>
              <a:off x="1745906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7" name="Straight Connector 506"/>
            <p:cNvSpPr/>
            <p:nvPr/>
          </p:nvSpPr>
          <p:spPr>
            <a:xfrm>
              <a:off x="1745906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8" name="Straight Connector 507"/>
            <p:cNvSpPr/>
            <p:nvPr/>
          </p:nvSpPr>
          <p:spPr>
            <a:xfrm>
              <a:off x="1745906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9" name="Straight Connector 508"/>
            <p:cNvSpPr/>
            <p:nvPr/>
          </p:nvSpPr>
          <p:spPr>
            <a:xfrm>
              <a:off x="1745906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0" name="Straight Connector 509"/>
            <p:cNvSpPr/>
            <p:nvPr/>
          </p:nvSpPr>
          <p:spPr>
            <a:xfrm>
              <a:off x="1745906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1" name="Straight Connector 510"/>
            <p:cNvSpPr/>
            <p:nvPr/>
          </p:nvSpPr>
          <p:spPr>
            <a:xfrm>
              <a:off x="1745906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2" name="Straight Connector 511"/>
            <p:cNvSpPr/>
            <p:nvPr/>
          </p:nvSpPr>
          <p:spPr>
            <a:xfrm>
              <a:off x="1745906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3" name="Straight Connector 512"/>
            <p:cNvSpPr/>
            <p:nvPr/>
          </p:nvSpPr>
          <p:spPr>
            <a:xfrm>
              <a:off x="1745906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4" name="Straight Connector 513"/>
            <p:cNvSpPr/>
            <p:nvPr/>
          </p:nvSpPr>
          <p:spPr>
            <a:xfrm>
              <a:off x="1745906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5" name="Straight Connector 514"/>
            <p:cNvSpPr/>
            <p:nvPr/>
          </p:nvSpPr>
          <p:spPr>
            <a:xfrm>
              <a:off x="1715743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6" name="Straight Connector 515"/>
            <p:cNvSpPr/>
            <p:nvPr/>
          </p:nvSpPr>
          <p:spPr>
            <a:xfrm>
              <a:off x="1715743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7" name="Straight Connector 516"/>
            <p:cNvSpPr/>
            <p:nvPr/>
          </p:nvSpPr>
          <p:spPr>
            <a:xfrm>
              <a:off x="1715743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8" name="Straight Connector 517"/>
            <p:cNvSpPr/>
            <p:nvPr/>
          </p:nvSpPr>
          <p:spPr>
            <a:xfrm>
              <a:off x="1715743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9" name="Straight Connector 518"/>
            <p:cNvSpPr/>
            <p:nvPr/>
          </p:nvSpPr>
          <p:spPr>
            <a:xfrm>
              <a:off x="1715743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0" name="Straight Connector 519"/>
            <p:cNvSpPr/>
            <p:nvPr/>
          </p:nvSpPr>
          <p:spPr>
            <a:xfrm>
              <a:off x="1715743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1" name="Straight Connector 520"/>
            <p:cNvSpPr/>
            <p:nvPr/>
          </p:nvSpPr>
          <p:spPr>
            <a:xfrm>
              <a:off x="1715743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2" name="Straight Connector 521"/>
            <p:cNvSpPr/>
            <p:nvPr/>
          </p:nvSpPr>
          <p:spPr>
            <a:xfrm>
              <a:off x="1715743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3" name="Straight Connector 522"/>
            <p:cNvSpPr/>
            <p:nvPr/>
          </p:nvSpPr>
          <p:spPr>
            <a:xfrm>
              <a:off x="1715743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4" name="Straight Connector 523"/>
            <p:cNvSpPr/>
            <p:nvPr/>
          </p:nvSpPr>
          <p:spPr>
            <a:xfrm>
              <a:off x="1715743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5" name="Straight Connector 524"/>
            <p:cNvSpPr/>
            <p:nvPr/>
          </p:nvSpPr>
          <p:spPr>
            <a:xfrm>
              <a:off x="1715743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6" name="Straight Connector 525"/>
            <p:cNvSpPr/>
            <p:nvPr/>
          </p:nvSpPr>
          <p:spPr>
            <a:xfrm>
              <a:off x="1715743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7" name="Straight Connector 526"/>
            <p:cNvSpPr/>
            <p:nvPr/>
          </p:nvSpPr>
          <p:spPr>
            <a:xfrm>
              <a:off x="1715743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8" name="Freeform: Shape 525"/>
            <p:cNvSpPr/>
            <p:nvPr/>
          </p:nvSpPr>
          <p:spPr>
            <a:xfrm>
              <a:off x="345080" y="2270618"/>
              <a:ext cx="67960" cy="161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9" h="423">
                  <a:moveTo>
                    <a:pt x="179" y="0"/>
                  </a:moveTo>
                  <a:lnTo>
                    <a:pt x="179" y="423"/>
                  </a:lnTo>
                  <a:lnTo>
                    <a:pt x="0" y="2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9" name="Straight Connector 528"/>
            <p:cNvSpPr/>
            <p:nvPr/>
          </p:nvSpPr>
          <p:spPr>
            <a:xfrm>
              <a:off x="345843" y="2436702"/>
              <a:ext cx="3856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0" name="Freeform: Shape 527"/>
            <p:cNvSpPr/>
            <p:nvPr/>
          </p:nvSpPr>
          <p:spPr>
            <a:xfrm>
              <a:off x="4941957" y="2269090"/>
              <a:ext cx="57652" cy="13630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2" h="358">
                  <a:moveTo>
                    <a:pt x="152" y="0"/>
                  </a:moveTo>
                  <a:lnTo>
                    <a:pt x="152" y="358"/>
                  </a:lnTo>
                  <a:lnTo>
                    <a:pt x="0" y="2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1" name="Straight Connector 530"/>
            <p:cNvSpPr/>
            <p:nvPr/>
          </p:nvSpPr>
          <p:spPr>
            <a:xfrm>
              <a:off x="4942721" y="2409594"/>
              <a:ext cx="3245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2" name="Freeform: Shape 529"/>
            <p:cNvSpPr/>
            <p:nvPr/>
          </p:nvSpPr>
          <p:spPr>
            <a:xfrm>
              <a:off x="549343" y="2275964"/>
              <a:ext cx="95068" cy="22373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50" h="587">
                  <a:moveTo>
                    <a:pt x="250" y="0"/>
                  </a:moveTo>
                  <a:lnTo>
                    <a:pt x="250" y="587"/>
                  </a:lnTo>
                  <a:lnTo>
                    <a:pt x="0" y="3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3" name="Straight Connector 532"/>
            <p:cNvSpPr/>
            <p:nvPr/>
          </p:nvSpPr>
          <p:spPr>
            <a:xfrm>
              <a:off x="551252" y="2506571"/>
              <a:ext cx="5345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4" name="Freeform: Shape 531"/>
            <p:cNvSpPr/>
            <p:nvPr/>
          </p:nvSpPr>
          <p:spPr>
            <a:xfrm>
              <a:off x="4536486" y="2218312"/>
              <a:ext cx="116831" cy="27604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724">
                  <a:moveTo>
                    <a:pt x="307" y="0"/>
                  </a:moveTo>
                  <a:lnTo>
                    <a:pt x="307" y="724"/>
                  </a:lnTo>
                  <a:lnTo>
                    <a:pt x="0" y="48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5" name="Straight Connector 534"/>
            <p:cNvSpPr/>
            <p:nvPr/>
          </p:nvSpPr>
          <p:spPr>
            <a:xfrm>
              <a:off x="4538394" y="2502753"/>
              <a:ext cx="6567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6" name="Straight Connector 535"/>
            <p:cNvSpPr/>
            <p:nvPr/>
          </p:nvSpPr>
          <p:spPr>
            <a:xfrm>
              <a:off x="-1" y="2014812"/>
              <a:ext cx="100521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7" name="Straight Connector 536"/>
            <p:cNvSpPr/>
            <p:nvPr/>
          </p:nvSpPr>
          <p:spPr>
            <a:xfrm>
              <a:off x="53002" y="1773896"/>
              <a:ext cx="0" cy="33178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8" name="Straight Connector 537"/>
            <p:cNvSpPr/>
            <p:nvPr/>
          </p:nvSpPr>
          <p:spPr>
            <a:xfrm>
              <a:off x="912817" y="1773896"/>
              <a:ext cx="0" cy="33178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9" name="Freeform: Shape 536"/>
            <p:cNvSpPr/>
            <p:nvPr/>
          </p:nvSpPr>
          <p:spPr>
            <a:xfrm>
              <a:off x="54911" y="1800622"/>
              <a:ext cx="857524" cy="16226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47" h="426">
                  <a:moveTo>
                    <a:pt x="2247" y="0"/>
                  </a:moveTo>
                  <a:cubicBezTo>
                    <a:pt x="1971" y="261"/>
                    <a:pt x="1567" y="426"/>
                    <a:pt x="1117" y="426"/>
                  </a:cubicBezTo>
                  <a:cubicBezTo>
                    <a:pt x="674" y="426"/>
                    <a:pt x="276" y="266"/>
                    <a:pt x="0" y="1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0" name="Straight Connector 539"/>
            <p:cNvSpPr/>
            <p:nvPr/>
          </p:nvSpPr>
          <p:spPr>
            <a:xfrm>
              <a:off x="122490" y="1857892"/>
              <a:ext cx="0" cy="15424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1" name="Straight Connector 540"/>
            <p:cNvSpPr/>
            <p:nvPr/>
          </p:nvSpPr>
          <p:spPr>
            <a:xfrm>
              <a:off x="172888" y="1888054"/>
              <a:ext cx="0" cy="12675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2" name="Straight Connector 541"/>
            <p:cNvSpPr/>
            <p:nvPr/>
          </p:nvSpPr>
          <p:spPr>
            <a:xfrm>
              <a:off x="225576" y="1914780"/>
              <a:ext cx="0" cy="10003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3" name="Straight Connector 542"/>
            <p:cNvSpPr/>
            <p:nvPr/>
          </p:nvSpPr>
          <p:spPr>
            <a:xfrm>
              <a:off x="276738" y="1933489"/>
              <a:ext cx="0" cy="8132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4" name="Straight Connector 543"/>
            <p:cNvSpPr/>
            <p:nvPr/>
          </p:nvSpPr>
          <p:spPr>
            <a:xfrm>
              <a:off x="327899" y="1945706"/>
              <a:ext cx="0" cy="6910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5" name="Straight Connector 544"/>
            <p:cNvSpPr/>
            <p:nvPr/>
          </p:nvSpPr>
          <p:spPr>
            <a:xfrm>
              <a:off x="379060" y="1956778"/>
              <a:ext cx="0" cy="5803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6" name="Straight Connector 545"/>
            <p:cNvSpPr/>
            <p:nvPr/>
          </p:nvSpPr>
          <p:spPr>
            <a:xfrm>
              <a:off x="430603" y="1961360"/>
              <a:ext cx="0" cy="5345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7" name="Straight Connector 546"/>
            <p:cNvSpPr/>
            <p:nvPr/>
          </p:nvSpPr>
          <p:spPr>
            <a:xfrm>
              <a:off x="840657" y="1857892"/>
              <a:ext cx="0" cy="15424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8" name="Straight Connector 547"/>
            <p:cNvSpPr/>
            <p:nvPr/>
          </p:nvSpPr>
          <p:spPr>
            <a:xfrm>
              <a:off x="789877" y="1888054"/>
              <a:ext cx="0" cy="12675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9" name="Straight Connector 548"/>
            <p:cNvSpPr/>
            <p:nvPr/>
          </p:nvSpPr>
          <p:spPr>
            <a:xfrm>
              <a:off x="737571" y="1914780"/>
              <a:ext cx="0" cy="10003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0" name="Straight Connector 549"/>
            <p:cNvSpPr/>
            <p:nvPr/>
          </p:nvSpPr>
          <p:spPr>
            <a:xfrm>
              <a:off x="686409" y="1933489"/>
              <a:ext cx="0" cy="8132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1" name="Straight Connector 550"/>
            <p:cNvSpPr/>
            <p:nvPr/>
          </p:nvSpPr>
          <p:spPr>
            <a:xfrm>
              <a:off x="635248" y="1945706"/>
              <a:ext cx="0" cy="6910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2" name="Straight Connector 551"/>
            <p:cNvSpPr/>
            <p:nvPr/>
          </p:nvSpPr>
          <p:spPr>
            <a:xfrm>
              <a:off x="584087" y="1956778"/>
              <a:ext cx="0" cy="5803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3" name="Straight Connector 552"/>
            <p:cNvSpPr/>
            <p:nvPr/>
          </p:nvSpPr>
          <p:spPr>
            <a:xfrm>
              <a:off x="532544" y="1961360"/>
              <a:ext cx="0" cy="5345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4" name="Straight Connector 553"/>
            <p:cNvSpPr/>
            <p:nvPr/>
          </p:nvSpPr>
          <p:spPr>
            <a:xfrm>
              <a:off x="481765" y="1963269"/>
              <a:ext cx="0" cy="4887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5" name="Straight Connector 554"/>
            <p:cNvSpPr/>
            <p:nvPr/>
          </p:nvSpPr>
          <p:spPr>
            <a:xfrm>
              <a:off x="839131" y="2014812"/>
              <a:ext cx="17219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6" name="Freeform: Shape 562"/>
            <p:cNvSpPr/>
            <p:nvPr/>
          </p:nvSpPr>
          <p:spPr>
            <a:xfrm>
              <a:off x="915108" y="1804822"/>
              <a:ext cx="174101" cy="10957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57" h="288">
                  <a:moveTo>
                    <a:pt x="457" y="288"/>
                  </a:moveTo>
                  <a:cubicBezTo>
                    <a:pt x="284" y="217"/>
                    <a:pt x="129" y="119"/>
                    <a:pt x="0" y="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7" name="Straight Connector 556"/>
            <p:cNvSpPr/>
            <p:nvPr/>
          </p:nvSpPr>
          <p:spPr>
            <a:xfrm>
              <a:off x="981923" y="1857892"/>
              <a:ext cx="0" cy="15424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8" name="Straight Connector 557"/>
            <p:cNvSpPr/>
            <p:nvPr/>
          </p:nvSpPr>
          <p:spPr>
            <a:xfrm>
              <a:off x="1033084" y="1888054"/>
              <a:ext cx="0" cy="9926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9" name="Straight Connector 558"/>
            <p:cNvSpPr/>
            <p:nvPr/>
          </p:nvSpPr>
          <p:spPr>
            <a:xfrm>
              <a:off x="1085391" y="1914780"/>
              <a:ext cx="0" cy="572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0" name="Freeform: Shape 566"/>
            <p:cNvSpPr/>
            <p:nvPr/>
          </p:nvSpPr>
          <p:spPr>
            <a:xfrm>
              <a:off x="8772561" y="1252357"/>
              <a:ext cx="296277" cy="74451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77" h="1951" fill="none">
                  <a:moveTo>
                    <a:pt x="0" y="1949"/>
                  </a:moveTo>
                  <a:lnTo>
                    <a:pt x="399" y="0"/>
                  </a:lnTo>
                  <a:lnTo>
                    <a:pt x="777" y="195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1" name="Freeform: Shape 567"/>
            <p:cNvSpPr/>
            <p:nvPr/>
          </p:nvSpPr>
          <p:spPr>
            <a:xfrm>
              <a:off x="8843956" y="1400877"/>
              <a:ext cx="159593" cy="20846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9" h="547" fill="none">
                  <a:moveTo>
                    <a:pt x="20" y="547"/>
                  </a:moveTo>
                  <a:lnTo>
                    <a:pt x="0" y="0"/>
                  </a:lnTo>
                  <a:lnTo>
                    <a:pt x="419" y="0"/>
                  </a:lnTo>
                  <a:lnTo>
                    <a:pt x="390" y="5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2" name="Straight Connector 561"/>
            <p:cNvSpPr/>
            <p:nvPr/>
          </p:nvSpPr>
          <p:spPr>
            <a:xfrm>
              <a:off x="8911153" y="1435621"/>
              <a:ext cx="232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3" name="Straight Connector 562"/>
            <p:cNvSpPr/>
            <p:nvPr/>
          </p:nvSpPr>
          <p:spPr>
            <a:xfrm>
              <a:off x="8904664" y="1469219"/>
              <a:ext cx="3588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4" name="Straight Connector 563"/>
            <p:cNvSpPr/>
            <p:nvPr/>
          </p:nvSpPr>
          <p:spPr>
            <a:xfrm>
              <a:off x="8898937" y="1502817"/>
              <a:ext cx="4734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5" name="Straight Connector 564"/>
            <p:cNvSpPr/>
            <p:nvPr/>
          </p:nvSpPr>
          <p:spPr>
            <a:xfrm>
              <a:off x="8892828" y="1536033"/>
              <a:ext cx="591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6" name="Straight Connector 565"/>
            <p:cNvSpPr/>
            <p:nvPr/>
          </p:nvSpPr>
          <p:spPr>
            <a:xfrm>
              <a:off x="8886719" y="1569633"/>
              <a:ext cx="7139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7" name="Straight Connector 566"/>
            <p:cNvSpPr/>
            <p:nvPr/>
          </p:nvSpPr>
          <p:spPr>
            <a:xfrm>
              <a:off x="8880610" y="1603231"/>
              <a:ext cx="8323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8" name="Straight Connector 567"/>
            <p:cNvSpPr/>
            <p:nvPr/>
          </p:nvSpPr>
          <p:spPr>
            <a:xfrm>
              <a:off x="8874500" y="1636830"/>
              <a:ext cx="9545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9" name="Straight Connector 568"/>
            <p:cNvSpPr/>
            <p:nvPr/>
          </p:nvSpPr>
          <p:spPr>
            <a:xfrm>
              <a:off x="8868775" y="1670428"/>
              <a:ext cx="10728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0" name="Straight Connector 569"/>
            <p:cNvSpPr/>
            <p:nvPr/>
          </p:nvSpPr>
          <p:spPr>
            <a:xfrm>
              <a:off x="8862666" y="1704027"/>
              <a:ext cx="11912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1" name="Straight Connector 570"/>
            <p:cNvSpPr/>
            <p:nvPr/>
          </p:nvSpPr>
          <p:spPr>
            <a:xfrm>
              <a:off x="8856557" y="1737625"/>
              <a:ext cx="13095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2" name="Straight Connector 571"/>
            <p:cNvSpPr/>
            <p:nvPr/>
          </p:nvSpPr>
          <p:spPr>
            <a:xfrm>
              <a:off x="8850448" y="1770842"/>
              <a:ext cx="14317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3" name="Straight Connector 572"/>
            <p:cNvSpPr/>
            <p:nvPr/>
          </p:nvSpPr>
          <p:spPr>
            <a:xfrm>
              <a:off x="8844339" y="1804058"/>
              <a:ext cx="15501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4" name="Straight Connector 573"/>
            <p:cNvSpPr/>
            <p:nvPr/>
          </p:nvSpPr>
          <p:spPr>
            <a:xfrm>
              <a:off x="8838230" y="1837657"/>
              <a:ext cx="1672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5" name="Straight Connector 574"/>
            <p:cNvSpPr/>
            <p:nvPr/>
          </p:nvSpPr>
          <p:spPr>
            <a:xfrm>
              <a:off x="8832502" y="1871255"/>
              <a:ext cx="17868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6" name="Straight Connector 575"/>
            <p:cNvSpPr/>
            <p:nvPr/>
          </p:nvSpPr>
          <p:spPr>
            <a:xfrm>
              <a:off x="8826012" y="1904854"/>
              <a:ext cx="19128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7" name="Straight Connector 576"/>
            <p:cNvSpPr/>
            <p:nvPr/>
          </p:nvSpPr>
          <p:spPr>
            <a:xfrm>
              <a:off x="8820286" y="1938452"/>
              <a:ext cx="20311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8" name="Straight Connector 577"/>
            <p:cNvSpPr/>
            <p:nvPr/>
          </p:nvSpPr>
          <p:spPr>
            <a:xfrm>
              <a:off x="8814177" y="1972050"/>
              <a:ext cx="21495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9" name="Arc 578"/>
            <p:cNvSpPr/>
            <p:nvPr/>
          </p:nvSpPr>
          <p:spPr>
            <a:xfrm>
              <a:off x="-1444417" y="389303"/>
              <a:ext cx="1707410" cy="1707410"/>
            </a:xfrm>
            <a:prstGeom prst="arc">
              <a:avLst>
                <a:gd name="adj1" fmla="val 2456154"/>
                <a:gd name="adj2" fmla="val 2779844"/>
              </a:avLst>
            </a:prstGeom>
            <a:ln cap="rnd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282828"/>
                </a:solidFill>
              </a:endParaRPr>
            </a:p>
          </p:txBody>
        </p:sp>
        <p:sp>
          <p:nvSpPr>
            <p:cNvPr id="580" name="Straight Connector 579"/>
            <p:cNvSpPr/>
            <p:nvPr userDrawn="1"/>
          </p:nvSpPr>
          <p:spPr>
            <a:xfrm>
              <a:off x="8721398" y="2014813"/>
              <a:ext cx="42260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2" name="Straight Connector 581"/>
            <p:cNvSpPr/>
            <p:nvPr userDrawn="1"/>
          </p:nvSpPr>
          <p:spPr>
            <a:xfrm>
              <a:off x="9023402" y="2105024"/>
              <a:ext cx="12059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3" name="Straight Connector 582"/>
            <p:cNvSpPr/>
            <p:nvPr userDrawn="1"/>
          </p:nvSpPr>
          <p:spPr>
            <a:xfrm>
              <a:off x="9023402" y="2060575"/>
              <a:ext cx="0" cy="417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3235752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Whi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69496" y="386876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2"/>
                </a:solidFill>
                <a:latin typeface="+mn-lt"/>
                <a:cs typeface="CiscoSansTT ExtraLight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69496" y="410876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2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69496" y="434876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2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="0" i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 userDrawn="1"/>
        </p:nvSpPr>
        <p:spPr bwMode="auto">
          <a:xfrm>
            <a:off x="469496" y="391308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5073"/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-1444417" y="389303"/>
            <a:ext cx="10588417" cy="2117268"/>
            <a:chOff x="-1444417" y="389303"/>
            <a:chExt cx="10588417" cy="2117268"/>
          </a:xfrm>
        </p:grpSpPr>
        <p:sp>
          <p:nvSpPr>
            <p:cNvPr id="9" name="Freeform: Shape 2"/>
            <p:cNvSpPr/>
            <p:nvPr/>
          </p:nvSpPr>
          <p:spPr>
            <a:xfrm>
              <a:off x="4672025" y="1717771"/>
              <a:ext cx="341330" cy="34133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95" h="895">
                  <a:moveTo>
                    <a:pt x="895" y="448"/>
                  </a:moveTo>
                  <a:cubicBezTo>
                    <a:pt x="895" y="530"/>
                    <a:pt x="876" y="600"/>
                    <a:pt x="835" y="672"/>
                  </a:cubicBezTo>
                  <a:cubicBezTo>
                    <a:pt x="794" y="743"/>
                    <a:pt x="742" y="793"/>
                    <a:pt x="671" y="835"/>
                  </a:cubicBezTo>
                  <a:cubicBezTo>
                    <a:pt x="599" y="876"/>
                    <a:pt x="529" y="895"/>
                    <a:pt x="447" y="895"/>
                  </a:cubicBezTo>
                  <a:cubicBezTo>
                    <a:pt x="364" y="895"/>
                    <a:pt x="294" y="876"/>
                    <a:pt x="223" y="835"/>
                  </a:cubicBezTo>
                  <a:cubicBezTo>
                    <a:pt x="151" y="793"/>
                    <a:pt x="101" y="743"/>
                    <a:pt x="60" y="672"/>
                  </a:cubicBezTo>
                  <a:cubicBezTo>
                    <a:pt x="18" y="600"/>
                    <a:pt x="0" y="530"/>
                    <a:pt x="0" y="448"/>
                  </a:cubicBezTo>
                  <a:cubicBezTo>
                    <a:pt x="0" y="365"/>
                    <a:pt x="18" y="295"/>
                    <a:pt x="60" y="224"/>
                  </a:cubicBezTo>
                  <a:cubicBezTo>
                    <a:pt x="101" y="153"/>
                    <a:pt x="151" y="101"/>
                    <a:pt x="223" y="60"/>
                  </a:cubicBezTo>
                  <a:cubicBezTo>
                    <a:pt x="294" y="19"/>
                    <a:pt x="365" y="0"/>
                    <a:pt x="447" y="0"/>
                  </a:cubicBezTo>
                  <a:cubicBezTo>
                    <a:pt x="530" y="0"/>
                    <a:pt x="599" y="19"/>
                    <a:pt x="671" y="60"/>
                  </a:cubicBezTo>
                  <a:cubicBezTo>
                    <a:pt x="742" y="101"/>
                    <a:pt x="794" y="153"/>
                    <a:pt x="835" y="224"/>
                  </a:cubicBezTo>
                  <a:cubicBezTo>
                    <a:pt x="876" y="295"/>
                    <a:pt x="895" y="365"/>
                    <a:pt x="895" y="44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Straight Connector 9"/>
            <p:cNvSpPr/>
            <p:nvPr/>
          </p:nvSpPr>
          <p:spPr>
            <a:xfrm>
              <a:off x="4842689" y="1710517"/>
              <a:ext cx="0" cy="2252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Straight Connector 10"/>
            <p:cNvSpPr/>
            <p:nvPr/>
          </p:nvSpPr>
          <p:spPr>
            <a:xfrm>
              <a:off x="4842689" y="2051083"/>
              <a:ext cx="0" cy="2252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Straight Connector 11"/>
            <p:cNvSpPr/>
            <p:nvPr/>
          </p:nvSpPr>
          <p:spPr>
            <a:xfrm flipH="1">
              <a:off x="4903395" y="1724262"/>
              <a:ext cx="840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Straight Connector 12"/>
            <p:cNvSpPr/>
            <p:nvPr/>
          </p:nvSpPr>
          <p:spPr>
            <a:xfrm flipH="1">
              <a:off x="4773965" y="2039247"/>
              <a:ext cx="840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Straight Connector 13"/>
            <p:cNvSpPr/>
            <p:nvPr/>
          </p:nvSpPr>
          <p:spPr>
            <a:xfrm flipH="1">
              <a:off x="4956085" y="1764733"/>
              <a:ext cx="15653" cy="1565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Straight Connector 14"/>
            <p:cNvSpPr/>
            <p:nvPr/>
          </p:nvSpPr>
          <p:spPr>
            <a:xfrm flipH="1">
              <a:off x="4713641" y="2004122"/>
              <a:ext cx="16035" cy="1527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Straight Connector 20"/>
            <p:cNvSpPr/>
            <p:nvPr/>
          </p:nvSpPr>
          <p:spPr>
            <a:xfrm flipH="1">
              <a:off x="4990064" y="1823530"/>
              <a:ext cx="20617" cy="8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Straight Connector 21"/>
            <p:cNvSpPr/>
            <p:nvPr/>
          </p:nvSpPr>
          <p:spPr>
            <a:xfrm flipH="1">
              <a:off x="4674315" y="1951815"/>
              <a:ext cx="20999" cy="8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Straight Connector 22"/>
            <p:cNvSpPr/>
            <p:nvPr/>
          </p:nvSpPr>
          <p:spPr>
            <a:xfrm flipH="1">
              <a:off x="5001518" y="1891491"/>
              <a:ext cx="2252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Straight Connector 23"/>
            <p:cNvSpPr/>
            <p:nvPr/>
          </p:nvSpPr>
          <p:spPr>
            <a:xfrm flipH="1">
              <a:off x="4661334" y="1892254"/>
              <a:ext cx="22144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Straight Connector 24"/>
            <p:cNvSpPr/>
            <p:nvPr/>
          </p:nvSpPr>
          <p:spPr>
            <a:xfrm flipH="1" flipV="1">
              <a:off x="4990064" y="1951815"/>
              <a:ext cx="21000" cy="80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Straight Connector 25"/>
            <p:cNvSpPr/>
            <p:nvPr/>
          </p:nvSpPr>
          <p:spPr>
            <a:xfrm flipH="1" flipV="1">
              <a:off x="4674315" y="1823912"/>
              <a:ext cx="20999" cy="8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Straight Connector 26"/>
            <p:cNvSpPr/>
            <p:nvPr/>
          </p:nvSpPr>
          <p:spPr>
            <a:xfrm>
              <a:off x="4715169" y="1763206"/>
              <a:ext cx="15653" cy="1565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Straight Connector 27"/>
            <p:cNvSpPr/>
            <p:nvPr/>
          </p:nvSpPr>
          <p:spPr>
            <a:xfrm>
              <a:off x="4954558" y="2005267"/>
              <a:ext cx="15653" cy="1565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Straight Connector 28"/>
            <p:cNvSpPr/>
            <p:nvPr/>
          </p:nvSpPr>
          <p:spPr>
            <a:xfrm>
              <a:off x="4769766" y="1725788"/>
              <a:ext cx="9162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Straight Connector 29"/>
            <p:cNvSpPr/>
            <p:nvPr/>
          </p:nvSpPr>
          <p:spPr>
            <a:xfrm>
              <a:off x="4906831" y="2037719"/>
              <a:ext cx="8781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Freeform: Shape 19"/>
            <p:cNvSpPr/>
            <p:nvPr/>
          </p:nvSpPr>
          <p:spPr>
            <a:xfrm>
              <a:off x="4788855" y="1885382"/>
              <a:ext cx="106904" cy="318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81" h="834" fill="none">
                  <a:moveTo>
                    <a:pt x="0" y="834"/>
                  </a:moveTo>
                  <a:lnTo>
                    <a:pt x="159" y="0"/>
                  </a:lnTo>
                  <a:lnTo>
                    <a:pt x="281" y="65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Straight Connector 31"/>
            <p:cNvSpPr/>
            <p:nvPr/>
          </p:nvSpPr>
          <p:spPr>
            <a:xfrm>
              <a:off x="4685005" y="2182422"/>
              <a:ext cx="0" cy="11644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Freeform: Shape 21"/>
            <p:cNvSpPr/>
            <p:nvPr/>
          </p:nvSpPr>
          <p:spPr>
            <a:xfrm>
              <a:off x="5098113" y="1929671"/>
              <a:ext cx="158447" cy="3562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Freeform: Shape 22"/>
            <p:cNvSpPr/>
            <p:nvPr/>
          </p:nvSpPr>
          <p:spPr>
            <a:xfrm>
              <a:off x="5131330" y="2140424"/>
              <a:ext cx="92396" cy="15195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60" y="0"/>
                  </a:lnTo>
                  <a:cubicBezTo>
                    <a:pt x="206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Straight Connector 34"/>
            <p:cNvSpPr/>
            <p:nvPr/>
          </p:nvSpPr>
          <p:spPr>
            <a:xfrm>
              <a:off x="5121021" y="2025502"/>
              <a:ext cx="11339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Freeform: Shape 24"/>
            <p:cNvSpPr/>
            <p:nvPr/>
          </p:nvSpPr>
          <p:spPr>
            <a:xfrm>
              <a:off x="4714404" y="1929671"/>
              <a:ext cx="376837" cy="32796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8" h="860">
                  <a:moveTo>
                    <a:pt x="988" y="0"/>
                  </a:moveTo>
                  <a:cubicBezTo>
                    <a:pt x="909" y="478"/>
                    <a:pt x="499" y="846"/>
                    <a:pt x="0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Straight Connector 36"/>
            <p:cNvSpPr/>
            <p:nvPr/>
          </p:nvSpPr>
          <p:spPr>
            <a:xfrm>
              <a:off x="4898814" y="2211439"/>
              <a:ext cx="18097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Freeform: Shape 26"/>
            <p:cNvSpPr/>
            <p:nvPr/>
          </p:nvSpPr>
          <p:spPr>
            <a:xfrm>
              <a:off x="5829643" y="1929671"/>
              <a:ext cx="376455" cy="32796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7" h="860">
                  <a:moveTo>
                    <a:pt x="0" y="0"/>
                  </a:moveTo>
                  <a:cubicBezTo>
                    <a:pt x="79" y="478"/>
                    <a:pt x="489" y="846"/>
                    <a:pt x="987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Straight Connector 38"/>
            <p:cNvSpPr/>
            <p:nvPr/>
          </p:nvSpPr>
          <p:spPr>
            <a:xfrm flipH="1">
              <a:off x="5841097" y="2211439"/>
              <a:ext cx="18135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Straight Connector 39"/>
            <p:cNvSpPr/>
            <p:nvPr/>
          </p:nvSpPr>
          <p:spPr>
            <a:xfrm>
              <a:off x="4728532" y="2304217"/>
              <a:ext cx="21380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Straight Connector 40"/>
            <p:cNvSpPr/>
            <p:nvPr/>
          </p:nvSpPr>
          <p:spPr>
            <a:xfrm>
              <a:off x="5256942" y="1939979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Straight Connector 41"/>
            <p:cNvSpPr/>
            <p:nvPr/>
          </p:nvSpPr>
          <p:spPr>
            <a:xfrm>
              <a:off x="5256942" y="1966705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Straight Connector 42"/>
            <p:cNvSpPr/>
            <p:nvPr/>
          </p:nvSpPr>
          <p:spPr>
            <a:xfrm>
              <a:off x="5256942" y="2017485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Straight Connector 43"/>
            <p:cNvSpPr/>
            <p:nvPr/>
          </p:nvSpPr>
          <p:spPr>
            <a:xfrm>
              <a:off x="5256942" y="2198458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Straight Connector 44"/>
            <p:cNvSpPr/>
            <p:nvPr/>
          </p:nvSpPr>
          <p:spPr>
            <a:xfrm>
              <a:off x="5256942" y="2250383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Freeform: Shape 34"/>
            <p:cNvSpPr/>
            <p:nvPr/>
          </p:nvSpPr>
          <p:spPr>
            <a:xfrm>
              <a:off x="5094677" y="1829257"/>
              <a:ext cx="38944" cy="6948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2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Freeform: Shape 35"/>
            <p:cNvSpPr/>
            <p:nvPr/>
          </p:nvSpPr>
          <p:spPr>
            <a:xfrm>
              <a:off x="5222962" y="1829257"/>
              <a:ext cx="38562" cy="6948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0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Freeform: Shape 36"/>
            <p:cNvSpPr/>
            <p:nvPr/>
          </p:nvSpPr>
          <p:spPr>
            <a:xfrm>
              <a:off x="5120258" y="1753279"/>
              <a:ext cx="114158" cy="14546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49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Freeform: Shape 37"/>
            <p:cNvSpPr/>
            <p:nvPr/>
          </p:nvSpPr>
          <p:spPr>
            <a:xfrm>
              <a:off x="5162638" y="1956015"/>
              <a:ext cx="29399" cy="3512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Freeform: Shape 38"/>
            <p:cNvSpPr/>
            <p:nvPr/>
          </p:nvSpPr>
          <p:spPr>
            <a:xfrm>
              <a:off x="5663942" y="1929671"/>
              <a:ext cx="158447" cy="3562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Freeform: Shape 39"/>
            <p:cNvSpPr/>
            <p:nvPr/>
          </p:nvSpPr>
          <p:spPr>
            <a:xfrm>
              <a:off x="5697158" y="2140424"/>
              <a:ext cx="92396" cy="15195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59" y="0"/>
                  </a:lnTo>
                  <a:cubicBezTo>
                    <a:pt x="205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" name="Straight Connector 51"/>
            <p:cNvSpPr/>
            <p:nvPr/>
          </p:nvSpPr>
          <p:spPr>
            <a:xfrm>
              <a:off x="5686468" y="2025502"/>
              <a:ext cx="11377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" name="Freeform: Shape 41"/>
            <p:cNvSpPr/>
            <p:nvPr/>
          </p:nvSpPr>
          <p:spPr>
            <a:xfrm>
              <a:off x="5660505" y="1829257"/>
              <a:ext cx="38562" cy="6948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2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" name="Freeform: Shape 42"/>
            <p:cNvSpPr/>
            <p:nvPr/>
          </p:nvSpPr>
          <p:spPr>
            <a:xfrm>
              <a:off x="5788409" y="1829257"/>
              <a:ext cx="38944" cy="6948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1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" name="Freeform: Shape 43"/>
            <p:cNvSpPr/>
            <p:nvPr/>
          </p:nvSpPr>
          <p:spPr>
            <a:xfrm>
              <a:off x="5685704" y="1753279"/>
              <a:ext cx="114158" cy="14546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51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" name="Freeform: Shape 44"/>
            <p:cNvSpPr/>
            <p:nvPr/>
          </p:nvSpPr>
          <p:spPr>
            <a:xfrm>
              <a:off x="7548126" y="2107208"/>
              <a:ext cx="272224" cy="4047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14" h="107">
                  <a:moveTo>
                    <a:pt x="357" y="0"/>
                  </a:moveTo>
                  <a:lnTo>
                    <a:pt x="0" y="107"/>
                  </a:lnTo>
                  <a:lnTo>
                    <a:pt x="714" y="10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" name="Freeform: Shape 45"/>
            <p:cNvSpPr/>
            <p:nvPr/>
          </p:nvSpPr>
          <p:spPr>
            <a:xfrm>
              <a:off x="5728466" y="1956015"/>
              <a:ext cx="29399" cy="3512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" name="Straight Connector 57"/>
            <p:cNvSpPr/>
            <p:nvPr/>
          </p:nvSpPr>
          <p:spPr>
            <a:xfrm>
              <a:off x="5051152" y="2304217"/>
              <a:ext cx="7937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" name="Straight Connector 58"/>
            <p:cNvSpPr/>
            <p:nvPr/>
          </p:nvSpPr>
          <p:spPr>
            <a:xfrm>
              <a:off x="5167601" y="2337815"/>
              <a:ext cx="0" cy="5421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0" name="Straight Connector 59"/>
            <p:cNvSpPr/>
            <p:nvPr/>
          </p:nvSpPr>
          <p:spPr>
            <a:xfrm>
              <a:off x="5229071" y="2335143"/>
              <a:ext cx="45548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1" name="Straight Connector 60"/>
            <p:cNvSpPr/>
            <p:nvPr/>
          </p:nvSpPr>
          <p:spPr>
            <a:xfrm>
              <a:off x="5366519" y="2379431"/>
              <a:ext cx="16646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2" name="Straight Connector 61"/>
            <p:cNvSpPr/>
            <p:nvPr/>
          </p:nvSpPr>
          <p:spPr>
            <a:xfrm>
              <a:off x="5413099" y="2407685"/>
              <a:ext cx="8017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3" name="Straight Connector 62"/>
            <p:cNvSpPr/>
            <p:nvPr/>
          </p:nvSpPr>
          <p:spPr>
            <a:xfrm>
              <a:off x="7335463" y="2432502"/>
              <a:ext cx="16646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4" name="Straight Connector 63"/>
            <p:cNvSpPr/>
            <p:nvPr/>
          </p:nvSpPr>
          <p:spPr>
            <a:xfrm>
              <a:off x="7382044" y="2461137"/>
              <a:ext cx="8017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5" name="Straight Connector 64"/>
            <p:cNvSpPr/>
            <p:nvPr/>
          </p:nvSpPr>
          <p:spPr>
            <a:xfrm>
              <a:off x="7582107" y="2402721"/>
              <a:ext cx="4008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6" name="Straight Connector 65"/>
            <p:cNvSpPr/>
            <p:nvPr/>
          </p:nvSpPr>
          <p:spPr>
            <a:xfrm>
              <a:off x="5837279" y="2329797"/>
              <a:ext cx="0" cy="805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7" name="Straight Connector 66"/>
            <p:cNvSpPr/>
            <p:nvPr/>
          </p:nvSpPr>
          <p:spPr>
            <a:xfrm flipH="1">
              <a:off x="5862096" y="2340106"/>
              <a:ext cx="36347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8" name="Straight Connector 67"/>
            <p:cNvSpPr/>
            <p:nvPr/>
          </p:nvSpPr>
          <p:spPr>
            <a:xfrm flipV="1">
              <a:off x="5862096" y="2218312"/>
              <a:ext cx="0" cy="4581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9" name="Freeform: Shape 57"/>
            <p:cNvSpPr/>
            <p:nvPr/>
          </p:nvSpPr>
          <p:spPr>
            <a:xfrm>
              <a:off x="5902185" y="2277109"/>
              <a:ext cx="303913" cy="423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7" h="112">
                  <a:moveTo>
                    <a:pt x="399" y="112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797" y="0"/>
                  </a:lnTo>
                  <a:lnTo>
                    <a:pt x="797" y="11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0" name="Freeform: Shape 58"/>
            <p:cNvSpPr/>
            <p:nvPr/>
          </p:nvSpPr>
          <p:spPr>
            <a:xfrm>
              <a:off x="5998781" y="1627666"/>
              <a:ext cx="83996" cy="59064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1" h="1548" fill="none">
                  <a:moveTo>
                    <a:pt x="0" y="1421"/>
                  </a:moveTo>
                  <a:lnTo>
                    <a:pt x="0" y="0"/>
                  </a:lnTo>
                  <a:lnTo>
                    <a:pt x="221" y="0"/>
                  </a:lnTo>
                  <a:lnTo>
                    <a:pt x="221" y="154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1" name="Freeform: Shape 59"/>
            <p:cNvSpPr/>
            <p:nvPr/>
          </p:nvSpPr>
          <p:spPr>
            <a:xfrm>
              <a:off x="6051086" y="1503962"/>
              <a:ext cx="285969" cy="73343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50" h="1922" fill="none">
                  <a:moveTo>
                    <a:pt x="0" y="1839"/>
                  </a:moveTo>
                  <a:lnTo>
                    <a:pt x="0" y="0"/>
                  </a:lnTo>
                  <a:lnTo>
                    <a:pt x="276" y="0"/>
                  </a:lnTo>
                  <a:lnTo>
                    <a:pt x="276" y="1922"/>
                  </a:lnTo>
                  <a:lnTo>
                    <a:pt x="750" y="1922"/>
                  </a:lnTo>
                  <a:lnTo>
                    <a:pt x="550" y="1831"/>
                  </a:lnTo>
                  <a:lnTo>
                    <a:pt x="407" y="183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2" name="Freeform: Shape 60"/>
            <p:cNvSpPr/>
            <p:nvPr/>
          </p:nvSpPr>
          <p:spPr>
            <a:xfrm>
              <a:off x="6083159" y="1555888"/>
              <a:ext cx="104995" cy="66242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6" h="1736" fill="none">
                  <a:moveTo>
                    <a:pt x="276" y="1736"/>
                  </a:moveTo>
                  <a:lnTo>
                    <a:pt x="276" y="0"/>
                  </a:lnTo>
                  <a:lnTo>
                    <a:pt x="0" y="0"/>
                  </a:lnTo>
                  <a:lnTo>
                    <a:pt x="0" y="19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3" name="Straight Connector 72"/>
            <p:cNvSpPr/>
            <p:nvPr/>
          </p:nvSpPr>
          <p:spPr>
            <a:xfrm>
              <a:off x="6210680" y="1979305"/>
              <a:ext cx="3054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4" name="Straight Connector 73"/>
            <p:cNvSpPr/>
            <p:nvPr/>
          </p:nvSpPr>
          <p:spPr>
            <a:xfrm>
              <a:off x="6224043" y="2021303"/>
              <a:ext cx="0" cy="2138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5" name="Freeform: Shape 63"/>
            <p:cNvSpPr/>
            <p:nvPr/>
          </p:nvSpPr>
          <p:spPr>
            <a:xfrm>
              <a:off x="6261078" y="1471892"/>
              <a:ext cx="76360" cy="73076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1" h="1915" fill="none">
                  <a:moveTo>
                    <a:pt x="0" y="1915"/>
                  </a:moveTo>
                  <a:lnTo>
                    <a:pt x="0" y="617"/>
                  </a:lnTo>
                  <a:lnTo>
                    <a:pt x="201" y="474"/>
                  </a:lnTo>
                  <a:lnTo>
                    <a:pt x="95" y="474"/>
                  </a:lnTo>
                  <a:lnTo>
                    <a:pt x="95" y="0"/>
                  </a:lnTo>
                  <a:lnTo>
                    <a:pt x="20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6" name="Freeform: Shape 64"/>
            <p:cNvSpPr/>
            <p:nvPr/>
          </p:nvSpPr>
          <p:spPr>
            <a:xfrm>
              <a:off x="6337819" y="1130562"/>
              <a:ext cx="112249" cy="115380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5" h="3023" fill="none">
                  <a:moveTo>
                    <a:pt x="0" y="3023"/>
                  </a:moveTo>
                  <a:lnTo>
                    <a:pt x="0" y="503"/>
                  </a:lnTo>
                  <a:lnTo>
                    <a:pt x="198" y="306"/>
                  </a:lnTo>
                  <a:lnTo>
                    <a:pt x="198" y="0"/>
                  </a:lnTo>
                  <a:lnTo>
                    <a:pt x="295" y="190"/>
                  </a:lnTo>
                  <a:lnTo>
                    <a:pt x="295" y="89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7" name="Straight Connector 76"/>
            <p:cNvSpPr/>
            <p:nvPr/>
          </p:nvSpPr>
          <p:spPr>
            <a:xfrm>
              <a:off x="6359582" y="1332153"/>
              <a:ext cx="0" cy="95335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8" name="Freeform: Shape 66"/>
            <p:cNvSpPr/>
            <p:nvPr/>
          </p:nvSpPr>
          <p:spPr>
            <a:xfrm>
              <a:off x="6337819" y="1413858"/>
              <a:ext cx="161883" cy="87126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5" h="2283" fill="none">
                  <a:moveTo>
                    <a:pt x="0" y="2283"/>
                  </a:moveTo>
                  <a:lnTo>
                    <a:pt x="138" y="2283"/>
                  </a:lnTo>
                  <a:lnTo>
                    <a:pt x="138" y="356"/>
                  </a:lnTo>
                  <a:lnTo>
                    <a:pt x="425" y="70"/>
                  </a:lnTo>
                  <a:lnTo>
                    <a:pt x="295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9" name="Freeform: Shape 67"/>
            <p:cNvSpPr/>
            <p:nvPr/>
          </p:nvSpPr>
          <p:spPr>
            <a:xfrm>
              <a:off x="6450449" y="1387132"/>
              <a:ext cx="113395" cy="73114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916" fill="none">
                  <a:moveTo>
                    <a:pt x="0" y="0"/>
                  </a:moveTo>
                  <a:lnTo>
                    <a:pt x="200" y="106"/>
                  </a:lnTo>
                  <a:lnTo>
                    <a:pt x="200" y="1916"/>
                  </a:lnTo>
                  <a:lnTo>
                    <a:pt x="298" y="1916"/>
                  </a:lnTo>
                  <a:lnTo>
                    <a:pt x="298" y="654"/>
                  </a:lnTo>
                  <a:lnTo>
                    <a:pt x="207" y="58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0" name="Straight Connector 79"/>
            <p:cNvSpPr/>
            <p:nvPr/>
          </p:nvSpPr>
          <p:spPr>
            <a:xfrm>
              <a:off x="6492449" y="1513126"/>
              <a:ext cx="0" cy="5853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1" name="Freeform: Shape 69"/>
            <p:cNvSpPr/>
            <p:nvPr/>
          </p:nvSpPr>
          <p:spPr>
            <a:xfrm>
              <a:off x="6447777" y="2136225"/>
              <a:ext cx="400127" cy="14661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49" h="385" fill="none">
                  <a:moveTo>
                    <a:pt x="0" y="385"/>
                  </a:moveTo>
                  <a:lnTo>
                    <a:pt x="0" y="0"/>
                  </a:lnTo>
                  <a:lnTo>
                    <a:pt x="437" y="0"/>
                  </a:lnTo>
                  <a:lnTo>
                    <a:pt x="437" y="335"/>
                  </a:lnTo>
                  <a:lnTo>
                    <a:pt x="512" y="335"/>
                  </a:lnTo>
                  <a:lnTo>
                    <a:pt x="512" y="0"/>
                  </a:lnTo>
                  <a:lnTo>
                    <a:pt x="793" y="0"/>
                  </a:lnTo>
                  <a:lnTo>
                    <a:pt x="793" y="344"/>
                  </a:lnTo>
                  <a:lnTo>
                    <a:pt x="1049" y="34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2" name="Straight Connector 81"/>
            <p:cNvSpPr/>
            <p:nvPr/>
          </p:nvSpPr>
          <p:spPr>
            <a:xfrm>
              <a:off x="6323311" y="2317198"/>
              <a:ext cx="19662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3" name="Straight Connector 82"/>
            <p:cNvSpPr/>
            <p:nvPr/>
          </p:nvSpPr>
          <p:spPr>
            <a:xfrm>
              <a:off x="6304985" y="2329797"/>
              <a:ext cx="0" cy="5994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4" name="Straight Connector 83"/>
            <p:cNvSpPr/>
            <p:nvPr/>
          </p:nvSpPr>
          <p:spPr>
            <a:xfrm>
              <a:off x="6579880" y="1944179"/>
              <a:ext cx="794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5" name="Straight Connector 84"/>
            <p:cNvSpPr/>
            <p:nvPr/>
          </p:nvSpPr>
          <p:spPr>
            <a:xfrm>
              <a:off x="6602406" y="1886909"/>
              <a:ext cx="0" cy="5727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6" name="Straight Connector 85"/>
            <p:cNvSpPr/>
            <p:nvPr/>
          </p:nvSpPr>
          <p:spPr>
            <a:xfrm>
              <a:off x="6626461" y="1886909"/>
              <a:ext cx="0" cy="5727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" name="Freeform: Shape 75"/>
            <p:cNvSpPr/>
            <p:nvPr/>
          </p:nvSpPr>
          <p:spPr>
            <a:xfrm>
              <a:off x="6602406" y="2021303"/>
              <a:ext cx="40471" cy="9125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7" h="240">
                  <a:moveTo>
                    <a:pt x="54" y="240"/>
                  </a:moveTo>
                  <a:lnTo>
                    <a:pt x="0" y="240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2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8" name="Freeform: Shape 76"/>
            <p:cNvSpPr/>
            <p:nvPr/>
          </p:nvSpPr>
          <p:spPr>
            <a:xfrm>
              <a:off x="6487102" y="2255346"/>
              <a:ext cx="77124" cy="3168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3" h="84">
                  <a:moveTo>
                    <a:pt x="101" y="84"/>
                  </a:moveTo>
                  <a:lnTo>
                    <a:pt x="0" y="84"/>
                  </a:lnTo>
                  <a:lnTo>
                    <a:pt x="0" y="0"/>
                  </a:lnTo>
                  <a:lnTo>
                    <a:pt x="203" y="0"/>
                  </a:lnTo>
                  <a:lnTo>
                    <a:pt x="203" y="8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9" name="Freeform: Shape 77"/>
            <p:cNvSpPr/>
            <p:nvPr/>
          </p:nvSpPr>
          <p:spPr>
            <a:xfrm>
              <a:off x="6636006" y="2283218"/>
              <a:ext cx="179064" cy="4428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70" h="117">
                  <a:moveTo>
                    <a:pt x="235" y="117"/>
                  </a:moveTo>
                  <a:lnTo>
                    <a:pt x="0" y="117"/>
                  </a:lnTo>
                  <a:lnTo>
                    <a:pt x="0" y="0"/>
                  </a:lnTo>
                  <a:lnTo>
                    <a:pt x="470" y="0"/>
                  </a:lnTo>
                  <a:lnTo>
                    <a:pt x="470" y="11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0" name="Freeform: Shape 78"/>
            <p:cNvSpPr/>
            <p:nvPr/>
          </p:nvSpPr>
          <p:spPr>
            <a:xfrm>
              <a:off x="6282840" y="2106062"/>
              <a:ext cx="54597" cy="9048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4" h="238" fill="none">
                  <a:moveTo>
                    <a:pt x="144" y="238"/>
                  </a:moveTo>
                  <a:lnTo>
                    <a:pt x="0" y="238"/>
                  </a:lnTo>
                  <a:lnTo>
                    <a:pt x="0" y="0"/>
                  </a:lnTo>
                  <a:lnTo>
                    <a:pt x="144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1" name="Straight Connector 90"/>
            <p:cNvSpPr/>
            <p:nvPr/>
          </p:nvSpPr>
          <p:spPr>
            <a:xfrm>
              <a:off x="6277113" y="1714717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2" name="Straight Connector 91"/>
            <p:cNvSpPr/>
            <p:nvPr/>
          </p:nvSpPr>
          <p:spPr>
            <a:xfrm>
              <a:off x="6277113" y="1745261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3" name="Straight Connector 92"/>
            <p:cNvSpPr/>
            <p:nvPr/>
          </p:nvSpPr>
          <p:spPr>
            <a:xfrm>
              <a:off x="6277113" y="1775805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4" name="Straight Connector 93"/>
            <p:cNvSpPr/>
            <p:nvPr/>
          </p:nvSpPr>
          <p:spPr>
            <a:xfrm>
              <a:off x="6277113" y="1805967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5" name="Straight Connector 94"/>
            <p:cNvSpPr/>
            <p:nvPr/>
          </p:nvSpPr>
          <p:spPr>
            <a:xfrm>
              <a:off x="6277113" y="1836511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6" name="Straight Connector 95"/>
            <p:cNvSpPr/>
            <p:nvPr/>
          </p:nvSpPr>
          <p:spPr>
            <a:xfrm>
              <a:off x="6277113" y="1867055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7" name="Straight Connector 96"/>
            <p:cNvSpPr/>
            <p:nvPr/>
          </p:nvSpPr>
          <p:spPr>
            <a:xfrm>
              <a:off x="6277113" y="1897599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8" name="Straight Connector 97"/>
            <p:cNvSpPr/>
            <p:nvPr/>
          </p:nvSpPr>
          <p:spPr>
            <a:xfrm>
              <a:off x="6277113" y="1928143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9" name="Straight Connector 98"/>
            <p:cNvSpPr/>
            <p:nvPr/>
          </p:nvSpPr>
          <p:spPr>
            <a:xfrm>
              <a:off x="6277113" y="1958687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0" name="Straight Connector 99"/>
            <p:cNvSpPr/>
            <p:nvPr/>
          </p:nvSpPr>
          <p:spPr>
            <a:xfrm>
              <a:off x="6277113" y="1989613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1" name="Straight Connector 100"/>
            <p:cNvSpPr/>
            <p:nvPr/>
          </p:nvSpPr>
          <p:spPr>
            <a:xfrm>
              <a:off x="6277113" y="2019775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2" name="Straight Connector 101"/>
            <p:cNvSpPr/>
            <p:nvPr/>
          </p:nvSpPr>
          <p:spPr>
            <a:xfrm>
              <a:off x="6277113" y="2050319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3" name="Straight Connector 102"/>
            <p:cNvSpPr/>
            <p:nvPr/>
          </p:nvSpPr>
          <p:spPr>
            <a:xfrm>
              <a:off x="6529483" y="1636830"/>
              <a:ext cx="3474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4" name="Straight Connector 103"/>
            <p:cNvSpPr/>
            <p:nvPr/>
          </p:nvSpPr>
          <p:spPr>
            <a:xfrm>
              <a:off x="6736801" y="2353469"/>
              <a:ext cx="22029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5" name="Straight Connector 104"/>
            <p:cNvSpPr/>
            <p:nvPr/>
          </p:nvSpPr>
          <p:spPr>
            <a:xfrm>
              <a:off x="6880358" y="2279400"/>
              <a:ext cx="26573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6" name="Freeform: Shape 94"/>
            <p:cNvSpPr/>
            <p:nvPr/>
          </p:nvSpPr>
          <p:spPr>
            <a:xfrm>
              <a:off x="6659295" y="1445929"/>
              <a:ext cx="302768" cy="78536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4" h="2058">
                  <a:moveTo>
                    <a:pt x="0" y="1774"/>
                  </a:moveTo>
                  <a:lnTo>
                    <a:pt x="0" y="0"/>
                  </a:lnTo>
                  <a:lnTo>
                    <a:pt x="541" y="0"/>
                  </a:lnTo>
                  <a:lnTo>
                    <a:pt x="794" y="1518"/>
                  </a:lnTo>
                  <a:lnTo>
                    <a:pt x="655" y="1518"/>
                  </a:lnTo>
                  <a:lnTo>
                    <a:pt x="655" y="1746"/>
                  </a:lnTo>
                  <a:lnTo>
                    <a:pt x="541" y="1746"/>
                  </a:lnTo>
                  <a:lnTo>
                    <a:pt x="541" y="2058"/>
                  </a:lnTo>
                  <a:lnTo>
                    <a:pt x="456" y="2058"/>
                  </a:lnTo>
                  <a:lnTo>
                    <a:pt x="158" y="78"/>
                  </a:lnTo>
                  <a:lnTo>
                    <a:pt x="77" y="78"/>
                  </a:lnTo>
                  <a:lnTo>
                    <a:pt x="77" y="177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7" name="Freeform: Shape 95"/>
            <p:cNvSpPr/>
            <p:nvPr/>
          </p:nvSpPr>
          <p:spPr>
            <a:xfrm>
              <a:off x="6926937" y="2010994"/>
              <a:ext cx="335603" cy="2256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0" h="592" fill="none">
                  <a:moveTo>
                    <a:pt x="0" y="85"/>
                  </a:moveTo>
                  <a:lnTo>
                    <a:pt x="275" y="85"/>
                  </a:lnTo>
                  <a:lnTo>
                    <a:pt x="275" y="0"/>
                  </a:lnTo>
                  <a:lnTo>
                    <a:pt x="412" y="0"/>
                  </a:lnTo>
                  <a:lnTo>
                    <a:pt x="412" y="209"/>
                  </a:lnTo>
                  <a:lnTo>
                    <a:pt x="582" y="209"/>
                  </a:lnTo>
                  <a:lnTo>
                    <a:pt x="582" y="592"/>
                  </a:lnTo>
                  <a:lnTo>
                    <a:pt x="880" y="59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8" name="Straight Connector 107"/>
            <p:cNvSpPr/>
            <p:nvPr/>
          </p:nvSpPr>
          <p:spPr>
            <a:xfrm>
              <a:off x="7010934" y="2337815"/>
              <a:ext cx="54826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9" name="Freeform: Shape 97"/>
            <p:cNvSpPr/>
            <p:nvPr/>
          </p:nvSpPr>
          <p:spPr>
            <a:xfrm>
              <a:off x="6930755" y="2066355"/>
              <a:ext cx="57270" cy="1867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490">
                  <a:moveTo>
                    <a:pt x="76" y="490"/>
                  </a:moveTo>
                  <a:lnTo>
                    <a:pt x="0" y="490"/>
                  </a:lnTo>
                  <a:lnTo>
                    <a:pt x="0" y="0"/>
                  </a:lnTo>
                  <a:lnTo>
                    <a:pt x="151" y="0"/>
                  </a:lnTo>
                  <a:lnTo>
                    <a:pt x="151" y="49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0" name="Freeform: Shape 98"/>
            <p:cNvSpPr/>
            <p:nvPr/>
          </p:nvSpPr>
          <p:spPr>
            <a:xfrm>
              <a:off x="7018570" y="2194640"/>
              <a:ext cx="111104" cy="2596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2" h="69">
                  <a:moveTo>
                    <a:pt x="146" y="69"/>
                  </a:moveTo>
                  <a:lnTo>
                    <a:pt x="0" y="69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292" y="6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1" name="Straight Connector 110"/>
            <p:cNvSpPr/>
            <p:nvPr/>
          </p:nvSpPr>
          <p:spPr>
            <a:xfrm>
              <a:off x="6957099" y="1882326"/>
              <a:ext cx="0" cy="332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2" name="Freeform: Shape 100"/>
            <p:cNvSpPr/>
            <p:nvPr/>
          </p:nvSpPr>
          <p:spPr>
            <a:xfrm>
              <a:off x="6977334" y="1437912"/>
              <a:ext cx="255043" cy="73611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69" h="1929">
                  <a:moveTo>
                    <a:pt x="4" y="1419"/>
                  </a:moveTo>
                  <a:cubicBezTo>
                    <a:pt x="4" y="1419"/>
                    <a:pt x="-63" y="664"/>
                    <a:pt x="337" y="0"/>
                  </a:cubicBezTo>
                  <a:cubicBezTo>
                    <a:pt x="337" y="0"/>
                    <a:pt x="845" y="812"/>
                    <a:pt x="603" y="192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3" name="Freeform: Shape 101"/>
            <p:cNvSpPr/>
            <p:nvPr/>
          </p:nvSpPr>
          <p:spPr>
            <a:xfrm>
              <a:off x="7071639" y="1514654"/>
              <a:ext cx="105377" cy="12179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7" h="320">
                  <a:moveTo>
                    <a:pt x="0" y="0"/>
                  </a:moveTo>
                  <a:cubicBezTo>
                    <a:pt x="0" y="0"/>
                    <a:pt x="103" y="215"/>
                    <a:pt x="277" y="32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4" name="Freeform: Shape 102"/>
            <p:cNvSpPr/>
            <p:nvPr/>
          </p:nvSpPr>
          <p:spPr>
            <a:xfrm>
              <a:off x="7054077" y="1597504"/>
              <a:ext cx="134776" cy="152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0" y="0"/>
                  </a:moveTo>
                  <a:cubicBezTo>
                    <a:pt x="0" y="0"/>
                    <a:pt x="132" y="269"/>
                    <a:pt x="354" y="40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5" name="Freeform: Shape 103"/>
            <p:cNvSpPr/>
            <p:nvPr/>
          </p:nvSpPr>
          <p:spPr>
            <a:xfrm>
              <a:off x="7036514" y="1681118"/>
              <a:ext cx="158447" cy="17868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0" y="0"/>
                  </a:moveTo>
                  <a:cubicBezTo>
                    <a:pt x="0" y="0"/>
                    <a:pt x="155" y="315"/>
                    <a:pt x="416" y="46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6" name="Freeform: Shape 104"/>
            <p:cNvSpPr/>
            <p:nvPr/>
          </p:nvSpPr>
          <p:spPr>
            <a:xfrm>
              <a:off x="7018570" y="1763206"/>
              <a:ext cx="185937" cy="20693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8" h="543">
                  <a:moveTo>
                    <a:pt x="0" y="0"/>
                  </a:moveTo>
                  <a:cubicBezTo>
                    <a:pt x="0" y="0"/>
                    <a:pt x="181" y="365"/>
                    <a:pt x="488" y="5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7" name="Freeform: Shape 105"/>
            <p:cNvSpPr/>
            <p:nvPr/>
          </p:nvSpPr>
          <p:spPr>
            <a:xfrm>
              <a:off x="7001007" y="1847583"/>
              <a:ext cx="206172" cy="23098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41" h="606">
                  <a:moveTo>
                    <a:pt x="0" y="0"/>
                  </a:moveTo>
                  <a:cubicBezTo>
                    <a:pt x="0" y="0"/>
                    <a:pt x="202" y="407"/>
                    <a:pt x="541" y="606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8" name="Freeform: Shape 106"/>
            <p:cNvSpPr/>
            <p:nvPr/>
          </p:nvSpPr>
          <p:spPr>
            <a:xfrm>
              <a:off x="7033841" y="1522290"/>
              <a:ext cx="105759" cy="12217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321">
                  <a:moveTo>
                    <a:pt x="278" y="0"/>
                  </a:moveTo>
                  <a:cubicBezTo>
                    <a:pt x="278" y="0"/>
                    <a:pt x="174" y="216"/>
                    <a:pt x="0" y="32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9" name="Freeform: Shape 107"/>
            <p:cNvSpPr/>
            <p:nvPr/>
          </p:nvSpPr>
          <p:spPr>
            <a:xfrm>
              <a:off x="7022005" y="1605140"/>
              <a:ext cx="134776" cy="152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354" y="0"/>
                  </a:moveTo>
                  <a:cubicBezTo>
                    <a:pt x="354" y="0"/>
                    <a:pt x="222" y="270"/>
                    <a:pt x="0" y="40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0" name="Freeform: Shape 108"/>
            <p:cNvSpPr/>
            <p:nvPr/>
          </p:nvSpPr>
          <p:spPr>
            <a:xfrm>
              <a:off x="7015897" y="1689135"/>
              <a:ext cx="158447" cy="17868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416" y="0"/>
                  </a:moveTo>
                  <a:cubicBezTo>
                    <a:pt x="416" y="0"/>
                    <a:pt x="261" y="315"/>
                    <a:pt x="0" y="46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1" name="Freeform: Shape 109"/>
            <p:cNvSpPr/>
            <p:nvPr/>
          </p:nvSpPr>
          <p:spPr>
            <a:xfrm>
              <a:off x="7006733" y="1770842"/>
              <a:ext cx="185555" cy="20693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7" h="543">
                  <a:moveTo>
                    <a:pt x="487" y="0"/>
                  </a:moveTo>
                  <a:cubicBezTo>
                    <a:pt x="487" y="0"/>
                    <a:pt x="306" y="365"/>
                    <a:pt x="0" y="5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2" name="Freeform: Shape 110"/>
            <p:cNvSpPr/>
            <p:nvPr/>
          </p:nvSpPr>
          <p:spPr>
            <a:xfrm>
              <a:off x="7097983" y="1855601"/>
              <a:ext cx="111868" cy="15577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4" h="409">
                  <a:moveTo>
                    <a:pt x="294" y="0"/>
                  </a:moveTo>
                  <a:cubicBezTo>
                    <a:pt x="294" y="0"/>
                    <a:pt x="188" y="215"/>
                    <a:pt x="0" y="40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3" name="Freeform: Shape 111"/>
            <p:cNvSpPr/>
            <p:nvPr/>
          </p:nvSpPr>
          <p:spPr>
            <a:xfrm>
              <a:off x="7289647" y="1637211"/>
              <a:ext cx="247407" cy="59102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49" h="1549">
                  <a:moveTo>
                    <a:pt x="67" y="1549"/>
                  </a:moveTo>
                  <a:cubicBezTo>
                    <a:pt x="67" y="1549"/>
                    <a:pt x="-71" y="262"/>
                    <a:pt x="48" y="48"/>
                  </a:cubicBezTo>
                  <a:cubicBezTo>
                    <a:pt x="48" y="48"/>
                    <a:pt x="366" y="-69"/>
                    <a:pt x="605" y="61"/>
                  </a:cubicBezTo>
                  <a:cubicBezTo>
                    <a:pt x="605" y="61"/>
                    <a:pt x="723" y="431"/>
                    <a:pt x="573" y="1548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4" name="Freeform: Shape 112"/>
            <p:cNvSpPr/>
            <p:nvPr/>
          </p:nvSpPr>
          <p:spPr>
            <a:xfrm>
              <a:off x="7251467" y="1601322"/>
              <a:ext cx="57270" cy="62042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1626">
                  <a:moveTo>
                    <a:pt x="79" y="1626"/>
                  </a:moveTo>
                  <a:cubicBezTo>
                    <a:pt x="79" y="1626"/>
                    <a:pt x="-95" y="347"/>
                    <a:pt x="73" y="0"/>
                  </a:cubicBezTo>
                  <a:lnTo>
                    <a:pt x="151" y="11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5" name="Freeform: Shape 113"/>
            <p:cNvSpPr/>
            <p:nvPr/>
          </p:nvSpPr>
          <p:spPr>
            <a:xfrm>
              <a:off x="7288120" y="1574214"/>
              <a:ext cx="267642" cy="54253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2" h="1422">
                  <a:moveTo>
                    <a:pt x="0" y="47"/>
                  </a:moveTo>
                  <a:cubicBezTo>
                    <a:pt x="0" y="47"/>
                    <a:pt x="380" y="-73"/>
                    <a:pt x="608" y="71"/>
                  </a:cubicBezTo>
                  <a:cubicBezTo>
                    <a:pt x="608" y="71"/>
                    <a:pt x="782" y="185"/>
                    <a:pt x="657" y="142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6" name="Straight Connector 125"/>
            <p:cNvSpPr/>
            <p:nvPr/>
          </p:nvSpPr>
          <p:spPr>
            <a:xfrm flipV="1">
              <a:off x="7315227" y="1687991"/>
              <a:ext cx="200064" cy="114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7" name="Straight Connector 126"/>
            <p:cNvSpPr/>
            <p:nvPr/>
          </p:nvSpPr>
          <p:spPr>
            <a:xfrm flipV="1">
              <a:off x="7316756" y="1717390"/>
              <a:ext cx="197009" cy="76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8" name="Straight Connector 127"/>
            <p:cNvSpPr/>
            <p:nvPr/>
          </p:nvSpPr>
          <p:spPr>
            <a:xfrm flipV="1">
              <a:off x="7318665" y="1746788"/>
              <a:ext cx="193573" cy="76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9" name="Straight Connector 128"/>
            <p:cNvSpPr/>
            <p:nvPr/>
          </p:nvSpPr>
          <p:spPr>
            <a:xfrm flipV="1">
              <a:off x="7320574" y="1776187"/>
              <a:ext cx="190137" cy="76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0" name="Straight Connector 129"/>
            <p:cNvSpPr/>
            <p:nvPr/>
          </p:nvSpPr>
          <p:spPr>
            <a:xfrm flipV="1">
              <a:off x="7322483" y="1805204"/>
              <a:ext cx="187082" cy="76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1" name="Straight Connector 130"/>
            <p:cNvSpPr/>
            <p:nvPr/>
          </p:nvSpPr>
          <p:spPr>
            <a:xfrm flipV="1">
              <a:off x="7324392" y="1834602"/>
              <a:ext cx="183646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2" name="Straight Connector 131"/>
            <p:cNvSpPr/>
            <p:nvPr/>
          </p:nvSpPr>
          <p:spPr>
            <a:xfrm flipV="1">
              <a:off x="7326301" y="1864001"/>
              <a:ext cx="180592" cy="76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3" name="Straight Connector 132"/>
            <p:cNvSpPr/>
            <p:nvPr/>
          </p:nvSpPr>
          <p:spPr>
            <a:xfrm flipV="1">
              <a:off x="7328210" y="1893400"/>
              <a:ext cx="176774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4" name="Straight Connector 133"/>
            <p:cNvSpPr/>
            <p:nvPr/>
          </p:nvSpPr>
          <p:spPr>
            <a:xfrm flipV="1">
              <a:off x="7329736" y="1922797"/>
              <a:ext cx="173719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5" name="Straight Connector 134"/>
            <p:cNvSpPr/>
            <p:nvPr/>
          </p:nvSpPr>
          <p:spPr>
            <a:xfrm flipV="1">
              <a:off x="7331645" y="1952197"/>
              <a:ext cx="170665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6" name="Straight Connector 135"/>
            <p:cNvSpPr/>
            <p:nvPr/>
          </p:nvSpPr>
          <p:spPr>
            <a:xfrm flipV="1">
              <a:off x="7333554" y="1981595"/>
              <a:ext cx="167230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7" name="Straight Connector 136"/>
            <p:cNvSpPr/>
            <p:nvPr/>
          </p:nvSpPr>
          <p:spPr>
            <a:xfrm>
              <a:off x="7335463" y="2010994"/>
              <a:ext cx="16417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8" name="Straight Connector 137"/>
            <p:cNvSpPr/>
            <p:nvPr/>
          </p:nvSpPr>
          <p:spPr>
            <a:xfrm flipV="1">
              <a:off x="7337372" y="2040392"/>
              <a:ext cx="160739" cy="38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9" name="Straight Connector 138"/>
            <p:cNvSpPr/>
            <p:nvPr/>
          </p:nvSpPr>
          <p:spPr>
            <a:xfrm>
              <a:off x="7339281" y="2069791"/>
              <a:ext cx="15730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0" name="Straight Connector 139"/>
            <p:cNvSpPr/>
            <p:nvPr/>
          </p:nvSpPr>
          <p:spPr>
            <a:xfrm>
              <a:off x="7340809" y="2099190"/>
              <a:ext cx="15424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1" name="Straight Connector 140"/>
            <p:cNvSpPr/>
            <p:nvPr/>
          </p:nvSpPr>
          <p:spPr>
            <a:xfrm>
              <a:off x="7342718" y="2128589"/>
              <a:ext cx="15119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2" name="Straight Connector 141"/>
            <p:cNvSpPr/>
            <p:nvPr/>
          </p:nvSpPr>
          <p:spPr>
            <a:xfrm>
              <a:off x="7344627" y="2157987"/>
              <a:ext cx="14775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3" name="Straight Connector 142"/>
            <p:cNvSpPr/>
            <p:nvPr/>
          </p:nvSpPr>
          <p:spPr>
            <a:xfrm>
              <a:off x="7346536" y="2187386"/>
              <a:ext cx="144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4" name="Straight Connector 143"/>
            <p:cNvSpPr/>
            <p:nvPr/>
          </p:nvSpPr>
          <p:spPr>
            <a:xfrm>
              <a:off x="7348062" y="2216784"/>
              <a:ext cx="14126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5" name="Straight Connector 144"/>
            <p:cNvSpPr/>
            <p:nvPr/>
          </p:nvSpPr>
          <p:spPr>
            <a:xfrm>
              <a:off x="7223977" y="2077809"/>
              <a:ext cx="416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6" name="Straight Connector 145"/>
            <p:cNvSpPr/>
            <p:nvPr/>
          </p:nvSpPr>
          <p:spPr>
            <a:xfrm>
              <a:off x="7242686" y="2133552"/>
              <a:ext cx="0" cy="6108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7" name="Straight Connector 146"/>
            <p:cNvSpPr/>
            <p:nvPr/>
          </p:nvSpPr>
          <p:spPr>
            <a:xfrm>
              <a:off x="7303775" y="2253437"/>
              <a:ext cx="1630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8" name="Straight Connector 147"/>
            <p:cNvSpPr/>
            <p:nvPr/>
          </p:nvSpPr>
          <p:spPr>
            <a:xfrm>
              <a:off x="7519110" y="2275964"/>
              <a:ext cx="496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9" name="Straight Connector 148"/>
            <p:cNvSpPr/>
            <p:nvPr/>
          </p:nvSpPr>
          <p:spPr>
            <a:xfrm>
              <a:off x="7666103" y="2284745"/>
              <a:ext cx="0" cy="8743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0" name="Straight Connector 149"/>
            <p:cNvSpPr/>
            <p:nvPr/>
          </p:nvSpPr>
          <p:spPr>
            <a:xfrm>
              <a:off x="7735973" y="2322543"/>
              <a:ext cx="6948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1" name="Straight Connector 150"/>
            <p:cNvSpPr/>
            <p:nvPr/>
          </p:nvSpPr>
          <p:spPr>
            <a:xfrm>
              <a:off x="7741318" y="2358432"/>
              <a:ext cx="5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2" name="Straight Connector 151"/>
            <p:cNvSpPr/>
            <p:nvPr/>
          </p:nvSpPr>
          <p:spPr>
            <a:xfrm>
              <a:off x="7529036" y="2119044"/>
              <a:ext cx="931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3" name="Straight Connector 152"/>
            <p:cNvSpPr/>
            <p:nvPr/>
          </p:nvSpPr>
          <p:spPr>
            <a:xfrm>
              <a:off x="7761935" y="2115225"/>
              <a:ext cx="542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4" name="Straight Connector 153"/>
            <p:cNvSpPr/>
            <p:nvPr/>
          </p:nvSpPr>
          <p:spPr>
            <a:xfrm>
              <a:off x="7795533" y="2074372"/>
              <a:ext cx="0" cy="4085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5" name="Straight Connector 154"/>
            <p:cNvSpPr/>
            <p:nvPr/>
          </p:nvSpPr>
          <p:spPr>
            <a:xfrm>
              <a:off x="7808515" y="2194640"/>
              <a:ext cx="0" cy="7368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6" name="Straight Connector 155"/>
            <p:cNvSpPr/>
            <p:nvPr/>
          </p:nvSpPr>
          <p:spPr>
            <a:xfrm>
              <a:off x="7606923" y="2040392"/>
              <a:ext cx="0" cy="5154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7" name="Straight Connector 156"/>
            <p:cNvSpPr/>
            <p:nvPr/>
          </p:nvSpPr>
          <p:spPr>
            <a:xfrm>
              <a:off x="7632505" y="2040774"/>
              <a:ext cx="0" cy="511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8" name="Straight Connector 157"/>
            <p:cNvSpPr/>
            <p:nvPr/>
          </p:nvSpPr>
          <p:spPr>
            <a:xfrm>
              <a:off x="7658466" y="2040774"/>
              <a:ext cx="0" cy="511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9" name="Straight Connector 158"/>
            <p:cNvSpPr/>
            <p:nvPr/>
          </p:nvSpPr>
          <p:spPr>
            <a:xfrm>
              <a:off x="7684430" y="2040774"/>
              <a:ext cx="0" cy="511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0" name="Straight Connector 159"/>
            <p:cNvSpPr/>
            <p:nvPr/>
          </p:nvSpPr>
          <p:spPr>
            <a:xfrm>
              <a:off x="7710392" y="2041156"/>
              <a:ext cx="0" cy="5077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1" name="Straight Connector 160"/>
            <p:cNvSpPr/>
            <p:nvPr/>
          </p:nvSpPr>
          <p:spPr>
            <a:xfrm>
              <a:off x="7735973" y="2041156"/>
              <a:ext cx="0" cy="5077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2" name="Straight Connector 161"/>
            <p:cNvSpPr/>
            <p:nvPr/>
          </p:nvSpPr>
          <p:spPr>
            <a:xfrm>
              <a:off x="7761935" y="2041538"/>
              <a:ext cx="0" cy="5039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3" name="Straight Connector 162"/>
            <p:cNvSpPr/>
            <p:nvPr/>
          </p:nvSpPr>
          <p:spPr>
            <a:xfrm>
              <a:off x="7587070" y="2148060"/>
              <a:ext cx="0" cy="10003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4" name="Straight Connector 163"/>
            <p:cNvSpPr/>
            <p:nvPr/>
          </p:nvSpPr>
          <p:spPr>
            <a:xfrm>
              <a:off x="7783698" y="2148060"/>
              <a:ext cx="0" cy="10003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5" name="Straight Connector 164"/>
            <p:cNvSpPr/>
            <p:nvPr/>
          </p:nvSpPr>
          <p:spPr>
            <a:xfrm>
              <a:off x="7595852" y="2014430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6" name="Freeform: Shape 154"/>
            <p:cNvSpPr/>
            <p:nvPr/>
          </p:nvSpPr>
          <p:spPr>
            <a:xfrm>
              <a:off x="7598524" y="1885764"/>
              <a:ext cx="170665" cy="10194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48" h="268">
                  <a:moveTo>
                    <a:pt x="448" y="268"/>
                  </a:moveTo>
                  <a:lnTo>
                    <a:pt x="0" y="268"/>
                  </a:lnTo>
                  <a:cubicBezTo>
                    <a:pt x="0" y="268"/>
                    <a:pt x="60" y="0"/>
                    <a:pt x="225" y="0"/>
                  </a:cubicBezTo>
                  <a:cubicBezTo>
                    <a:pt x="390" y="0"/>
                    <a:pt x="448" y="268"/>
                    <a:pt x="448" y="26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7" name="Straight Connector 166"/>
            <p:cNvSpPr/>
            <p:nvPr/>
          </p:nvSpPr>
          <p:spPr>
            <a:xfrm>
              <a:off x="7666103" y="1861328"/>
              <a:ext cx="3703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8" name="Straight Connector 167"/>
            <p:cNvSpPr/>
            <p:nvPr/>
          </p:nvSpPr>
          <p:spPr>
            <a:xfrm>
              <a:off x="7672594" y="1837275"/>
              <a:ext cx="255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9" name="Straight Connector 168"/>
            <p:cNvSpPr/>
            <p:nvPr/>
          </p:nvSpPr>
          <p:spPr>
            <a:xfrm>
              <a:off x="7685575" y="1759006"/>
              <a:ext cx="0" cy="465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0" name="Straight Connector 169"/>
            <p:cNvSpPr/>
            <p:nvPr/>
          </p:nvSpPr>
          <p:spPr>
            <a:xfrm>
              <a:off x="7650831" y="2232820"/>
              <a:ext cx="683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1" name="Straight Connector 170"/>
            <p:cNvSpPr/>
            <p:nvPr/>
          </p:nvSpPr>
          <p:spPr>
            <a:xfrm>
              <a:off x="7854331" y="2068263"/>
              <a:ext cx="763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2" name="Straight Connector 171"/>
            <p:cNvSpPr/>
            <p:nvPr/>
          </p:nvSpPr>
          <p:spPr>
            <a:xfrm>
              <a:off x="7840204" y="1966323"/>
              <a:ext cx="0" cy="9010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3" name="Straight Connector 172"/>
            <p:cNvSpPr/>
            <p:nvPr/>
          </p:nvSpPr>
          <p:spPr>
            <a:xfrm>
              <a:off x="7940999" y="1966323"/>
              <a:ext cx="0" cy="9010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4" name="Straight Connector 173"/>
            <p:cNvSpPr/>
            <p:nvPr/>
          </p:nvSpPr>
          <p:spPr>
            <a:xfrm>
              <a:off x="7845166" y="2079718"/>
              <a:ext cx="0" cy="229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5" name="Straight Connector 174"/>
            <p:cNvSpPr/>
            <p:nvPr/>
          </p:nvSpPr>
          <p:spPr>
            <a:xfrm>
              <a:off x="7868839" y="2079718"/>
              <a:ext cx="0" cy="229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6" name="Straight Connector 175"/>
            <p:cNvSpPr/>
            <p:nvPr/>
          </p:nvSpPr>
          <p:spPr>
            <a:xfrm>
              <a:off x="7892129" y="2079718"/>
              <a:ext cx="0" cy="229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7" name="Straight Connector 176"/>
            <p:cNvSpPr/>
            <p:nvPr/>
          </p:nvSpPr>
          <p:spPr>
            <a:xfrm>
              <a:off x="7915419" y="2079718"/>
              <a:ext cx="0" cy="229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8" name="Straight Connector 177"/>
            <p:cNvSpPr/>
            <p:nvPr/>
          </p:nvSpPr>
          <p:spPr>
            <a:xfrm>
              <a:off x="7938709" y="2079718"/>
              <a:ext cx="0" cy="229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9" name="Freeform: Shape 167"/>
            <p:cNvSpPr/>
            <p:nvPr/>
          </p:nvSpPr>
          <p:spPr>
            <a:xfrm>
              <a:off x="7836386" y="1858274"/>
              <a:ext cx="105759" cy="9086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239" fill="none">
                  <a:moveTo>
                    <a:pt x="0" y="239"/>
                  </a:moveTo>
                  <a:lnTo>
                    <a:pt x="72" y="123"/>
                  </a:lnTo>
                  <a:lnTo>
                    <a:pt x="72" y="0"/>
                  </a:lnTo>
                  <a:lnTo>
                    <a:pt x="204" y="0"/>
                  </a:lnTo>
                  <a:lnTo>
                    <a:pt x="204" y="119"/>
                  </a:lnTo>
                  <a:lnTo>
                    <a:pt x="278" y="2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0" name="Freeform: Shape 168"/>
            <p:cNvSpPr/>
            <p:nvPr/>
          </p:nvSpPr>
          <p:spPr>
            <a:xfrm>
              <a:off x="7867694" y="1990377"/>
              <a:ext cx="46580" cy="465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3" h="123">
                  <a:moveTo>
                    <a:pt x="123" y="61"/>
                  </a:moveTo>
                  <a:cubicBezTo>
                    <a:pt x="123" y="73"/>
                    <a:pt x="121" y="82"/>
                    <a:pt x="115" y="92"/>
                  </a:cubicBezTo>
                  <a:cubicBezTo>
                    <a:pt x="109" y="102"/>
                    <a:pt x="101" y="109"/>
                    <a:pt x="92" y="115"/>
                  </a:cubicBezTo>
                  <a:cubicBezTo>
                    <a:pt x="82" y="120"/>
                    <a:pt x="73" y="123"/>
                    <a:pt x="62" y="123"/>
                  </a:cubicBezTo>
                  <a:cubicBezTo>
                    <a:pt x="50" y="123"/>
                    <a:pt x="41" y="120"/>
                    <a:pt x="31" y="115"/>
                  </a:cubicBezTo>
                  <a:cubicBezTo>
                    <a:pt x="21" y="109"/>
                    <a:pt x="14" y="102"/>
                    <a:pt x="8" y="92"/>
                  </a:cubicBezTo>
                  <a:cubicBezTo>
                    <a:pt x="2" y="82"/>
                    <a:pt x="0" y="72"/>
                    <a:pt x="0" y="61"/>
                  </a:cubicBezTo>
                  <a:cubicBezTo>
                    <a:pt x="0" y="49"/>
                    <a:pt x="2" y="40"/>
                    <a:pt x="8" y="30"/>
                  </a:cubicBezTo>
                  <a:cubicBezTo>
                    <a:pt x="14" y="20"/>
                    <a:pt x="21" y="14"/>
                    <a:pt x="31" y="8"/>
                  </a:cubicBezTo>
                  <a:cubicBezTo>
                    <a:pt x="41" y="2"/>
                    <a:pt x="50" y="0"/>
                    <a:pt x="62" y="0"/>
                  </a:cubicBezTo>
                  <a:cubicBezTo>
                    <a:pt x="73" y="0"/>
                    <a:pt x="82" y="2"/>
                    <a:pt x="92" y="8"/>
                  </a:cubicBezTo>
                  <a:cubicBezTo>
                    <a:pt x="101" y="14"/>
                    <a:pt x="109" y="20"/>
                    <a:pt x="115" y="30"/>
                  </a:cubicBezTo>
                  <a:cubicBezTo>
                    <a:pt x="121" y="39"/>
                    <a:pt x="123" y="50"/>
                    <a:pt x="123" y="61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1" name="Straight Connector 180"/>
            <p:cNvSpPr/>
            <p:nvPr/>
          </p:nvSpPr>
          <p:spPr>
            <a:xfrm>
              <a:off x="7863112" y="1940743"/>
              <a:ext cx="538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2" name="Straight Connector 181"/>
            <p:cNvSpPr/>
            <p:nvPr/>
          </p:nvSpPr>
          <p:spPr>
            <a:xfrm>
              <a:off x="7863112" y="1959069"/>
              <a:ext cx="538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3" name="Straight Connector 182"/>
            <p:cNvSpPr/>
            <p:nvPr/>
          </p:nvSpPr>
          <p:spPr>
            <a:xfrm>
              <a:off x="7863876" y="1905235"/>
              <a:ext cx="507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4" name="Freeform: Shape 172"/>
            <p:cNvSpPr/>
            <p:nvPr/>
          </p:nvSpPr>
          <p:spPr>
            <a:xfrm>
              <a:off x="7863876" y="1818185"/>
              <a:ext cx="50016" cy="3970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2" h="105" fill="none">
                  <a:moveTo>
                    <a:pt x="0" y="105"/>
                  </a:moveTo>
                  <a:lnTo>
                    <a:pt x="67" y="0"/>
                  </a:lnTo>
                  <a:lnTo>
                    <a:pt x="132" y="10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5" name="Straight Connector 184"/>
            <p:cNvSpPr/>
            <p:nvPr/>
          </p:nvSpPr>
          <p:spPr>
            <a:xfrm>
              <a:off x="7890220" y="1873164"/>
              <a:ext cx="0" cy="217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6" name="Straight Connector 185"/>
            <p:cNvSpPr/>
            <p:nvPr/>
          </p:nvSpPr>
          <p:spPr>
            <a:xfrm flipV="1">
              <a:off x="7889456" y="1780005"/>
              <a:ext cx="0" cy="3856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7" name="Straight Connector 186"/>
            <p:cNvSpPr/>
            <p:nvPr/>
          </p:nvSpPr>
          <p:spPr>
            <a:xfrm>
              <a:off x="7983378" y="2125534"/>
              <a:ext cx="0" cy="8628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8" name="Straight Connector 187"/>
            <p:cNvSpPr/>
            <p:nvPr/>
          </p:nvSpPr>
          <p:spPr>
            <a:xfrm>
              <a:off x="7955890" y="2211821"/>
              <a:ext cx="538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9" name="Straight Connector 188"/>
            <p:cNvSpPr/>
            <p:nvPr/>
          </p:nvSpPr>
          <p:spPr>
            <a:xfrm>
              <a:off x="7879911" y="2358432"/>
              <a:ext cx="4394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0" name="Freeform: Shape 178"/>
            <p:cNvSpPr/>
            <p:nvPr/>
          </p:nvSpPr>
          <p:spPr>
            <a:xfrm>
              <a:off x="7996361" y="1052675"/>
              <a:ext cx="322621" cy="128704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46" h="3372" fill="none">
                  <a:moveTo>
                    <a:pt x="0" y="3372"/>
                  </a:moveTo>
                  <a:lnTo>
                    <a:pt x="348" y="0"/>
                  </a:lnTo>
                  <a:lnTo>
                    <a:pt x="408" y="169"/>
                  </a:lnTo>
                  <a:lnTo>
                    <a:pt x="468" y="0"/>
                  </a:lnTo>
                  <a:lnTo>
                    <a:pt x="846" y="336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1" name="Straight Connector 190"/>
            <p:cNvSpPr/>
            <p:nvPr/>
          </p:nvSpPr>
          <p:spPr>
            <a:xfrm>
              <a:off x="8157100" y="1147741"/>
              <a:ext cx="130534" cy="118358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2" name="Straight Connector 191"/>
            <p:cNvSpPr/>
            <p:nvPr/>
          </p:nvSpPr>
          <p:spPr>
            <a:xfrm>
              <a:off x="8301037" y="2174023"/>
              <a:ext cx="12866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3" name="Straight Connector 192"/>
            <p:cNvSpPr/>
            <p:nvPr/>
          </p:nvSpPr>
          <p:spPr>
            <a:xfrm>
              <a:off x="8352962" y="2248474"/>
              <a:ext cx="0" cy="11797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4" name="Straight Connector 193"/>
            <p:cNvSpPr/>
            <p:nvPr/>
          </p:nvSpPr>
          <p:spPr>
            <a:xfrm>
              <a:off x="9072656" y="2248474"/>
              <a:ext cx="0" cy="11797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5" name="Straight Connector 194"/>
            <p:cNvSpPr/>
            <p:nvPr/>
          </p:nvSpPr>
          <p:spPr>
            <a:xfrm>
              <a:off x="8526300" y="2358432"/>
              <a:ext cx="26611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6" name="Straight Connector 195"/>
            <p:cNvSpPr/>
            <p:nvPr/>
          </p:nvSpPr>
          <p:spPr>
            <a:xfrm>
              <a:off x="8577843" y="2389740"/>
              <a:ext cx="771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7" name="Straight Connector 196"/>
            <p:cNvSpPr/>
            <p:nvPr/>
          </p:nvSpPr>
          <p:spPr>
            <a:xfrm>
              <a:off x="8315164" y="2014812"/>
              <a:ext cx="67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8" name="Straight Connector 197"/>
            <p:cNvSpPr/>
            <p:nvPr/>
          </p:nvSpPr>
          <p:spPr>
            <a:xfrm>
              <a:off x="8476284" y="2014812"/>
              <a:ext cx="14966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9" name="Straight Connector 198"/>
            <p:cNvSpPr/>
            <p:nvPr/>
          </p:nvSpPr>
          <p:spPr>
            <a:xfrm>
              <a:off x="8385797" y="1918598"/>
              <a:ext cx="0" cy="20044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0" name="Freeform: Shape 188"/>
            <p:cNvSpPr/>
            <p:nvPr/>
          </p:nvSpPr>
          <p:spPr>
            <a:xfrm>
              <a:off x="8476284" y="1918598"/>
              <a:ext cx="353929" cy="32605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8" h="855" fill="none">
                  <a:moveTo>
                    <a:pt x="0" y="0"/>
                  </a:moveTo>
                  <a:lnTo>
                    <a:pt x="0" y="855"/>
                  </a:lnTo>
                  <a:lnTo>
                    <a:pt x="928" y="855"/>
                  </a:lnTo>
                  <a:lnTo>
                    <a:pt x="883" y="782"/>
                  </a:lnTo>
                  <a:lnTo>
                    <a:pt x="77" y="78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1" name="Straight Connector 200"/>
            <p:cNvSpPr/>
            <p:nvPr/>
          </p:nvSpPr>
          <p:spPr>
            <a:xfrm>
              <a:off x="8429704" y="1918598"/>
              <a:ext cx="0" cy="4467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2" name="Straight Connector 201"/>
            <p:cNvSpPr/>
            <p:nvPr/>
          </p:nvSpPr>
          <p:spPr>
            <a:xfrm>
              <a:off x="8429704" y="2011376"/>
              <a:ext cx="0" cy="1909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3" name="Straight Connector 202"/>
            <p:cNvSpPr/>
            <p:nvPr/>
          </p:nvSpPr>
          <p:spPr>
            <a:xfrm>
              <a:off x="8359835" y="1900272"/>
              <a:ext cx="14203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4" name="Freeform: Shape 192"/>
            <p:cNvSpPr/>
            <p:nvPr/>
          </p:nvSpPr>
          <p:spPr>
            <a:xfrm>
              <a:off x="8371289" y="1838420"/>
              <a:ext cx="113395" cy="4696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5" name="Straight Connector 204"/>
            <p:cNvSpPr/>
            <p:nvPr/>
          </p:nvSpPr>
          <p:spPr>
            <a:xfrm>
              <a:off x="8430849" y="1750606"/>
              <a:ext cx="0" cy="8819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7" name="Straight Connector 206"/>
            <p:cNvSpPr/>
            <p:nvPr/>
          </p:nvSpPr>
          <p:spPr>
            <a:xfrm>
              <a:off x="8629004" y="1918598"/>
              <a:ext cx="0" cy="20044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8" name="Straight Connector 207"/>
            <p:cNvSpPr/>
            <p:nvPr/>
          </p:nvSpPr>
          <p:spPr>
            <a:xfrm>
              <a:off x="8719491" y="1918598"/>
              <a:ext cx="0" cy="20044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9" name="Straight Connector 208"/>
            <p:cNvSpPr/>
            <p:nvPr/>
          </p:nvSpPr>
          <p:spPr>
            <a:xfrm>
              <a:off x="8673293" y="1918598"/>
              <a:ext cx="0" cy="4467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0" name="Straight Connector 209"/>
            <p:cNvSpPr/>
            <p:nvPr/>
          </p:nvSpPr>
          <p:spPr>
            <a:xfrm>
              <a:off x="8673293" y="2011376"/>
              <a:ext cx="0" cy="1909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1" name="Straight Connector 210"/>
            <p:cNvSpPr/>
            <p:nvPr/>
          </p:nvSpPr>
          <p:spPr>
            <a:xfrm>
              <a:off x="8603422" y="1900272"/>
              <a:ext cx="14203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2" name="Freeform: Shape 200"/>
            <p:cNvSpPr/>
            <p:nvPr/>
          </p:nvSpPr>
          <p:spPr>
            <a:xfrm>
              <a:off x="8614876" y="1838420"/>
              <a:ext cx="113395" cy="4696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3" name="Straight Connector 212"/>
            <p:cNvSpPr/>
            <p:nvPr/>
          </p:nvSpPr>
          <p:spPr>
            <a:xfrm>
              <a:off x="8674438" y="1750606"/>
              <a:ext cx="0" cy="8819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4" name="Freeform: Shape 202"/>
            <p:cNvSpPr/>
            <p:nvPr/>
          </p:nvSpPr>
          <p:spPr>
            <a:xfrm>
              <a:off x="8746217" y="2136606"/>
              <a:ext cx="45816" cy="3932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5" name="Freeform: Shape 203"/>
            <p:cNvSpPr/>
            <p:nvPr/>
          </p:nvSpPr>
          <p:spPr>
            <a:xfrm>
              <a:off x="8838612" y="2136606"/>
              <a:ext cx="45816" cy="3932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6" name="Freeform: Shape 204"/>
            <p:cNvSpPr/>
            <p:nvPr/>
          </p:nvSpPr>
          <p:spPr>
            <a:xfrm>
              <a:off x="8931008" y="2136606"/>
              <a:ext cx="45816" cy="3932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7" name="Freeform: Shape 205"/>
            <p:cNvSpPr/>
            <p:nvPr/>
          </p:nvSpPr>
          <p:spPr>
            <a:xfrm>
              <a:off x="9023403" y="2136606"/>
              <a:ext cx="45816" cy="3932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8" name="Freeform: Shape 206"/>
            <p:cNvSpPr/>
            <p:nvPr/>
          </p:nvSpPr>
          <p:spPr>
            <a:xfrm>
              <a:off x="8374725" y="2287418"/>
              <a:ext cx="200445" cy="500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9" name="Freeform: Shape 207"/>
            <p:cNvSpPr/>
            <p:nvPr/>
          </p:nvSpPr>
          <p:spPr>
            <a:xfrm>
              <a:off x="8614495" y="2287418"/>
              <a:ext cx="200063" cy="500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5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5" y="132"/>
                    <a:pt x="525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0" name="Freeform: Shape 208"/>
            <p:cNvSpPr/>
            <p:nvPr/>
          </p:nvSpPr>
          <p:spPr>
            <a:xfrm>
              <a:off x="8854266" y="2287418"/>
              <a:ext cx="200445" cy="500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3" y="0"/>
                    <a:pt x="277" y="0"/>
                  </a:cubicBezTo>
                  <a:cubicBezTo>
                    <a:pt x="491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1" name="Straight Connector 220"/>
            <p:cNvSpPr/>
            <p:nvPr/>
          </p:nvSpPr>
          <p:spPr>
            <a:xfrm>
              <a:off x="9112745" y="1956778"/>
              <a:ext cx="0" cy="5841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2" name="Straight Connector 221"/>
            <p:cNvSpPr/>
            <p:nvPr/>
          </p:nvSpPr>
          <p:spPr>
            <a:xfrm>
              <a:off x="0" y="2215257"/>
              <a:ext cx="1656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3" name="Straight Connector 222"/>
            <p:cNvSpPr/>
            <p:nvPr/>
          </p:nvSpPr>
          <p:spPr>
            <a:xfrm>
              <a:off x="53002" y="2248474"/>
              <a:ext cx="0" cy="1233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4" name="Straight Connector 223"/>
            <p:cNvSpPr/>
            <p:nvPr/>
          </p:nvSpPr>
          <p:spPr>
            <a:xfrm>
              <a:off x="201523" y="2145770"/>
              <a:ext cx="5681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5" name="Straight Connector 224"/>
            <p:cNvSpPr/>
            <p:nvPr/>
          </p:nvSpPr>
          <p:spPr>
            <a:xfrm>
              <a:off x="327899" y="2190822"/>
              <a:ext cx="30734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6" name="Straight Connector 225"/>
            <p:cNvSpPr/>
            <p:nvPr/>
          </p:nvSpPr>
          <p:spPr>
            <a:xfrm>
              <a:off x="425258" y="2233584"/>
              <a:ext cx="11301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7" name="Straight Connector 226"/>
            <p:cNvSpPr/>
            <p:nvPr/>
          </p:nvSpPr>
          <p:spPr>
            <a:xfrm>
              <a:off x="831112" y="2115988"/>
              <a:ext cx="0" cy="3474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8" name="Straight Connector 227"/>
            <p:cNvSpPr/>
            <p:nvPr/>
          </p:nvSpPr>
          <p:spPr>
            <a:xfrm>
              <a:off x="871201" y="2150733"/>
              <a:ext cx="3798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9" name="Freeform: Shape 226"/>
            <p:cNvSpPr/>
            <p:nvPr/>
          </p:nvSpPr>
          <p:spPr>
            <a:xfrm>
              <a:off x="918926" y="1782296"/>
              <a:ext cx="547883" cy="35011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36" h="918" fill="none">
                  <a:moveTo>
                    <a:pt x="0" y="918"/>
                  </a:moveTo>
                  <a:lnTo>
                    <a:pt x="718" y="0"/>
                  </a:lnTo>
                  <a:lnTo>
                    <a:pt x="1436" y="918"/>
                  </a:lnTo>
                  <a:lnTo>
                    <a:pt x="1436" y="75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0" name="Freeform: Shape 227"/>
            <p:cNvSpPr/>
            <p:nvPr/>
          </p:nvSpPr>
          <p:spPr>
            <a:xfrm>
              <a:off x="1501935" y="1459292"/>
              <a:ext cx="339039" cy="71434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9" h="1872" fill="none">
                  <a:moveTo>
                    <a:pt x="0" y="1872"/>
                  </a:moveTo>
                  <a:lnTo>
                    <a:pt x="0" y="0"/>
                  </a:lnTo>
                  <a:lnTo>
                    <a:pt x="889" y="0"/>
                  </a:lnTo>
                  <a:lnTo>
                    <a:pt x="889" y="142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1" name="Freeform: Shape 228"/>
            <p:cNvSpPr/>
            <p:nvPr/>
          </p:nvSpPr>
          <p:spPr>
            <a:xfrm>
              <a:off x="1702380" y="2028939"/>
              <a:ext cx="277951" cy="2172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29" h="570" fill="none">
                  <a:moveTo>
                    <a:pt x="0" y="570"/>
                  </a:moveTo>
                  <a:lnTo>
                    <a:pt x="0" y="0"/>
                  </a:lnTo>
                  <a:lnTo>
                    <a:pt x="729" y="0"/>
                  </a:lnTo>
                  <a:lnTo>
                    <a:pt x="729" y="56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2" name="Straight Connector 231"/>
            <p:cNvSpPr/>
            <p:nvPr/>
          </p:nvSpPr>
          <p:spPr>
            <a:xfrm>
              <a:off x="1879918" y="1983123"/>
              <a:ext cx="8437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3" name="Straight Connector 232"/>
            <p:cNvSpPr/>
            <p:nvPr/>
          </p:nvSpPr>
          <p:spPr>
            <a:xfrm>
              <a:off x="1905880" y="1931961"/>
              <a:ext cx="0" cy="2863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4" name="Straight Connector 233"/>
            <p:cNvSpPr/>
            <p:nvPr/>
          </p:nvSpPr>
          <p:spPr>
            <a:xfrm>
              <a:off x="1651219" y="1338262"/>
              <a:ext cx="423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5" name="Straight Connector 234"/>
            <p:cNvSpPr/>
            <p:nvPr/>
          </p:nvSpPr>
          <p:spPr>
            <a:xfrm>
              <a:off x="1620675" y="1375296"/>
              <a:ext cx="10308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6" name="Freeform: Shape 233"/>
            <p:cNvSpPr/>
            <p:nvPr/>
          </p:nvSpPr>
          <p:spPr>
            <a:xfrm>
              <a:off x="1597768" y="1403931"/>
              <a:ext cx="151575" cy="5497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98" h="145" fill="none">
                  <a:moveTo>
                    <a:pt x="0" y="145"/>
                  </a:moveTo>
                  <a:lnTo>
                    <a:pt x="0" y="0"/>
                  </a:lnTo>
                  <a:lnTo>
                    <a:pt x="398" y="0"/>
                  </a:lnTo>
                  <a:lnTo>
                    <a:pt x="398" y="14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7" name="Straight Connector 236"/>
            <p:cNvSpPr/>
            <p:nvPr/>
          </p:nvSpPr>
          <p:spPr>
            <a:xfrm>
              <a:off x="1588604" y="2263364"/>
              <a:ext cx="19777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8" name="Straight Connector 237"/>
            <p:cNvSpPr/>
            <p:nvPr/>
          </p:nvSpPr>
          <p:spPr>
            <a:xfrm flipV="1">
              <a:off x="1895190" y="2072081"/>
              <a:ext cx="0" cy="16799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9" name="Straight Connector 238"/>
            <p:cNvSpPr/>
            <p:nvPr/>
          </p:nvSpPr>
          <p:spPr>
            <a:xfrm flipV="1">
              <a:off x="2037983" y="1520762"/>
              <a:ext cx="0" cy="52803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0" name="Straight Connector 239"/>
            <p:cNvSpPr/>
            <p:nvPr/>
          </p:nvSpPr>
          <p:spPr>
            <a:xfrm flipV="1">
              <a:off x="2169323" y="1520762"/>
              <a:ext cx="0" cy="52803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1" name="Freeform: Shape 238"/>
            <p:cNvSpPr/>
            <p:nvPr/>
          </p:nvSpPr>
          <p:spPr>
            <a:xfrm>
              <a:off x="2044475" y="1496708"/>
              <a:ext cx="116831" cy="3588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95" fill="none">
                  <a:moveTo>
                    <a:pt x="0" y="95"/>
                  </a:moveTo>
                  <a:lnTo>
                    <a:pt x="155" y="0"/>
                  </a:lnTo>
                  <a:lnTo>
                    <a:pt x="307" y="9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2" name="Straight Connector 241"/>
            <p:cNvSpPr/>
            <p:nvPr/>
          </p:nvSpPr>
          <p:spPr>
            <a:xfrm flipV="1">
              <a:off x="2103653" y="1382169"/>
              <a:ext cx="0" cy="1145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3" name="Freeform: Shape 240"/>
            <p:cNvSpPr/>
            <p:nvPr/>
          </p:nvSpPr>
          <p:spPr>
            <a:xfrm>
              <a:off x="2074254" y="1557033"/>
              <a:ext cx="58034" cy="3207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3" h="85">
                  <a:moveTo>
                    <a:pt x="76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153" y="0"/>
                  </a:lnTo>
                  <a:lnTo>
                    <a:pt x="153" y="8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4" name="Freeform: Shape 241"/>
            <p:cNvSpPr/>
            <p:nvPr/>
          </p:nvSpPr>
          <p:spPr>
            <a:xfrm>
              <a:off x="2058982" y="1619649"/>
              <a:ext cx="87050" cy="1641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9" h="44">
                  <a:moveTo>
                    <a:pt x="115" y="44"/>
                  </a:moveTo>
                  <a:lnTo>
                    <a:pt x="0" y="44"/>
                  </a:lnTo>
                  <a:lnTo>
                    <a:pt x="0" y="0"/>
                  </a:lnTo>
                  <a:lnTo>
                    <a:pt x="229" y="0"/>
                  </a:lnTo>
                  <a:lnTo>
                    <a:pt x="229" y="4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5" name="Freeform: Shape 242"/>
            <p:cNvSpPr/>
            <p:nvPr/>
          </p:nvSpPr>
          <p:spPr>
            <a:xfrm>
              <a:off x="2055546" y="1659738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6" name="Freeform: Shape 243"/>
            <p:cNvSpPr/>
            <p:nvPr/>
          </p:nvSpPr>
          <p:spPr>
            <a:xfrm>
              <a:off x="2055546" y="1691426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7" name="Freeform: Shape 244"/>
            <p:cNvSpPr/>
            <p:nvPr/>
          </p:nvSpPr>
          <p:spPr>
            <a:xfrm>
              <a:off x="2055546" y="1722735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8" name="Freeform: Shape 245"/>
            <p:cNvSpPr/>
            <p:nvPr/>
          </p:nvSpPr>
          <p:spPr>
            <a:xfrm>
              <a:off x="2055546" y="1754041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9" name="Freeform: Shape 246"/>
            <p:cNvSpPr/>
            <p:nvPr/>
          </p:nvSpPr>
          <p:spPr>
            <a:xfrm>
              <a:off x="2055546" y="1785350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0" name="Freeform: Shape 247"/>
            <p:cNvSpPr/>
            <p:nvPr/>
          </p:nvSpPr>
          <p:spPr>
            <a:xfrm>
              <a:off x="2055546" y="1816658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1" name="Freeform: Shape 248"/>
            <p:cNvSpPr/>
            <p:nvPr/>
          </p:nvSpPr>
          <p:spPr>
            <a:xfrm>
              <a:off x="2055546" y="1847965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2" name="Freeform: Shape 249"/>
            <p:cNvSpPr/>
            <p:nvPr/>
          </p:nvSpPr>
          <p:spPr>
            <a:xfrm>
              <a:off x="2055546" y="1879655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3" name="Freeform: Shape 250"/>
            <p:cNvSpPr/>
            <p:nvPr/>
          </p:nvSpPr>
          <p:spPr>
            <a:xfrm>
              <a:off x="2055546" y="1910962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4" name="Freeform: Shape 251"/>
            <p:cNvSpPr/>
            <p:nvPr/>
          </p:nvSpPr>
          <p:spPr>
            <a:xfrm>
              <a:off x="2055546" y="1942269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5" name="Freeform: Shape 252"/>
            <p:cNvSpPr/>
            <p:nvPr/>
          </p:nvSpPr>
          <p:spPr>
            <a:xfrm>
              <a:off x="2055546" y="1973959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6" name="Freeform: Shape 253"/>
            <p:cNvSpPr/>
            <p:nvPr/>
          </p:nvSpPr>
          <p:spPr>
            <a:xfrm>
              <a:off x="2055546" y="2005649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7" name="Freeform: Shape 254"/>
            <p:cNvSpPr/>
            <p:nvPr/>
          </p:nvSpPr>
          <p:spPr>
            <a:xfrm>
              <a:off x="2055546" y="2036956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8" name="Freeform: Shape 255"/>
            <p:cNvSpPr/>
            <p:nvPr/>
          </p:nvSpPr>
          <p:spPr>
            <a:xfrm>
              <a:off x="2186122" y="1738389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9" name="Freeform: Shape 256"/>
            <p:cNvSpPr/>
            <p:nvPr/>
          </p:nvSpPr>
          <p:spPr>
            <a:xfrm>
              <a:off x="2186122" y="1759769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0" name="Freeform: Shape 257"/>
            <p:cNvSpPr/>
            <p:nvPr/>
          </p:nvSpPr>
          <p:spPr>
            <a:xfrm>
              <a:off x="2186122" y="1780768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1" name="Freeform: Shape 258"/>
            <p:cNvSpPr/>
            <p:nvPr/>
          </p:nvSpPr>
          <p:spPr>
            <a:xfrm>
              <a:off x="2186122" y="1802149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2" name="Freeform: Shape 259"/>
            <p:cNvSpPr/>
            <p:nvPr/>
          </p:nvSpPr>
          <p:spPr>
            <a:xfrm>
              <a:off x="2186122" y="1823530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3" name="Freeform: Shape 260"/>
            <p:cNvSpPr/>
            <p:nvPr/>
          </p:nvSpPr>
          <p:spPr>
            <a:xfrm>
              <a:off x="2186122" y="1844911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4" name="Freeform: Shape 261"/>
            <p:cNvSpPr/>
            <p:nvPr/>
          </p:nvSpPr>
          <p:spPr>
            <a:xfrm>
              <a:off x="2186122" y="1866292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5" name="Freeform: Shape 262"/>
            <p:cNvSpPr/>
            <p:nvPr/>
          </p:nvSpPr>
          <p:spPr>
            <a:xfrm>
              <a:off x="2186122" y="1888054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6" name="Freeform: Shape 263"/>
            <p:cNvSpPr/>
            <p:nvPr/>
          </p:nvSpPr>
          <p:spPr>
            <a:xfrm>
              <a:off x="2186122" y="1909053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7" name="Freeform: Shape 264"/>
            <p:cNvSpPr/>
            <p:nvPr/>
          </p:nvSpPr>
          <p:spPr>
            <a:xfrm>
              <a:off x="2186122" y="1930434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8" name="Freeform: Shape 265"/>
            <p:cNvSpPr/>
            <p:nvPr/>
          </p:nvSpPr>
          <p:spPr>
            <a:xfrm>
              <a:off x="2186122" y="1951815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9" name="Freeform: Shape 266"/>
            <p:cNvSpPr/>
            <p:nvPr/>
          </p:nvSpPr>
          <p:spPr>
            <a:xfrm>
              <a:off x="2186122" y="1973196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0" name="Freeform: Shape 267"/>
            <p:cNvSpPr/>
            <p:nvPr/>
          </p:nvSpPr>
          <p:spPr>
            <a:xfrm>
              <a:off x="2186122" y="1994577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1" name="Freeform: Shape 268"/>
            <p:cNvSpPr/>
            <p:nvPr/>
          </p:nvSpPr>
          <p:spPr>
            <a:xfrm>
              <a:off x="2186122" y="2015957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2" name="Freeform: Shape 269"/>
            <p:cNvSpPr/>
            <p:nvPr/>
          </p:nvSpPr>
          <p:spPr>
            <a:xfrm>
              <a:off x="2186122" y="2037719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3" name="Straight Connector 272"/>
            <p:cNvSpPr/>
            <p:nvPr/>
          </p:nvSpPr>
          <p:spPr>
            <a:xfrm>
              <a:off x="2348770" y="1733807"/>
              <a:ext cx="0" cy="30887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4" name="Freeform: Shape 271"/>
            <p:cNvSpPr/>
            <p:nvPr/>
          </p:nvSpPr>
          <p:spPr>
            <a:xfrm>
              <a:off x="2077308" y="2059865"/>
              <a:ext cx="652497" cy="10614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10" h="279" fill="none">
                  <a:moveTo>
                    <a:pt x="0" y="0"/>
                  </a:moveTo>
                  <a:lnTo>
                    <a:pt x="1034" y="0"/>
                  </a:lnTo>
                  <a:lnTo>
                    <a:pt x="1034" y="170"/>
                  </a:lnTo>
                  <a:lnTo>
                    <a:pt x="1710" y="170"/>
                  </a:lnTo>
                  <a:lnTo>
                    <a:pt x="1710" y="27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5" name="Freeform: Shape 272"/>
            <p:cNvSpPr/>
            <p:nvPr/>
          </p:nvSpPr>
          <p:spPr>
            <a:xfrm>
              <a:off x="2465599" y="2177077"/>
              <a:ext cx="483740" cy="5230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68" h="138" fill="none">
                  <a:moveTo>
                    <a:pt x="0" y="0"/>
                  </a:moveTo>
                  <a:lnTo>
                    <a:pt x="491" y="0"/>
                  </a:lnTo>
                  <a:lnTo>
                    <a:pt x="491" y="138"/>
                  </a:lnTo>
                  <a:lnTo>
                    <a:pt x="1268" y="13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6" name="Straight Connector 275"/>
            <p:cNvSpPr/>
            <p:nvPr/>
          </p:nvSpPr>
          <p:spPr>
            <a:xfrm>
              <a:off x="2000185" y="1907908"/>
              <a:ext cx="0" cy="14470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7" name="Straight Connector 276"/>
            <p:cNvSpPr/>
            <p:nvPr/>
          </p:nvSpPr>
          <p:spPr>
            <a:xfrm>
              <a:off x="2018129" y="1907908"/>
              <a:ext cx="0" cy="14470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8" name="Freeform: Shape 275"/>
            <p:cNvSpPr/>
            <p:nvPr/>
          </p:nvSpPr>
          <p:spPr>
            <a:xfrm>
              <a:off x="2025765" y="2113317"/>
              <a:ext cx="190137" cy="101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99" h="267" fill="none">
                  <a:moveTo>
                    <a:pt x="0" y="267"/>
                  </a:moveTo>
                  <a:lnTo>
                    <a:pt x="0" y="0"/>
                  </a:lnTo>
                  <a:lnTo>
                    <a:pt x="499" y="0"/>
                  </a:lnTo>
                  <a:lnTo>
                    <a:pt x="499" y="26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9" name="Freeform: Shape 276"/>
            <p:cNvSpPr/>
            <p:nvPr/>
          </p:nvSpPr>
          <p:spPr>
            <a:xfrm>
              <a:off x="2055546" y="2140043"/>
              <a:ext cx="103086" cy="263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1" h="70">
                  <a:moveTo>
                    <a:pt x="135" y="70"/>
                  </a:moveTo>
                  <a:lnTo>
                    <a:pt x="0" y="70"/>
                  </a:lnTo>
                  <a:lnTo>
                    <a:pt x="0" y="0"/>
                  </a:lnTo>
                  <a:lnTo>
                    <a:pt x="271" y="0"/>
                  </a:lnTo>
                  <a:lnTo>
                    <a:pt x="271" y="7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0" name="Freeform: Shape 277"/>
            <p:cNvSpPr/>
            <p:nvPr/>
          </p:nvSpPr>
          <p:spPr>
            <a:xfrm>
              <a:off x="2300280" y="2078572"/>
              <a:ext cx="146611" cy="2405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85" h="64">
                  <a:moveTo>
                    <a:pt x="192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385" y="0"/>
                  </a:lnTo>
                  <a:lnTo>
                    <a:pt x="385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1" name="Freeform: Shape 278"/>
            <p:cNvSpPr/>
            <p:nvPr/>
          </p:nvSpPr>
          <p:spPr>
            <a:xfrm>
              <a:off x="2519433" y="2066355"/>
              <a:ext cx="88960" cy="2405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4" h="64">
                  <a:moveTo>
                    <a:pt x="117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234" y="0"/>
                  </a:lnTo>
                  <a:lnTo>
                    <a:pt x="234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2" name="Freeform: Shape 279"/>
            <p:cNvSpPr/>
            <p:nvPr/>
          </p:nvSpPr>
          <p:spPr>
            <a:xfrm>
              <a:off x="2746986" y="2060246"/>
              <a:ext cx="82469" cy="5536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7" h="146">
                  <a:moveTo>
                    <a:pt x="109" y="146"/>
                  </a:moveTo>
                  <a:lnTo>
                    <a:pt x="0" y="146"/>
                  </a:lnTo>
                  <a:lnTo>
                    <a:pt x="0" y="0"/>
                  </a:lnTo>
                  <a:lnTo>
                    <a:pt x="217" y="0"/>
                  </a:lnTo>
                  <a:lnTo>
                    <a:pt x="217" y="14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3" name="Freeform: Shape 280"/>
            <p:cNvSpPr/>
            <p:nvPr/>
          </p:nvSpPr>
          <p:spPr>
            <a:xfrm>
              <a:off x="2763022" y="2147297"/>
              <a:ext cx="31308" cy="5345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3" h="141">
                  <a:moveTo>
                    <a:pt x="42" y="141"/>
                  </a:moveTo>
                  <a:lnTo>
                    <a:pt x="0" y="141"/>
                  </a:lnTo>
                  <a:lnTo>
                    <a:pt x="0" y="0"/>
                  </a:lnTo>
                  <a:lnTo>
                    <a:pt x="83" y="0"/>
                  </a:lnTo>
                  <a:lnTo>
                    <a:pt x="83" y="141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4" name="Freeform: Shape 281"/>
            <p:cNvSpPr/>
            <p:nvPr/>
          </p:nvSpPr>
          <p:spPr>
            <a:xfrm>
              <a:off x="2415965" y="1897981"/>
              <a:ext cx="60324" cy="1985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9" h="53">
                  <a:moveTo>
                    <a:pt x="80" y="53"/>
                  </a:moveTo>
                  <a:lnTo>
                    <a:pt x="0" y="53"/>
                  </a:lnTo>
                  <a:lnTo>
                    <a:pt x="0" y="0"/>
                  </a:lnTo>
                  <a:lnTo>
                    <a:pt x="159" y="0"/>
                  </a:lnTo>
                  <a:lnTo>
                    <a:pt x="159" y="5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5" name="Freeform: Shape 282"/>
            <p:cNvSpPr/>
            <p:nvPr/>
          </p:nvSpPr>
          <p:spPr>
            <a:xfrm>
              <a:off x="2396876" y="1879655"/>
              <a:ext cx="137066" cy="16035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0" h="421" fill="none">
                  <a:moveTo>
                    <a:pt x="0" y="421"/>
                  </a:moveTo>
                  <a:lnTo>
                    <a:pt x="0" y="0"/>
                  </a:lnTo>
                  <a:lnTo>
                    <a:pt x="360" y="0"/>
                  </a:lnTo>
                  <a:lnTo>
                    <a:pt x="360" y="42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6" name="Freeform: Shape 283"/>
            <p:cNvSpPr/>
            <p:nvPr/>
          </p:nvSpPr>
          <p:spPr>
            <a:xfrm>
              <a:off x="1424430" y="1971287"/>
              <a:ext cx="42380" cy="6147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" h="162">
                  <a:moveTo>
                    <a:pt x="56" y="162"/>
                  </a:moveTo>
                  <a:lnTo>
                    <a:pt x="0" y="162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16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7" name="Freeform: Shape 284"/>
            <p:cNvSpPr/>
            <p:nvPr/>
          </p:nvSpPr>
          <p:spPr>
            <a:xfrm>
              <a:off x="1396177" y="2175168"/>
              <a:ext cx="74069" cy="2443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95" h="65">
                  <a:moveTo>
                    <a:pt x="98" y="65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195" y="0"/>
                  </a:lnTo>
                  <a:lnTo>
                    <a:pt x="195" y="6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8" name="Freeform: Shape 285"/>
            <p:cNvSpPr/>
            <p:nvPr/>
          </p:nvSpPr>
          <p:spPr>
            <a:xfrm>
              <a:off x="3682016" y="2012521"/>
              <a:ext cx="34362" cy="6299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1" h="166">
                  <a:moveTo>
                    <a:pt x="46" y="166"/>
                  </a:moveTo>
                  <a:lnTo>
                    <a:pt x="0" y="166"/>
                  </a:lnTo>
                  <a:lnTo>
                    <a:pt x="0" y="0"/>
                  </a:lnTo>
                  <a:lnTo>
                    <a:pt x="91" y="0"/>
                  </a:lnTo>
                  <a:lnTo>
                    <a:pt x="91" y="16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9" name="Freeform: Shape 286"/>
            <p:cNvSpPr/>
            <p:nvPr/>
          </p:nvSpPr>
          <p:spPr>
            <a:xfrm>
              <a:off x="3733942" y="2120189"/>
              <a:ext cx="59561" cy="2252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7" h="60">
                  <a:moveTo>
                    <a:pt x="79" y="60"/>
                  </a:moveTo>
                  <a:lnTo>
                    <a:pt x="0" y="60"/>
                  </a:lnTo>
                  <a:lnTo>
                    <a:pt x="0" y="0"/>
                  </a:lnTo>
                  <a:lnTo>
                    <a:pt x="157" y="0"/>
                  </a:lnTo>
                  <a:lnTo>
                    <a:pt x="157" y="6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0" name="Freeform: Shape 287"/>
            <p:cNvSpPr/>
            <p:nvPr/>
          </p:nvSpPr>
          <p:spPr>
            <a:xfrm>
              <a:off x="3845809" y="2051083"/>
              <a:ext cx="160356" cy="500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1" h="132">
                  <a:moveTo>
                    <a:pt x="211" y="132"/>
                  </a:moveTo>
                  <a:lnTo>
                    <a:pt x="0" y="132"/>
                  </a:lnTo>
                  <a:lnTo>
                    <a:pt x="0" y="0"/>
                  </a:lnTo>
                  <a:lnTo>
                    <a:pt x="421" y="0"/>
                  </a:lnTo>
                  <a:lnTo>
                    <a:pt x="421" y="13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1" name="Straight Connector 290"/>
            <p:cNvSpPr/>
            <p:nvPr/>
          </p:nvSpPr>
          <p:spPr>
            <a:xfrm>
              <a:off x="2187267" y="1657447"/>
              <a:ext cx="500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2" name="Straight Connector 291"/>
            <p:cNvSpPr/>
            <p:nvPr/>
          </p:nvSpPr>
          <p:spPr>
            <a:xfrm>
              <a:off x="2187267" y="1683409"/>
              <a:ext cx="500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3" name="Straight Connector 292"/>
            <p:cNvSpPr/>
            <p:nvPr/>
          </p:nvSpPr>
          <p:spPr>
            <a:xfrm>
              <a:off x="2187267" y="1709754"/>
              <a:ext cx="500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4" name="Straight Connector 293"/>
            <p:cNvSpPr/>
            <p:nvPr/>
          </p:nvSpPr>
          <p:spPr>
            <a:xfrm>
              <a:off x="2202158" y="1608958"/>
              <a:ext cx="0" cy="2863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5" name="Straight Connector 294"/>
            <p:cNvSpPr/>
            <p:nvPr/>
          </p:nvSpPr>
          <p:spPr>
            <a:xfrm>
              <a:off x="2591976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6" name="Straight Connector 295"/>
            <p:cNvSpPr/>
            <p:nvPr/>
          </p:nvSpPr>
          <p:spPr>
            <a:xfrm>
              <a:off x="2614120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7" name="Straight Connector 296"/>
            <p:cNvSpPr/>
            <p:nvPr/>
          </p:nvSpPr>
          <p:spPr>
            <a:xfrm>
              <a:off x="2636264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8" name="Straight Connector 297"/>
            <p:cNvSpPr/>
            <p:nvPr/>
          </p:nvSpPr>
          <p:spPr>
            <a:xfrm>
              <a:off x="2658409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9" name="Straight Connector 298"/>
            <p:cNvSpPr/>
            <p:nvPr/>
          </p:nvSpPr>
          <p:spPr>
            <a:xfrm>
              <a:off x="2680553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0" name="Straight Connector 299"/>
            <p:cNvSpPr/>
            <p:nvPr/>
          </p:nvSpPr>
          <p:spPr>
            <a:xfrm>
              <a:off x="2702699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1" name="Straight Connector 300"/>
            <p:cNvSpPr/>
            <p:nvPr/>
          </p:nvSpPr>
          <p:spPr>
            <a:xfrm>
              <a:off x="2725224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2" name="Straight Connector 301"/>
            <p:cNvSpPr/>
            <p:nvPr/>
          </p:nvSpPr>
          <p:spPr>
            <a:xfrm>
              <a:off x="2746986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3" name="Straight Connector 302"/>
            <p:cNvSpPr/>
            <p:nvPr/>
          </p:nvSpPr>
          <p:spPr>
            <a:xfrm>
              <a:off x="3479661" y="1681882"/>
              <a:ext cx="0" cy="48870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4" name="Straight Connector 303"/>
            <p:cNvSpPr/>
            <p:nvPr/>
          </p:nvSpPr>
          <p:spPr>
            <a:xfrm>
              <a:off x="3644981" y="1681882"/>
              <a:ext cx="0" cy="48870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5" name="Freeform: Shape 302"/>
            <p:cNvSpPr/>
            <p:nvPr/>
          </p:nvSpPr>
          <p:spPr>
            <a:xfrm>
              <a:off x="2571358" y="1523435"/>
              <a:ext cx="193573" cy="53032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08" h="1390" fill="none">
                  <a:moveTo>
                    <a:pt x="0" y="1390"/>
                  </a:moveTo>
                  <a:lnTo>
                    <a:pt x="0" y="0"/>
                  </a:lnTo>
                  <a:lnTo>
                    <a:pt x="508" y="0"/>
                  </a:lnTo>
                  <a:lnTo>
                    <a:pt x="508" y="138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6" name="Straight Connector 305"/>
            <p:cNvSpPr/>
            <p:nvPr/>
          </p:nvSpPr>
          <p:spPr>
            <a:xfrm>
              <a:off x="2559141" y="1494417"/>
              <a:ext cx="22106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7" name="Straight Connector 306"/>
            <p:cNvSpPr/>
            <p:nvPr/>
          </p:nvSpPr>
          <p:spPr>
            <a:xfrm>
              <a:off x="2816856" y="1931961"/>
              <a:ext cx="0" cy="5459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8" name="Straight Connector 307"/>
            <p:cNvSpPr/>
            <p:nvPr/>
          </p:nvSpPr>
          <p:spPr>
            <a:xfrm>
              <a:off x="2785930" y="1991904"/>
              <a:ext cx="6185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9" name="Straight Connector 308"/>
            <p:cNvSpPr/>
            <p:nvPr/>
          </p:nvSpPr>
          <p:spPr>
            <a:xfrm>
              <a:off x="3149786" y="2004885"/>
              <a:ext cx="10843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0" name="Straight Connector 309"/>
            <p:cNvSpPr/>
            <p:nvPr/>
          </p:nvSpPr>
          <p:spPr>
            <a:xfrm>
              <a:off x="3242945" y="1971287"/>
              <a:ext cx="0" cy="3092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1" name="Straight Connector 310"/>
            <p:cNvSpPr/>
            <p:nvPr/>
          </p:nvSpPr>
          <p:spPr>
            <a:xfrm>
              <a:off x="3350995" y="1997249"/>
              <a:ext cx="11606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2" name="Straight Connector 311"/>
            <p:cNvSpPr/>
            <p:nvPr/>
          </p:nvSpPr>
          <p:spPr>
            <a:xfrm>
              <a:off x="3410556" y="1935779"/>
              <a:ext cx="0" cy="4505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3" name="Straight Connector 312"/>
            <p:cNvSpPr/>
            <p:nvPr/>
          </p:nvSpPr>
          <p:spPr>
            <a:xfrm>
              <a:off x="3396047" y="2181659"/>
              <a:ext cx="0" cy="8552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4" name="Straight Connector 313"/>
            <p:cNvSpPr/>
            <p:nvPr/>
          </p:nvSpPr>
          <p:spPr>
            <a:xfrm>
              <a:off x="3504860" y="2236256"/>
              <a:ext cx="18593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5" name="Straight Connector 314"/>
            <p:cNvSpPr/>
            <p:nvPr/>
          </p:nvSpPr>
          <p:spPr>
            <a:xfrm>
              <a:off x="3496461" y="2143097"/>
              <a:ext cx="1317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6" name="Straight Connector 315"/>
            <p:cNvSpPr/>
            <p:nvPr/>
          </p:nvSpPr>
          <p:spPr>
            <a:xfrm>
              <a:off x="3496461" y="1983504"/>
              <a:ext cx="1317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7" name="Straight Connector 316"/>
            <p:cNvSpPr/>
            <p:nvPr/>
          </p:nvSpPr>
          <p:spPr>
            <a:xfrm>
              <a:off x="3496461" y="1827730"/>
              <a:ext cx="1317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8" name="Straight Connector 317"/>
            <p:cNvSpPr/>
            <p:nvPr/>
          </p:nvSpPr>
          <p:spPr>
            <a:xfrm>
              <a:off x="3516697" y="2004885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9" name="Straight Connector 318"/>
            <p:cNvSpPr/>
            <p:nvPr/>
          </p:nvSpPr>
          <p:spPr>
            <a:xfrm>
              <a:off x="3547241" y="2004885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0" name="Straight Connector 319"/>
            <p:cNvSpPr/>
            <p:nvPr/>
          </p:nvSpPr>
          <p:spPr>
            <a:xfrm>
              <a:off x="3577785" y="2004885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1" name="Straight Connector 320"/>
            <p:cNvSpPr/>
            <p:nvPr/>
          </p:nvSpPr>
          <p:spPr>
            <a:xfrm>
              <a:off x="3607946" y="2004885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2" name="Straight Connector 321"/>
            <p:cNvSpPr/>
            <p:nvPr/>
          </p:nvSpPr>
          <p:spPr>
            <a:xfrm>
              <a:off x="3516697" y="1847202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3" name="Straight Connector 322"/>
            <p:cNvSpPr/>
            <p:nvPr/>
          </p:nvSpPr>
          <p:spPr>
            <a:xfrm>
              <a:off x="3547241" y="1847202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4" name="Straight Connector 323"/>
            <p:cNvSpPr/>
            <p:nvPr/>
          </p:nvSpPr>
          <p:spPr>
            <a:xfrm>
              <a:off x="3577785" y="1847202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5" name="Straight Connector 324"/>
            <p:cNvSpPr/>
            <p:nvPr/>
          </p:nvSpPr>
          <p:spPr>
            <a:xfrm>
              <a:off x="3607946" y="1847202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6" name="Straight Connector 325"/>
            <p:cNvSpPr/>
            <p:nvPr/>
          </p:nvSpPr>
          <p:spPr>
            <a:xfrm>
              <a:off x="3516697" y="1693336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7" name="Straight Connector 326"/>
            <p:cNvSpPr/>
            <p:nvPr/>
          </p:nvSpPr>
          <p:spPr>
            <a:xfrm>
              <a:off x="3547241" y="1693336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8" name="Straight Connector 327"/>
            <p:cNvSpPr/>
            <p:nvPr/>
          </p:nvSpPr>
          <p:spPr>
            <a:xfrm>
              <a:off x="3577785" y="1693336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9" name="Straight Connector 328"/>
            <p:cNvSpPr/>
            <p:nvPr/>
          </p:nvSpPr>
          <p:spPr>
            <a:xfrm>
              <a:off x="3607946" y="1693336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0" name="Freeform: Shape 327"/>
            <p:cNvSpPr/>
            <p:nvPr/>
          </p:nvSpPr>
          <p:spPr>
            <a:xfrm>
              <a:off x="3489970" y="1584905"/>
              <a:ext cx="144321" cy="8285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79" h="218">
                  <a:moveTo>
                    <a:pt x="0" y="218"/>
                  </a:moveTo>
                  <a:lnTo>
                    <a:pt x="379" y="218"/>
                  </a:lnTo>
                  <a:lnTo>
                    <a:pt x="309" y="0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1" name="Freeform: Shape 328"/>
            <p:cNvSpPr/>
            <p:nvPr/>
          </p:nvSpPr>
          <p:spPr>
            <a:xfrm>
              <a:off x="2304861" y="2233584"/>
              <a:ext cx="1040406" cy="4199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26" h="111" fill="none">
                  <a:moveTo>
                    <a:pt x="0" y="90"/>
                  </a:moveTo>
                  <a:lnTo>
                    <a:pt x="190" y="0"/>
                  </a:lnTo>
                  <a:lnTo>
                    <a:pt x="782" y="0"/>
                  </a:lnTo>
                  <a:lnTo>
                    <a:pt x="782" y="111"/>
                  </a:lnTo>
                  <a:lnTo>
                    <a:pt x="2726" y="11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2" name="Freeform: Shape 329"/>
            <p:cNvSpPr/>
            <p:nvPr/>
          </p:nvSpPr>
          <p:spPr>
            <a:xfrm>
              <a:off x="2818001" y="2076664"/>
              <a:ext cx="439834" cy="11683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53" h="307" fill="none">
                  <a:moveTo>
                    <a:pt x="0" y="307"/>
                  </a:moveTo>
                  <a:lnTo>
                    <a:pt x="658" y="307"/>
                  </a:lnTo>
                  <a:lnTo>
                    <a:pt x="658" y="88"/>
                  </a:lnTo>
                  <a:lnTo>
                    <a:pt x="973" y="88"/>
                  </a:lnTo>
                  <a:lnTo>
                    <a:pt x="973" y="0"/>
                  </a:lnTo>
                  <a:lnTo>
                    <a:pt x="1153" y="0"/>
                  </a:lnTo>
                  <a:lnTo>
                    <a:pt x="1153" y="236"/>
                  </a:lnTo>
                  <a:lnTo>
                    <a:pt x="936" y="23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3" name="Freeform: Shape 330"/>
            <p:cNvSpPr/>
            <p:nvPr/>
          </p:nvSpPr>
          <p:spPr>
            <a:xfrm>
              <a:off x="3286089" y="2025502"/>
              <a:ext cx="59179" cy="4047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6" h="107" fill="none">
                  <a:moveTo>
                    <a:pt x="0" y="95"/>
                  </a:moveTo>
                  <a:lnTo>
                    <a:pt x="0" y="0"/>
                  </a:lnTo>
                  <a:lnTo>
                    <a:pt x="156" y="0"/>
                  </a:lnTo>
                  <a:lnTo>
                    <a:pt x="156" y="10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4" name="Freeform: Shape 331"/>
            <p:cNvSpPr/>
            <p:nvPr/>
          </p:nvSpPr>
          <p:spPr>
            <a:xfrm>
              <a:off x="3340686" y="2088118"/>
              <a:ext cx="101559" cy="416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7" h="110" fill="none">
                  <a:moveTo>
                    <a:pt x="267" y="0"/>
                  </a:moveTo>
                  <a:lnTo>
                    <a:pt x="0" y="0"/>
                  </a:lnTo>
                  <a:lnTo>
                    <a:pt x="0" y="110"/>
                  </a:lnTo>
                  <a:lnTo>
                    <a:pt x="267" y="11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5" name="Freeform: Shape 332"/>
            <p:cNvSpPr/>
            <p:nvPr/>
          </p:nvSpPr>
          <p:spPr>
            <a:xfrm>
              <a:off x="3753795" y="1663937"/>
              <a:ext cx="267260" cy="3913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1" h="1026">
                  <a:moveTo>
                    <a:pt x="0" y="1026"/>
                  </a:moveTo>
                  <a:lnTo>
                    <a:pt x="0" y="93"/>
                  </a:lnTo>
                  <a:cubicBezTo>
                    <a:pt x="0" y="93"/>
                    <a:pt x="-13" y="0"/>
                    <a:pt x="340" y="0"/>
                  </a:cubicBezTo>
                  <a:cubicBezTo>
                    <a:pt x="718" y="0"/>
                    <a:pt x="701" y="98"/>
                    <a:pt x="701" y="98"/>
                  </a:cubicBezTo>
                  <a:lnTo>
                    <a:pt x="701" y="1003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6" name="Straight Connector 335"/>
            <p:cNvSpPr/>
            <p:nvPr/>
          </p:nvSpPr>
          <p:spPr>
            <a:xfrm>
              <a:off x="3811064" y="2194640"/>
              <a:ext cx="855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7" name="Straight Connector 336"/>
            <p:cNvSpPr/>
            <p:nvPr/>
          </p:nvSpPr>
          <p:spPr>
            <a:xfrm>
              <a:off x="4035945" y="2167532"/>
              <a:ext cx="33178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8" name="Straight Connector 337"/>
            <p:cNvSpPr/>
            <p:nvPr/>
          </p:nvSpPr>
          <p:spPr>
            <a:xfrm>
              <a:off x="4386437" y="2143097"/>
              <a:ext cx="0" cy="11606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9" name="Freeform: Shape 336"/>
            <p:cNvSpPr/>
            <p:nvPr/>
          </p:nvSpPr>
          <p:spPr>
            <a:xfrm>
              <a:off x="4109633" y="2012521"/>
              <a:ext cx="442507" cy="18173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60" h="477" fill="none">
                  <a:moveTo>
                    <a:pt x="840" y="282"/>
                  </a:moveTo>
                  <a:lnTo>
                    <a:pt x="840" y="477"/>
                  </a:lnTo>
                  <a:lnTo>
                    <a:pt x="1160" y="477"/>
                  </a:lnTo>
                  <a:lnTo>
                    <a:pt x="1160" y="312"/>
                  </a:lnTo>
                  <a:lnTo>
                    <a:pt x="1020" y="312"/>
                  </a:lnTo>
                  <a:lnTo>
                    <a:pt x="1020" y="176"/>
                  </a:lnTo>
                  <a:lnTo>
                    <a:pt x="288" y="176"/>
                  </a:lnTo>
                  <a:lnTo>
                    <a:pt x="288" y="0"/>
                  </a:lnTo>
                  <a:lnTo>
                    <a:pt x="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0" name="Straight Connector 339"/>
            <p:cNvSpPr/>
            <p:nvPr/>
          </p:nvSpPr>
          <p:spPr>
            <a:xfrm>
              <a:off x="4306259" y="2036956"/>
              <a:ext cx="0" cy="4008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1" name="Straight Connector 340"/>
            <p:cNvSpPr/>
            <p:nvPr/>
          </p:nvSpPr>
          <p:spPr>
            <a:xfrm>
              <a:off x="3677052" y="1947615"/>
              <a:ext cx="0" cy="2787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2" name="Freeform: Shape 339"/>
            <p:cNvSpPr/>
            <p:nvPr/>
          </p:nvSpPr>
          <p:spPr>
            <a:xfrm>
              <a:off x="4048926" y="1718535"/>
              <a:ext cx="34744" cy="35812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" h="939">
                  <a:moveTo>
                    <a:pt x="46" y="939"/>
                  </a:moveTo>
                  <a:lnTo>
                    <a:pt x="0" y="939"/>
                  </a:lnTo>
                  <a:lnTo>
                    <a:pt x="0" y="0"/>
                  </a:lnTo>
                  <a:lnTo>
                    <a:pt x="92" y="0"/>
                  </a:lnTo>
                  <a:lnTo>
                    <a:pt x="92" y="93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3" name="Straight Connector 342"/>
            <p:cNvSpPr/>
            <p:nvPr/>
          </p:nvSpPr>
          <p:spPr>
            <a:xfrm>
              <a:off x="1571805" y="2359960"/>
              <a:ext cx="0" cy="76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4" name="Straight Connector 343"/>
            <p:cNvSpPr/>
            <p:nvPr/>
          </p:nvSpPr>
          <p:spPr>
            <a:xfrm>
              <a:off x="2744696" y="2373323"/>
              <a:ext cx="0" cy="6834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5" name="Freeform: Shape 342"/>
            <p:cNvSpPr/>
            <p:nvPr/>
          </p:nvSpPr>
          <p:spPr>
            <a:xfrm>
              <a:off x="667320" y="2189295"/>
              <a:ext cx="3895510" cy="11835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04" h="311">
                  <a:moveTo>
                    <a:pt x="10204" y="309"/>
                  </a:moveTo>
                  <a:lnTo>
                    <a:pt x="3216" y="309"/>
                  </a:lnTo>
                  <a:cubicBezTo>
                    <a:pt x="3216" y="309"/>
                    <a:pt x="0" y="336"/>
                    <a:pt x="0" y="129"/>
                  </a:cubicBezTo>
                  <a:cubicBezTo>
                    <a:pt x="0" y="-37"/>
                    <a:pt x="1652" y="4"/>
                    <a:pt x="1652" y="4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6" name="Freeform: Shape 343"/>
            <p:cNvSpPr/>
            <p:nvPr/>
          </p:nvSpPr>
          <p:spPr>
            <a:xfrm>
              <a:off x="848293" y="2215257"/>
              <a:ext cx="507413" cy="3283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30" h="87" fill="none">
                  <a:moveTo>
                    <a:pt x="0" y="87"/>
                  </a:moveTo>
                  <a:lnTo>
                    <a:pt x="248" y="0"/>
                  </a:lnTo>
                  <a:lnTo>
                    <a:pt x="133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7" name="Straight Connector 346"/>
            <p:cNvSpPr/>
            <p:nvPr/>
          </p:nvSpPr>
          <p:spPr>
            <a:xfrm>
              <a:off x="1028503" y="2339342"/>
              <a:ext cx="34285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8" name="Straight Connector 347"/>
            <p:cNvSpPr/>
            <p:nvPr/>
          </p:nvSpPr>
          <p:spPr>
            <a:xfrm>
              <a:off x="1158315" y="2387449"/>
              <a:ext cx="1099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9" name="Straight Connector 348"/>
            <p:cNvSpPr/>
            <p:nvPr/>
          </p:nvSpPr>
          <p:spPr>
            <a:xfrm>
              <a:off x="1654655" y="2338197"/>
              <a:ext cx="157454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0" name="Straight Connector 349"/>
            <p:cNvSpPr/>
            <p:nvPr/>
          </p:nvSpPr>
          <p:spPr>
            <a:xfrm>
              <a:off x="3315869" y="2353851"/>
              <a:ext cx="31307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1" name="Straight Connector 350"/>
            <p:cNvSpPr/>
            <p:nvPr/>
          </p:nvSpPr>
          <p:spPr>
            <a:xfrm>
              <a:off x="3481570" y="2396231"/>
              <a:ext cx="15844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2" name="Straight Connector 351"/>
            <p:cNvSpPr/>
            <p:nvPr/>
          </p:nvSpPr>
          <p:spPr>
            <a:xfrm>
              <a:off x="3950803" y="2339342"/>
              <a:ext cx="58568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3" name="Straight Connector 352"/>
            <p:cNvSpPr/>
            <p:nvPr/>
          </p:nvSpPr>
          <p:spPr>
            <a:xfrm>
              <a:off x="2187267" y="2236256"/>
              <a:ext cx="5307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4" name="Freeform: Shape 351"/>
            <p:cNvSpPr/>
            <p:nvPr/>
          </p:nvSpPr>
          <p:spPr>
            <a:xfrm>
              <a:off x="2866872" y="1561997"/>
              <a:ext cx="281769" cy="623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39" h="1634" fill="none">
                  <a:moveTo>
                    <a:pt x="0" y="1634"/>
                  </a:moveTo>
                  <a:lnTo>
                    <a:pt x="0" y="0"/>
                  </a:lnTo>
                  <a:lnTo>
                    <a:pt x="739" y="0"/>
                  </a:lnTo>
                  <a:lnTo>
                    <a:pt x="739" y="136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5" name="Straight Connector 354"/>
            <p:cNvSpPr/>
            <p:nvPr/>
          </p:nvSpPr>
          <p:spPr>
            <a:xfrm>
              <a:off x="2866872" y="1653629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6" name="Straight Connector 355"/>
            <p:cNvSpPr/>
            <p:nvPr/>
          </p:nvSpPr>
          <p:spPr>
            <a:xfrm>
              <a:off x="2866872" y="1696009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7" name="Straight Connector 356"/>
            <p:cNvSpPr/>
            <p:nvPr/>
          </p:nvSpPr>
          <p:spPr>
            <a:xfrm>
              <a:off x="2866872" y="1728079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8" name="Straight Connector 357"/>
            <p:cNvSpPr/>
            <p:nvPr/>
          </p:nvSpPr>
          <p:spPr>
            <a:xfrm>
              <a:off x="2866872" y="176015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9" name="Straight Connector 358"/>
            <p:cNvSpPr/>
            <p:nvPr/>
          </p:nvSpPr>
          <p:spPr>
            <a:xfrm>
              <a:off x="2866872" y="179184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0" name="Straight Connector 359"/>
            <p:cNvSpPr/>
            <p:nvPr/>
          </p:nvSpPr>
          <p:spPr>
            <a:xfrm>
              <a:off x="2866872" y="1823530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1" name="Straight Connector 360"/>
            <p:cNvSpPr/>
            <p:nvPr/>
          </p:nvSpPr>
          <p:spPr>
            <a:xfrm>
              <a:off x="2866872" y="185560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2" name="Straight Connector 361"/>
            <p:cNvSpPr/>
            <p:nvPr/>
          </p:nvSpPr>
          <p:spPr>
            <a:xfrm>
              <a:off x="2866872" y="188767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3" name="Straight Connector 362"/>
            <p:cNvSpPr/>
            <p:nvPr/>
          </p:nvSpPr>
          <p:spPr>
            <a:xfrm>
              <a:off x="2866872" y="191936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4" name="Straight Connector 363"/>
            <p:cNvSpPr/>
            <p:nvPr/>
          </p:nvSpPr>
          <p:spPr>
            <a:xfrm>
              <a:off x="2866872" y="1951433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5" name="Straight Connector 364"/>
            <p:cNvSpPr/>
            <p:nvPr/>
          </p:nvSpPr>
          <p:spPr>
            <a:xfrm>
              <a:off x="2866872" y="1983123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6" name="Straight Connector 365"/>
            <p:cNvSpPr/>
            <p:nvPr/>
          </p:nvSpPr>
          <p:spPr>
            <a:xfrm>
              <a:off x="2866872" y="2015194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7" name="Straight Connector 366"/>
            <p:cNvSpPr/>
            <p:nvPr/>
          </p:nvSpPr>
          <p:spPr>
            <a:xfrm>
              <a:off x="2866872" y="2047265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8" name="Straight Connector 367"/>
            <p:cNvSpPr/>
            <p:nvPr/>
          </p:nvSpPr>
          <p:spPr>
            <a:xfrm>
              <a:off x="2866872" y="2079336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9" name="Straight Connector 368"/>
            <p:cNvSpPr/>
            <p:nvPr/>
          </p:nvSpPr>
          <p:spPr>
            <a:xfrm>
              <a:off x="2866872" y="2107208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0" name="Straight Connector 369"/>
            <p:cNvSpPr/>
            <p:nvPr/>
          </p:nvSpPr>
          <p:spPr>
            <a:xfrm>
              <a:off x="2866872" y="2139279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1" name="Straight Connector 370"/>
            <p:cNvSpPr/>
            <p:nvPr/>
          </p:nvSpPr>
          <p:spPr>
            <a:xfrm>
              <a:off x="2866872" y="2171350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2" name="Freeform: Shape 369"/>
            <p:cNvSpPr/>
            <p:nvPr/>
          </p:nvSpPr>
          <p:spPr>
            <a:xfrm>
              <a:off x="2916124" y="1522290"/>
              <a:ext cx="81323" cy="8132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4" h="214">
                  <a:moveTo>
                    <a:pt x="214" y="107"/>
                  </a:moveTo>
                  <a:cubicBezTo>
                    <a:pt x="214" y="126"/>
                    <a:pt x="209" y="143"/>
                    <a:pt x="199" y="160"/>
                  </a:cubicBezTo>
                  <a:cubicBezTo>
                    <a:pt x="189" y="177"/>
                    <a:pt x="177" y="189"/>
                    <a:pt x="160" y="199"/>
                  </a:cubicBezTo>
                  <a:cubicBezTo>
                    <a:pt x="143" y="208"/>
                    <a:pt x="126" y="214"/>
                    <a:pt x="107" y="214"/>
                  </a:cubicBezTo>
                  <a:cubicBezTo>
                    <a:pt x="87" y="214"/>
                    <a:pt x="70" y="208"/>
                    <a:pt x="53" y="199"/>
                  </a:cubicBezTo>
                  <a:cubicBezTo>
                    <a:pt x="36" y="189"/>
                    <a:pt x="24" y="177"/>
                    <a:pt x="14" y="160"/>
                  </a:cubicBezTo>
                  <a:cubicBezTo>
                    <a:pt x="4" y="143"/>
                    <a:pt x="0" y="126"/>
                    <a:pt x="0" y="107"/>
                  </a:cubicBezTo>
                  <a:cubicBezTo>
                    <a:pt x="0" y="87"/>
                    <a:pt x="4" y="70"/>
                    <a:pt x="14" y="53"/>
                  </a:cubicBezTo>
                  <a:cubicBezTo>
                    <a:pt x="24" y="36"/>
                    <a:pt x="36" y="24"/>
                    <a:pt x="53" y="14"/>
                  </a:cubicBezTo>
                  <a:cubicBezTo>
                    <a:pt x="70" y="4"/>
                    <a:pt x="87" y="0"/>
                    <a:pt x="107" y="0"/>
                  </a:cubicBezTo>
                  <a:cubicBezTo>
                    <a:pt x="126" y="0"/>
                    <a:pt x="143" y="4"/>
                    <a:pt x="160" y="14"/>
                  </a:cubicBezTo>
                  <a:cubicBezTo>
                    <a:pt x="177" y="24"/>
                    <a:pt x="189" y="36"/>
                    <a:pt x="199" y="53"/>
                  </a:cubicBezTo>
                  <a:cubicBezTo>
                    <a:pt x="209" y="70"/>
                    <a:pt x="214" y="87"/>
                    <a:pt x="214" y="107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3" name="Straight Connector 372"/>
            <p:cNvSpPr/>
            <p:nvPr/>
          </p:nvSpPr>
          <p:spPr>
            <a:xfrm>
              <a:off x="3018446" y="1589868"/>
              <a:ext cx="7750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4" name="Straight Connector 373"/>
            <p:cNvSpPr/>
            <p:nvPr/>
          </p:nvSpPr>
          <p:spPr>
            <a:xfrm>
              <a:off x="1532861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5" name="Straight Connector 374"/>
            <p:cNvSpPr/>
            <p:nvPr/>
          </p:nvSpPr>
          <p:spPr>
            <a:xfrm>
              <a:off x="1532861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6" name="Straight Connector 375"/>
            <p:cNvSpPr/>
            <p:nvPr/>
          </p:nvSpPr>
          <p:spPr>
            <a:xfrm>
              <a:off x="1532861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7" name="Straight Connector 376"/>
            <p:cNvSpPr/>
            <p:nvPr/>
          </p:nvSpPr>
          <p:spPr>
            <a:xfrm>
              <a:off x="1532861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8" name="Straight Connector 377"/>
            <p:cNvSpPr/>
            <p:nvPr/>
          </p:nvSpPr>
          <p:spPr>
            <a:xfrm>
              <a:off x="1532861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9" name="Straight Connector 378"/>
            <p:cNvSpPr/>
            <p:nvPr/>
          </p:nvSpPr>
          <p:spPr>
            <a:xfrm>
              <a:off x="1532861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0" name="Straight Connector 379"/>
            <p:cNvSpPr/>
            <p:nvPr/>
          </p:nvSpPr>
          <p:spPr>
            <a:xfrm>
              <a:off x="1532861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1" name="Straight Connector 380"/>
            <p:cNvSpPr/>
            <p:nvPr/>
          </p:nvSpPr>
          <p:spPr>
            <a:xfrm>
              <a:off x="1532861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2" name="Straight Connector 381"/>
            <p:cNvSpPr/>
            <p:nvPr/>
          </p:nvSpPr>
          <p:spPr>
            <a:xfrm>
              <a:off x="1532861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3" name="Straight Connector 382"/>
            <p:cNvSpPr/>
            <p:nvPr/>
          </p:nvSpPr>
          <p:spPr>
            <a:xfrm>
              <a:off x="1532861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4" name="Straight Connector 383"/>
            <p:cNvSpPr/>
            <p:nvPr/>
          </p:nvSpPr>
          <p:spPr>
            <a:xfrm>
              <a:off x="1532861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5" name="Straight Connector 384"/>
            <p:cNvSpPr/>
            <p:nvPr/>
          </p:nvSpPr>
          <p:spPr>
            <a:xfrm>
              <a:off x="1532861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6" name="Straight Connector 385"/>
            <p:cNvSpPr/>
            <p:nvPr/>
          </p:nvSpPr>
          <p:spPr>
            <a:xfrm>
              <a:off x="1532861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7" name="Straight Connector 386"/>
            <p:cNvSpPr/>
            <p:nvPr/>
          </p:nvSpPr>
          <p:spPr>
            <a:xfrm>
              <a:off x="1532861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8" name="Straight Connector 387"/>
            <p:cNvSpPr/>
            <p:nvPr/>
          </p:nvSpPr>
          <p:spPr>
            <a:xfrm>
              <a:off x="1532861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9" name="Straight Connector 388"/>
            <p:cNvSpPr/>
            <p:nvPr/>
          </p:nvSpPr>
          <p:spPr>
            <a:xfrm>
              <a:off x="1532861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0" name="Straight Connector 389"/>
            <p:cNvSpPr/>
            <p:nvPr/>
          </p:nvSpPr>
          <p:spPr>
            <a:xfrm>
              <a:off x="1532861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1" name="Straight Connector 390"/>
            <p:cNvSpPr/>
            <p:nvPr/>
          </p:nvSpPr>
          <p:spPr>
            <a:xfrm>
              <a:off x="1563023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2" name="Straight Connector 391"/>
            <p:cNvSpPr/>
            <p:nvPr/>
          </p:nvSpPr>
          <p:spPr>
            <a:xfrm>
              <a:off x="1563023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3" name="Straight Connector 392"/>
            <p:cNvSpPr/>
            <p:nvPr/>
          </p:nvSpPr>
          <p:spPr>
            <a:xfrm>
              <a:off x="1563023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4" name="Straight Connector 393"/>
            <p:cNvSpPr/>
            <p:nvPr/>
          </p:nvSpPr>
          <p:spPr>
            <a:xfrm>
              <a:off x="1563023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5" name="Straight Connector 394"/>
            <p:cNvSpPr/>
            <p:nvPr/>
          </p:nvSpPr>
          <p:spPr>
            <a:xfrm>
              <a:off x="1563023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6" name="Straight Connector 395"/>
            <p:cNvSpPr/>
            <p:nvPr/>
          </p:nvSpPr>
          <p:spPr>
            <a:xfrm>
              <a:off x="1563023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7" name="Straight Connector 396"/>
            <p:cNvSpPr/>
            <p:nvPr/>
          </p:nvSpPr>
          <p:spPr>
            <a:xfrm>
              <a:off x="1563023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8" name="Straight Connector 397"/>
            <p:cNvSpPr/>
            <p:nvPr/>
          </p:nvSpPr>
          <p:spPr>
            <a:xfrm>
              <a:off x="1563023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9" name="Straight Connector 398"/>
            <p:cNvSpPr/>
            <p:nvPr/>
          </p:nvSpPr>
          <p:spPr>
            <a:xfrm>
              <a:off x="1563023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0" name="Straight Connector 399"/>
            <p:cNvSpPr/>
            <p:nvPr/>
          </p:nvSpPr>
          <p:spPr>
            <a:xfrm>
              <a:off x="1563023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1" name="Straight Connector 400"/>
            <p:cNvSpPr/>
            <p:nvPr/>
          </p:nvSpPr>
          <p:spPr>
            <a:xfrm>
              <a:off x="1563023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2" name="Straight Connector 401"/>
            <p:cNvSpPr/>
            <p:nvPr/>
          </p:nvSpPr>
          <p:spPr>
            <a:xfrm>
              <a:off x="1563023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3" name="Straight Connector 402"/>
            <p:cNvSpPr/>
            <p:nvPr/>
          </p:nvSpPr>
          <p:spPr>
            <a:xfrm>
              <a:off x="1563023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4" name="Straight Connector 403"/>
            <p:cNvSpPr/>
            <p:nvPr/>
          </p:nvSpPr>
          <p:spPr>
            <a:xfrm>
              <a:off x="1563023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5" name="Straight Connector 404"/>
            <p:cNvSpPr/>
            <p:nvPr/>
          </p:nvSpPr>
          <p:spPr>
            <a:xfrm>
              <a:off x="1563023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6" name="Straight Connector 405"/>
            <p:cNvSpPr/>
            <p:nvPr/>
          </p:nvSpPr>
          <p:spPr>
            <a:xfrm>
              <a:off x="1563023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7" name="Straight Connector 406"/>
            <p:cNvSpPr/>
            <p:nvPr/>
          </p:nvSpPr>
          <p:spPr>
            <a:xfrm>
              <a:off x="1563023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8" name="Straight Connector 407"/>
            <p:cNvSpPr/>
            <p:nvPr/>
          </p:nvSpPr>
          <p:spPr>
            <a:xfrm>
              <a:off x="1593567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9" name="Straight Connector 408"/>
            <p:cNvSpPr/>
            <p:nvPr/>
          </p:nvSpPr>
          <p:spPr>
            <a:xfrm>
              <a:off x="1593567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0" name="Straight Connector 409"/>
            <p:cNvSpPr/>
            <p:nvPr/>
          </p:nvSpPr>
          <p:spPr>
            <a:xfrm>
              <a:off x="1593567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1" name="Straight Connector 410"/>
            <p:cNvSpPr/>
            <p:nvPr/>
          </p:nvSpPr>
          <p:spPr>
            <a:xfrm>
              <a:off x="1593567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2" name="Straight Connector 411"/>
            <p:cNvSpPr/>
            <p:nvPr/>
          </p:nvSpPr>
          <p:spPr>
            <a:xfrm>
              <a:off x="1593567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3" name="Straight Connector 412"/>
            <p:cNvSpPr/>
            <p:nvPr/>
          </p:nvSpPr>
          <p:spPr>
            <a:xfrm>
              <a:off x="1593567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4" name="Straight Connector 413"/>
            <p:cNvSpPr/>
            <p:nvPr/>
          </p:nvSpPr>
          <p:spPr>
            <a:xfrm>
              <a:off x="1593567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5" name="Straight Connector 414"/>
            <p:cNvSpPr/>
            <p:nvPr/>
          </p:nvSpPr>
          <p:spPr>
            <a:xfrm>
              <a:off x="1593567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6" name="Straight Connector 415"/>
            <p:cNvSpPr/>
            <p:nvPr/>
          </p:nvSpPr>
          <p:spPr>
            <a:xfrm>
              <a:off x="1593567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7" name="Straight Connector 416"/>
            <p:cNvSpPr/>
            <p:nvPr/>
          </p:nvSpPr>
          <p:spPr>
            <a:xfrm>
              <a:off x="1593567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8" name="Straight Connector 417"/>
            <p:cNvSpPr/>
            <p:nvPr/>
          </p:nvSpPr>
          <p:spPr>
            <a:xfrm>
              <a:off x="1593567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9" name="Straight Connector 418"/>
            <p:cNvSpPr/>
            <p:nvPr/>
          </p:nvSpPr>
          <p:spPr>
            <a:xfrm>
              <a:off x="1593567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0" name="Straight Connector 419"/>
            <p:cNvSpPr/>
            <p:nvPr/>
          </p:nvSpPr>
          <p:spPr>
            <a:xfrm>
              <a:off x="1593567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1" name="Straight Connector 420"/>
            <p:cNvSpPr/>
            <p:nvPr/>
          </p:nvSpPr>
          <p:spPr>
            <a:xfrm>
              <a:off x="1593567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2" name="Straight Connector 421"/>
            <p:cNvSpPr/>
            <p:nvPr/>
          </p:nvSpPr>
          <p:spPr>
            <a:xfrm>
              <a:off x="1593567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3" name="Straight Connector 422"/>
            <p:cNvSpPr/>
            <p:nvPr/>
          </p:nvSpPr>
          <p:spPr>
            <a:xfrm>
              <a:off x="1593567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4" name="Straight Connector 423"/>
            <p:cNvSpPr/>
            <p:nvPr/>
          </p:nvSpPr>
          <p:spPr>
            <a:xfrm>
              <a:off x="1593567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5" name="Straight Connector 424"/>
            <p:cNvSpPr/>
            <p:nvPr/>
          </p:nvSpPr>
          <p:spPr>
            <a:xfrm>
              <a:off x="1624111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6" name="Straight Connector 425"/>
            <p:cNvSpPr/>
            <p:nvPr/>
          </p:nvSpPr>
          <p:spPr>
            <a:xfrm>
              <a:off x="1624111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7" name="Straight Connector 426"/>
            <p:cNvSpPr/>
            <p:nvPr/>
          </p:nvSpPr>
          <p:spPr>
            <a:xfrm>
              <a:off x="1624111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8" name="Straight Connector 427"/>
            <p:cNvSpPr/>
            <p:nvPr/>
          </p:nvSpPr>
          <p:spPr>
            <a:xfrm>
              <a:off x="1624111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9" name="Straight Connector 428"/>
            <p:cNvSpPr/>
            <p:nvPr/>
          </p:nvSpPr>
          <p:spPr>
            <a:xfrm>
              <a:off x="1624111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0" name="Straight Connector 429"/>
            <p:cNvSpPr/>
            <p:nvPr/>
          </p:nvSpPr>
          <p:spPr>
            <a:xfrm>
              <a:off x="1624111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1" name="Straight Connector 430"/>
            <p:cNvSpPr/>
            <p:nvPr/>
          </p:nvSpPr>
          <p:spPr>
            <a:xfrm>
              <a:off x="1624111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2" name="Straight Connector 431"/>
            <p:cNvSpPr/>
            <p:nvPr/>
          </p:nvSpPr>
          <p:spPr>
            <a:xfrm>
              <a:off x="1624111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3" name="Straight Connector 432"/>
            <p:cNvSpPr/>
            <p:nvPr/>
          </p:nvSpPr>
          <p:spPr>
            <a:xfrm>
              <a:off x="1624111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4" name="Straight Connector 433"/>
            <p:cNvSpPr/>
            <p:nvPr/>
          </p:nvSpPr>
          <p:spPr>
            <a:xfrm>
              <a:off x="1624111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5" name="Straight Connector 434"/>
            <p:cNvSpPr/>
            <p:nvPr/>
          </p:nvSpPr>
          <p:spPr>
            <a:xfrm>
              <a:off x="1624111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6" name="Straight Connector 435"/>
            <p:cNvSpPr/>
            <p:nvPr/>
          </p:nvSpPr>
          <p:spPr>
            <a:xfrm>
              <a:off x="1624111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7" name="Straight Connector 436"/>
            <p:cNvSpPr/>
            <p:nvPr/>
          </p:nvSpPr>
          <p:spPr>
            <a:xfrm>
              <a:off x="1624111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8" name="Straight Connector 437"/>
            <p:cNvSpPr/>
            <p:nvPr/>
          </p:nvSpPr>
          <p:spPr>
            <a:xfrm>
              <a:off x="1624111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9" name="Straight Connector 438"/>
            <p:cNvSpPr/>
            <p:nvPr/>
          </p:nvSpPr>
          <p:spPr>
            <a:xfrm>
              <a:off x="1624111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0" name="Straight Connector 439"/>
            <p:cNvSpPr/>
            <p:nvPr/>
          </p:nvSpPr>
          <p:spPr>
            <a:xfrm>
              <a:off x="1624111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1" name="Straight Connector 440"/>
            <p:cNvSpPr/>
            <p:nvPr/>
          </p:nvSpPr>
          <p:spPr>
            <a:xfrm>
              <a:off x="1624111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2" name="Straight Connector 441"/>
            <p:cNvSpPr/>
            <p:nvPr/>
          </p:nvSpPr>
          <p:spPr>
            <a:xfrm>
              <a:off x="1654655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3" name="Straight Connector 442"/>
            <p:cNvSpPr/>
            <p:nvPr/>
          </p:nvSpPr>
          <p:spPr>
            <a:xfrm>
              <a:off x="1654655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4" name="Straight Connector 443"/>
            <p:cNvSpPr/>
            <p:nvPr/>
          </p:nvSpPr>
          <p:spPr>
            <a:xfrm>
              <a:off x="1654655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5" name="Straight Connector 444"/>
            <p:cNvSpPr/>
            <p:nvPr/>
          </p:nvSpPr>
          <p:spPr>
            <a:xfrm>
              <a:off x="1654655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6" name="Straight Connector 445"/>
            <p:cNvSpPr/>
            <p:nvPr/>
          </p:nvSpPr>
          <p:spPr>
            <a:xfrm>
              <a:off x="1654655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7" name="Straight Connector 446"/>
            <p:cNvSpPr/>
            <p:nvPr/>
          </p:nvSpPr>
          <p:spPr>
            <a:xfrm>
              <a:off x="1654655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8" name="Straight Connector 447"/>
            <p:cNvSpPr/>
            <p:nvPr/>
          </p:nvSpPr>
          <p:spPr>
            <a:xfrm>
              <a:off x="1654655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9" name="Straight Connector 448"/>
            <p:cNvSpPr/>
            <p:nvPr/>
          </p:nvSpPr>
          <p:spPr>
            <a:xfrm>
              <a:off x="1654655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0" name="Straight Connector 449"/>
            <p:cNvSpPr/>
            <p:nvPr/>
          </p:nvSpPr>
          <p:spPr>
            <a:xfrm>
              <a:off x="1654655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1" name="Straight Connector 450"/>
            <p:cNvSpPr/>
            <p:nvPr/>
          </p:nvSpPr>
          <p:spPr>
            <a:xfrm>
              <a:off x="1654655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2" name="Straight Connector 451"/>
            <p:cNvSpPr/>
            <p:nvPr/>
          </p:nvSpPr>
          <p:spPr>
            <a:xfrm>
              <a:off x="1654655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3" name="Straight Connector 452"/>
            <p:cNvSpPr/>
            <p:nvPr/>
          </p:nvSpPr>
          <p:spPr>
            <a:xfrm>
              <a:off x="1654655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4" name="Straight Connector 453"/>
            <p:cNvSpPr/>
            <p:nvPr/>
          </p:nvSpPr>
          <p:spPr>
            <a:xfrm>
              <a:off x="1654655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5" name="Straight Connector 454"/>
            <p:cNvSpPr/>
            <p:nvPr/>
          </p:nvSpPr>
          <p:spPr>
            <a:xfrm>
              <a:off x="1654655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6" name="Straight Connector 455"/>
            <p:cNvSpPr/>
            <p:nvPr/>
          </p:nvSpPr>
          <p:spPr>
            <a:xfrm>
              <a:off x="1654655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7" name="Straight Connector 456"/>
            <p:cNvSpPr/>
            <p:nvPr/>
          </p:nvSpPr>
          <p:spPr>
            <a:xfrm>
              <a:off x="1654655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8" name="Straight Connector 457"/>
            <p:cNvSpPr/>
            <p:nvPr/>
          </p:nvSpPr>
          <p:spPr>
            <a:xfrm>
              <a:off x="1654655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9" name="Straight Connector 458"/>
            <p:cNvSpPr/>
            <p:nvPr/>
          </p:nvSpPr>
          <p:spPr>
            <a:xfrm>
              <a:off x="1685199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0" name="Straight Connector 459"/>
            <p:cNvSpPr/>
            <p:nvPr/>
          </p:nvSpPr>
          <p:spPr>
            <a:xfrm>
              <a:off x="1685199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1" name="Straight Connector 460"/>
            <p:cNvSpPr/>
            <p:nvPr/>
          </p:nvSpPr>
          <p:spPr>
            <a:xfrm>
              <a:off x="1685199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2" name="Straight Connector 461"/>
            <p:cNvSpPr/>
            <p:nvPr/>
          </p:nvSpPr>
          <p:spPr>
            <a:xfrm>
              <a:off x="1685199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3" name="Straight Connector 462"/>
            <p:cNvSpPr/>
            <p:nvPr/>
          </p:nvSpPr>
          <p:spPr>
            <a:xfrm>
              <a:off x="1685199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4" name="Straight Connector 463"/>
            <p:cNvSpPr/>
            <p:nvPr/>
          </p:nvSpPr>
          <p:spPr>
            <a:xfrm>
              <a:off x="1685199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5" name="Straight Connector 464"/>
            <p:cNvSpPr/>
            <p:nvPr/>
          </p:nvSpPr>
          <p:spPr>
            <a:xfrm>
              <a:off x="1685199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6" name="Straight Connector 465"/>
            <p:cNvSpPr/>
            <p:nvPr/>
          </p:nvSpPr>
          <p:spPr>
            <a:xfrm>
              <a:off x="1685199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7" name="Straight Connector 466"/>
            <p:cNvSpPr/>
            <p:nvPr/>
          </p:nvSpPr>
          <p:spPr>
            <a:xfrm>
              <a:off x="1685199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8" name="Straight Connector 467"/>
            <p:cNvSpPr/>
            <p:nvPr/>
          </p:nvSpPr>
          <p:spPr>
            <a:xfrm>
              <a:off x="1685199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9" name="Straight Connector 468"/>
            <p:cNvSpPr/>
            <p:nvPr/>
          </p:nvSpPr>
          <p:spPr>
            <a:xfrm>
              <a:off x="1685199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0" name="Straight Connector 469"/>
            <p:cNvSpPr/>
            <p:nvPr/>
          </p:nvSpPr>
          <p:spPr>
            <a:xfrm>
              <a:off x="1685199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1" name="Straight Connector 470"/>
            <p:cNvSpPr/>
            <p:nvPr/>
          </p:nvSpPr>
          <p:spPr>
            <a:xfrm>
              <a:off x="1685199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2" name="Straight Connector 471"/>
            <p:cNvSpPr/>
            <p:nvPr/>
          </p:nvSpPr>
          <p:spPr>
            <a:xfrm>
              <a:off x="1685199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3" name="Straight Connector 472"/>
            <p:cNvSpPr/>
            <p:nvPr/>
          </p:nvSpPr>
          <p:spPr>
            <a:xfrm>
              <a:off x="1685199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4" name="Straight Connector 473"/>
            <p:cNvSpPr/>
            <p:nvPr/>
          </p:nvSpPr>
          <p:spPr>
            <a:xfrm>
              <a:off x="1685199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5" name="Straight Connector 474"/>
            <p:cNvSpPr/>
            <p:nvPr/>
          </p:nvSpPr>
          <p:spPr>
            <a:xfrm>
              <a:off x="1685199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6" name="Straight Connector 475"/>
            <p:cNvSpPr/>
            <p:nvPr/>
          </p:nvSpPr>
          <p:spPr>
            <a:xfrm>
              <a:off x="1806994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7" name="Straight Connector 476"/>
            <p:cNvSpPr/>
            <p:nvPr/>
          </p:nvSpPr>
          <p:spPr>
            <a:xfrm>
              <a:off x="1806994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8" name="Straight Connector 477"/>
            <p:cNvSpPr/>
            <p:nvPr/>
          </p:nvSpPr>
          <p:spPr>
            <a:xfrm>
              <a:off x="1806994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9" name="Straight Connector 478"/>
            <p:cNvSpPr/>
            <p:nvPr/>
          </p:nvSpPr>
          <p:spPr>
            <a:xfrm>
              <a:off x="1806994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0" name="Straight Connector 479"/>
            <p:cNvSpPr/>
            <p:nvPr/>
          </p:nvSpPr>
          <p:spPr>
            <a:xfrm>
              <a:off x="1806994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1" name="Straight Connector 480"/>
            <p:cNvSpPr/>
            <p:nvPr/>
          </p:nvSpPr>
          <p:spPr>
            <a:xfrm>
              <a:off x="1806994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2" name="Straight Connector 481"/>
            <p:cNvSpPr/>
            <p:nvPr/>
          </p:nvSpPr>
          <p:spPr>
            <a:xfrm>
              <a:off x="1806994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3" name="Straight Connector 482"/>
            <p:cNvSpPr/>
            <p:nvPr/>
          </p:nvSpPr>
          <p:spPr>
            <a:xfrm>
              <a:off x="1806994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4" name="Straight Connector 483"/>
            <p:cNvSpPr/>
            <p:nvPr/>
          </p:nvSpPr>
          <p:spPr>
            <a:xfrm>
              <a:off x="1806994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5" name="Straight Connector 484"/>
            <p:cNvSpPr/>
            <p:nvPr/>
          </p:nvSpPr>
          <p:spPr>
            <a:xfrm>
              <a:off x="1806994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6" name="Straight Connector 485"/>
            <p:cNvSpPr/>
            <p:nvPr/>
          </p:nvSpPr>
          <p:spPr>
            <a:xfrm>
              <a:off x="1806994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7" name="Straight Connector 486"/>
            <p:cNvSpPr/>
            <p:nvPr/>
          </p:nvSpPr>
          <p:spPr>
            <a:xfrm>
              <a:off x="1806994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8" name="Straight Connector 487"/>
            <p:cNvSpPr/>
            <p:nvPr/>
          </p:nvSpPr>
          <p:spPr>
            <a:xfrm>
              <a:off x="1806994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9" name="Straight Connector 488"/>
            <p:cNvSpPr/>
            <p:nvPr/>
          </p:nvSpPr>
          <p:spPr>
            <a:xfrm>
              <a:off x="1776451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0" name="Straight Connector 489"/>
            <p:cNvSpPr/>
            <p:nvPr/>
          </p:nvSpPr>
          <p:spPr>
            <a:xfrm>
              <a:off x="1776451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1" name="Straight Connector 490"/>
            <p:cNvSpPr/>
            <p:nvPr/>
          </p:nvSpPr>
          <p:spPr>
            <a:xfrm>
              <a:off x="1776451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2" name="Straight Connector 491"/>
            <p:cNvSpPr/>
            <p:nvPr/>
          </p:nvSpPr>
          <p:spPr>
            <a:xfrm>
              <a:off x="1776451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3" name="Straight Connector 492"/>
            <p:cNvSpPr/>
            <p:nvPr/>
          </p:nvSpPr>
          <p:spPr>
            <a:xfrm>
              <a:off x="1776451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4" name="Straight Connector 493"/>
            <p:cNvSpPr/>
            <p:nvPr/>
          </p:nvSpPr>
          <p:spPr>
            <a:xfrm>
              <a:off x="1776451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5" name="Straight Connector 494"/>
            <p:cNvSpPr/>
            <p:nvPr/>
          </p:nvSpPr>
          <p:spPr>
            <a:xfrm>
              <a:off x="1776451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6" name="Straight Connector 495"/>
            <p:cNvSpPr/>
            <p:nvPr/>
          </p:nvSpPr>
          <p:spPr>
            <a:xfrm>
              <a:off x="1776451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7" name="Straight Connector 496"/>
            <p:cNvSpPr/>
            <p:nvPr/>
          </p:nvSpPr>
          <p:spPr>
            <a:xfrm>
              <a:off x="1776451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8" name="Straight Connector 497"/>
            <p:cNvSpPr/>
            <p:nvPr/>
          </p:nvSpPr>
          <p:spPr>
            <a:xfrm>
              <a:off x="1776451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9" name="Straight Connector 498"/>
            <p:cNvSpPr/>
            <p:nvPr/>
          </p:nvSpPr>
          <p:spPr>
            <a:xfrm>
              <a:off x="1776451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0" name="Straight Connector 499"/>
            <p:cNvSpPr/>
            <p:nvPr/>
          </p:nvSpPr>
          <p:spPr>
            <a:xfrm>
              <a:off x="1776451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1" name="Straight Connector 500"/>
            <p:cNvSpPr/>
            <p:nvPr/>
          </p:nvSpPr>
          <p:spPr>
            <a:xfrm>
              <a:off x="1776451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2" name="Straight Connector 501"/>
            <p:cNvSpPr/>
            <p:nvPr/>
          </p:nvSpPr>
          <p:spPr>
            <a:xfrm>
              <a:off x="1745906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3" name="Straight Connector 502"/>
            <p:cNvSpPr/>
            <p:nvPr/>
          </p:nvSpPr>
          <p:spPr>
            <a:xfrm>
              <a:off x="1745906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4" name="Straight Connector 503"/>
            <p:cNvSpPr/>
            <p:nvPr/>
          </p:nvSpPr>
          <p:spPr>
            <a:xfrm>
              <a:off x="1745906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5" name="Straight Connector 504"/>
            <p:cNvSpPr/>
            <p:nvPr/>
          </p:nvSpPr>
          <p:spPr>
            <a:xfrm>
              <a:off x="1745906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6" name="Straight Connector 505"/>
            <p:cNvSpPr/>
            <p:nvPr/>
          </p:nvSpPr>
          <p:spPr>
            <a:xfrm>
              <a:off x="1745906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7" name="Straight Connector 506"/>
            <p:cNvSpPr/>
            <p:nvPr/>
          </p:nvSpPr>
          <p:spPr>
            <a:xfrm>
              <a:off x="1745906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8" name="Straight Connector 507"/>
            <p:cNvSpPr/>
            <p:nvPr/>
          </p:nvSpPr>
          <p:spPr>
            <a:xfrm>
              <a:off x="1745906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9" name="Straight Connector 508"/>
            <p:cNvSpPr/>
            <p:nvPr/>
          </p:nvSpPr>
          <p:spPr>
            <a:xfrm>
              <a:off x="1745906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0" name="Straight Connector 509"/>
            <p:cNvSpPr/>
            <p:nvPr/>
          </p:nvSpPr>
          <p:spPr>
            <a:xfrm>
              <a:off x="1745906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1" name="Straight Connector 510"/>
            <p:cNvSpPr/>
            <p:nvPr/>
          </p:nvSpPr>
          <p:spPr>
            <a:xfrm>
              <a:off x="1745906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2" name="Straight Connector 511"/>
            <p:cNvSpPr/>
            <p:nvPr/>
          </p:nvSpPr>
          <p:spPr>
            <a:xfrm>
              <a:off x="1745906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3" name="Straight Connector 512"/>
            <p:cNvSpPr/>
            <p:nvPr/>
          </p:nvSpPr>
          <p:spPr>
            <a:xfrm>
              <a:off x="1745906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4" name="Straight Connector 513"/>
            <p:cNvSpPr/>
            <p:nvPr/>
          </p:nvSpPr>
          <p:spPr>
            <a:xfrm>
              <a:off x="1745906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5" name="Straight Connector 514"/>
            <p:cNvSpPr/>
            <p:nvPr/>
          </p:nvSpPr>
          <p:spPr>
            <a:xfrm>
              <a:off x="1715743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6" name="Straight Connector 515"/>
            <p:cNvSpPr/>
            <p:nvPr/>
          </p:nvSpPr>
          <p:spPr>
            <a:xfrm>
              <a:off x="1715743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7" name="Straight Connector 516"/>
            <p:cNvSpPr/>
            <p:nvPr/>
          </p:nvSpPr>
          <p:spPr>
            <a:xfrm>
              <a:off x="1715743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8" name="Straight Connector 517"/>
            <p:cNvSpPr/>
            <p:nvPr/>
          </p:nvSpPr>
          <p:spPr>
            <a:xfrm>
              <a:off x="1715743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9" name="Straight Connector 518"/>
            <p:cNvSpPr/>
            <p:nvPr/>
          </p:nvSpPr>
          <p:spPr>
            <a:xfrm>
              <a:off x="1715743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0" name="Straight Connector 519"/>
            <p:cNvSpPr/>
            <p:nvPr/>
          </p:nvSpPr>
          <p:spPr>
            <a:xfrm>
              <a:off x="1715743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1" name="Straight Connector 520"/>
            <p:cNvSpPr/>
            <p:nvPr/>
          </p:nvSpPr>
          <p:spPr>
            <a:xfrm>
              <a:off x="1715743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2" name="Straight Connector 521"/>
            <p:cNvSpPr/>
            <p:nvPr/>
          </p:nvSpPr>
          <p:spPr>
            <a:xfrm>
              <a:off x="1715743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3" name="Straight Connector 522"/>
            <p:cNvSpPr/>
            <p:nvPr/>
          </p:nvSpPr>
          <p:spPr>
            <a:xfrm>
              <a:off x="1715743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4" name="Straight Connector 523"/>
            <p:cNvSpPr/>
            <p:nvPr/>
          </p:nvSpPr>
          <p:spPr>
            <a:xfrm>
              <a:off x="1715743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5" name="Straight Connector 524"/>
            <p:cNvSpPr/>
            <p:nvPr/>
          </p:nvSpPr>
          <p:spPr>
            <a:xfrm>
              <a:off x="1715743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6" name="Straight Connector 525"/>
            <p:cNvSpPr/>
            <p:nvPr/>
          </p:nvSpPr>
          <p:spPr>
            <a:xfrm>
              <a:off x="1715743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7" name="Straight Connector 526"/>
            <p:cNvSpPr/>
            <p:nvPr/>
          </p:nvSpPr>
          <p:spPr>
            <a:xfrm>
              <a:off x="1715743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8" name="Freeform: Shape 525"/>
            <p:cNvSpPr/>
            <p:nvPr/>
          </p:nvSpPr>
          <p:spPr>
            <a:xfrm>
              <a:off x="345080" y="2270618"/>
              <a:ext cx="67960" cy="161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9" h="423">
                  <a:moveTo>
                    <a:pt x="179" y="0"/>
                  </a:moveTo>
                  <a:lnTo>
                    <a:pt x="179" y="423"/>
                  </a:lnTo>
                  <a:lnTo>
                    <a:pt x="0" y="2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9" name="Straight Connector 528"/>
            <p:cNvSpPr/>
            <p:nvPr/>
          </p:nvSpPr>
          <p:spPr>
            <a:xfrm>
              <a:off x="345843" y="2436702"/>
              <a:ext cx="3856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0" name="Freeform: Shape 527"/>
            <p:cNvSpPr/>
            <p:nvPr/>
          </p:nvSpPr>
          <p:spPr>
            <a:xfrm>
              <a:off x="4941957" y="2269090"/>
              <a:ext cx="57652" cy="13630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2" h="358">
                  <a:moveTo>
                    <a:pt x="152" y="0"/>
                  </a:moveTo>
                  <a:lnTo>
                    <a:pt x="152" y="358"/>
                  </a:lnTo>
                  <a:lnTo>
                    <a:pt x="0" y="2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1" name="Straight Connector 530"/>
            <p:cNvSpPr/>
            <p:nvPr/>
          </p:nvSpPr>
          <p:spPr>
            <a:xfrm>
              <a:off x="4942721" y="2409594"/>
              <a:ext cx="3245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2" name="Freeform: Shape 529"/>
            <p:cNvSpPr/>
            <p:nvPr/>
          </p:nvSpPr>
          <p:spPr>
            <a:xfrm>
              <a:off x="549343" y="2275964"/>
              <a:ext cx="95068" cy="22373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50" h="587">
                  <a:moveTo>
                    <a:pt x="250" y="0"/>
                  </a:moveTo>
                  <a:lnTo>
                    <a:pt x="250" y="587"/>
                  </a:lnTo>
                  <a:lnTo>
                    <a:pt x="0" y="3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3" name="Straight Connector 532"/>
            <p:cNvSpPr/>
            <p:nvPr/>
          </p:nvSpPr>
          <p:spPr>
            <a:xfrm>
              <a:off x="551252" y="2506571"/>
              <a:ext cx="5345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4" name="Freeform: Shape 531"/>
            <p:cNvSpPr/>
            <p:nvPr/>
          </p:nvSpPr>
          <p:spPr>
            <a:xfrm>
              <a:off x="4536486" y="2218312"/>
              <a:ext cx="116831" cy="27604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724">
                  <a:moveTo>
                    <a:pt x="307" y="0"/>
                  </a:moveTo>
                  <a:lnTo>
                    <a:pt x="307" y="724"/>
                  </a:lnTo>
                  <a:lnTo>
                    <a:pt x="0" y="48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5" name="Straight Connector 534"/>
            <p:cNvSpPr/>
            <p:nvPr/>
          </p:nvSpPr>
          <p:spPr>
            <a:xfrm>
              <a:off x="4538394" y="2502753"/>
              <a:ext cx="6567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6" name="Straight Connector 535"/>
            <p:cNvSpPr/>
            <p:nvPr/>
          </p:nvSpPr>
          <p:spPr>
            <a:xfrm>
              <a:off x="-1" y="2014812"/>
              <a:ext cx="100521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7" name="Straight Connector 536"/>
            <p:cNvSpPr/>
            <p:nvPr/>
          </p:nvSpPr>
          <p:spPr>
            <a:xfrm>
              <a:off x="53002" y="1773896"/>
              <a:ext cx="0" cy="33178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8" name="Straight Connector 537"/>
            <p:cNvSpPr/>
            <p:nvPr/>
          </p:nvSpPr>
          <p:spPr>
            <a:xfrm>
              <a:off x="912817" y="1773896"/>
              <a:ext cx="0" cy="33178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9" name="Freeform: Shape 536"/>
            <p:cNvSpPr/>
            <p:nvPr/>
          </p:nvSpPr>
          <p:spPr>
            <a:xfrm>
              <a:off x="54911" y="1800622"/>
              <a:ext cx="857524" cy="16226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47" h="426">
                  <a:moveTo>
                    <a:pt x="2247" y="0"/>
                  </a:moveTo>
                  <a:cubicBezTo>
                    <a:pt x="1971" y="261"/>
                    <a:pt x="1567" y="426"/>
                    <a:pt x="1117" y="426"/>
                  </a:cubicBezTo>
                  <a:cubicBezTo>
                    <a:pt x="674" y="426"/>
                    <a:pt x="276" y="266"/>
                    <a:pt x="0" y="1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0" name="Straight Connector 539"/>
            <p:cNvSpPr/>
            <p:nvPr/>
          </p:nvSpPr>
          <p:spPr>
            <a:xfrm>
              <a:off x="122490" y="1857892"/>
              <a:ext cx="0" cy="15424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1" name="Straight Connector 540"/>
            <p:cNvSpPr/>
            <p:nvPr/>
          </p:nvSpPr>
          <p:spPr>
            <a:xfrm>
              <a:off x="172888" y="1888054"/>
              <a:ext cx="0" cy="12675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2" name="Straight Connector 541"/>
            <p:cNvSpPr/>
            <p:nvPr/>
          </p:nvSpPr>
          <p:spPr>
            <a:xfrm>
              <a:off x="225576" y="1914780"/>
              <a:ext cx="0" cy="10003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3" name="Straight Connector 542"/>
            <p:cNvSpPr/>
            <p:nvPr/>
          </p:nvSpPr>
          <p:spPr>
            <a:xfrm>
              <a:off x="276738" y="1933489"/>
              <a:ext cx="0" cy="8132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4" name="Straight Connector 543"/>
            <p:cNvSpPr/>
            <p:nvPr/>
          </p:nvSpPr>
          <p:spPr>
            <a:xfrm>
              <a:off x="327899" y="1945706"/>
              <a:ext cx="0" cy="6910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5" name="Straight Connector 544"/>
            <p:cNvSpPr/>
            <p:nvPr/>
          </p:nvSpPr>
          <p:spPr>
            <a:xfrm>
              <a:off x="379060" y="1956778"/>
              <a:ext cx="0" cy="5803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6" name="Straight Connector 545"/>
            <p:cNvSpPr/>
            <p:nvPr/>
          </p:nvSpPr>
          <p:spPr>
            <a:xfrm>
              <a:off x="430603" y="1961360"/>
              <a:ext cx="0" cy="5345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7" name="Straight Connector 546"/>
            <p:cNvSpPr/>
            <p:nvPr/>
          </p:nvSpPr>
          <p:spPr>
            <a:xfrm>
              <a:off x="840657" y="1857892"/>
              <a:ext cx="0" cy="15424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8" name="Straight Connector 547"/>
            <p:cNvSpPr/>
            <p:nvPr/>
          </p:nvSpPr>
          <p:spPr>
            <a:xfrm>
              <a:off x="789877" y="1888054"/>
              <a:ext cx="0" cy="12675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9" name="Straight Connector 548"/>
            <p:cNvSpPr/>
            <p:nvPr/>
          </p:nvSpPr>
          <p:spPr>
            <a:xfrm>
              <a:off x="737571" y="1914780"/>
              <a:ext cx="0" cy="10003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0" name="Straight Connector 549"/>
            <p:cNvSpPr/>
            <p:nvPr/>
          </p:nvSpPr>
          <p:spPr>
            <a:xfrm>
              <a:off x="686409" y="1933489"/>
              <a:ext cx="0" cy="8132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1" name="Straight Connector 550"/>
            <p:cNvSpPr/>
            <p:nvPr/>
          </p:nvSpPr>
          <p:spPr>
            <a:xfrm>
              <a:off x="635248" y="1945706"/>
              <a:ext cx="0" cy="6910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2" name="Straight Connector 551"/>
            <p:cNvSpPr/>
            <p:nvPr/>
          </p:nvSpPr>
          <p:spPr>
            <a:xfrm>
              <a:off x="584087" y="1956778"/>
              <a:ext cx="0" cy="5803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3" name="Straight Connector 552"/>
            <p:cNvSpPr/>
            <p:nvPr/>
          </p:nvSpPr>
          <p:spPr>
            <a:xfrm>
              <a:off x="532544" y="1961360"/>
              <a:ext cx="0" cy="5345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4" name="Straight Connector 553"/>
            <p:cNvSpPr/>
            <p:nvPr/>
          </p:nvSpPr>
          <p:spPr>
            <a:xfrm>
              <a:off x="481765" y="1963269"/>
              <a:ext cx="0" cy="4887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5" name="Straight Connector 554"/>
            <p:cNvSpPr/>
            <p:nvPr/>
          </p:nvSpPr>
          <p:spPr>
            <a:xfrm>
              <a:off x="839131" y="2014812"/>
              <a:ext cx="17219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6" name="Freeform: Shape 562"/>
            <p:cNvSpPr/>
            <p:nvPr/>
          </p:nvSpPr>
          <p:spPr>
            <a:xfrm>
              <a:off x="915108" y="1804822"/>
              <a:ext cx="174101" cy="10957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57" h="288">
                  <a:moveTo>
                    <a:pt x="457" y="288"/>
                  </a:moveTo>
                  <a:cubicBezTo>
                    <a:pt x="284" y="217"/>
                    <a:pt x="129" y="119"/>
                    <a:pt x="0" y="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7" name="Straight Connector 556"/>
            <p:cNvSpPr/>
            <p:nvPr/>
          </p:nvSpPr>
          <p:spPr>
            <a:xfrm>
              <a:off x="981923" y="1857892"/>
              <a:ext cx="0" cy="15424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8" name="Straight Connector 557"/>
            <p:cNvSpPr/>
            <p:nvPr/>
          </p:nvSpPr>
          <p:spPr>
            <a:xfrm>
              <a:off x="1033084" y="1888054"/>
              <a:ext cx="0" cy="9926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9" name="Straight Connector 558"/>
            <p:cNvSpPr/>
            <p:nvPr/>
          </p:nvSpPr>
          <p:spPr>
            <a:xfrm>
              <a:off x="1085391" y="1914780"/>
              <a:ext cx="0" cy="572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0" name="Freeform: Shape 566"/>
            <p:cNvSpPr/>
            <p:nvPr/>
          </p:nvSpPr>
          <p:spPr>
            <a:xfrm>
              <a:off x="8772561" y="1252357"/>
              <a:ext cx="296277" cy="74451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77" h="1951" fill="none">
                  <a:moveTo>
                    <a:pt x="0" y="1949"/>
                  </a:moveTo>
                  <a:lnTo>
                    <a:pt x="399" y="0"/>
                  </a:lnTo>
                  <a:lnTo>
                    <a:pt x="777" y="195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1" name="Freeform: Shape 567"/>
            <p:cNvSpPr/>
            <p:nvPr/>
          </p:nvSpPr>
          <p:spPr>
            <a:xfrm>
              <a:off x="8843956" y="1400877"/>
              <a:ext cx="159593" cy="20846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9" h="547" fill="none">
                  <a:moveTo>
                    <a:pt x="20" y="547"/>
                  </a:moveTo>
                  <a:lnTo>
                    <a:pt x="0" y="0"/>
                  </a:lnTo>
                  <a:lnTo>
                    <a:pt x="419" y="0"/>
                  </a:lnTo>
                  <a:lnTo>
                    <a:pt x="390" y="5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2" name="Straight Connector 561"/>
            <p:cNvSpPr/>
            <p:nvPr/>
          </p:nvSpPr>
          <p:spPr>
            <a:xfrm>
              <a:off x="8911153" y="1435621"/>
              <a:ext cx="232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3" name="Straight Connector 562"/>
            <p:cNvSpPr/>
            <p:nvPr/>
          </p:nvSpPr>
          <p:spPr>
            <a:xfrm>
              <a:off x="8904664" y="1469219"/>
              <a:ext cx="3588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4" name="Straight Connector 563"/>
            <p:cNvSpPr/>
            <p:nvPr/>
          </p:nvSpPr>
          <p:spPr>
            <a:xfrm>
              <a:off x="8898937" y="1502817"/>
              <a:ext cx="4734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5" name="Straight Connector 564"/>
            <p:cNvSpPr/>
            <p:nvPr/>
          </p:nvSpPr>
          <p:spPr>
            <a:xfrm>
              <a:off x="8892828" y="1536033"/>
              <a:ext cx="591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6" name="Straight Connector 565"/>
            <p:cNvSpPr/>
            <p:nvPr/>
          </p:nvSpPr>
          <p:spPr>
            <a:xfrm>
              <a:off x="8886719" y="1569633"/>
              <a:ext cx="7139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7" name="Straight Connector 566"/>
            <p:cNvSpPr/>
            <p:nvPr/>
          </p:nvSpPr>
          <p:spPr>
            <a:xfrm>
              <a:off x="8880610" y="1603231"/>
              <a:ext cx="8323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8" name="Straight Connector 567"/>
            <p:cNvSpPr/>
            <p:nvPr/>
          </p:nvSpPr>
          <p:spPr>
            <a:xfrm>
              <a:off x="8874500" y="1636830"/>
              <a:ext cx="9545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9" name="Straight Connector 568"/>
            <p:cNvSpPr/>
            <p:nvPr/>
          </p:nvSpPr>
          <p:spPr>
            <a:xfrm>
              <a:off x="8868775" y="1670428"/>
              <a:ext cx="10728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0" name="Straight Connector 569"/>
            <p:cNvSpPr/>
            <p:nvPr/>
          </p:nvSpPr>
          <p:spPr>
            <a:xfrm>
              <a:off x="8862666" y="1704027"/>
              <a:ext cx="11912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1" name="Straight Connector 570"/>
            <p:cNvSpPr/>
            <p:nvPr/>
          </p:nvSpPr>
          <p:spPr>
            <a:xfrm>
              <a:off x="8856557" y="1737625"/>
              <a:ext cx="13095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2" name="Straight Connector 571"/>
            <p:cNvSpPr/>
            <p:nvPr/>
          </p:nvSpPr>
          <p:spPr>
            <a:xfrm>
              <a:off x="8850448" y="1770842"/>
              <a:ext cx="14317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3" name="Straight Connector 572"/>
            <p:cNvSpPr/>
            <p:nvPr/>
          </p:nvSpPr>
          <p:spPr>
            <a:xfrm>
              <a:off x="8844339" y="1804058"/>
              <a:ext cx="15501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4" name="Straight Connector 573"/>
            <p:cNvSpPr/>
            <p:nvPr/>
          </p:nvSpPr>
          <p:spPr>
            <a:xfrm>
              <a:off x="8838230" y="1837657"/>
              <a:ext cx="1672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5" name="Straight Connector 574"/>
            <p:cNvSpPr/>
            <p:nvPr/>
          </p:nvSpPr>
          <p:spPr>
            <a:xfrm>
              <a:off x="8832502" y="1871255"/>
              <a:ext cx="17868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6" name="Straight Connector 575"/>
            <p:cNvSpPr/>
            <p:nvPr/>
          </p:nvSpPr>
          <p:spPr>
            <a:xfrm>
              <a:off x="8826012" y="1904854"/>
              <a:ext cx="19128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7" name="Straight Connector 576"/>
            <p:cNvSpPr/>
            <p:nvPr/>
          </p:nvSpPr>
          <p:spPr>
            <a:xfrm>
              <a:off x="8820286" y="1938452"/>
              <a:ext cx="20311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8" name="Straight Connector 577"/>
            <p:cNvSpPr/>
            <p:nvPr/>
          </p:nvSpPr>
          <p:spPr>
            <a:xfrm>
              <a:off x="8814177" y="1972050"/>
              <a:ext cx="21495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9" name="Arc 578"/>
            <p:cNvSpPr/>
            <p:nvPr/>
          </p:nvSpPr>
          <p:spPr>
            <a:xfrm>
              <a:off x="-1444417" y="389303"/>
              <a:ext cx="1707410" cy="1707410"/>
            </a:xfrm>
            <a:prstGeom prst="arc">
              <a:avLst>
                <a:gd name="adj1" fmla="val 2456154"/>
                <a:gd name="adj2" fmla="val 2779844"/>
              </a:avLst>
            </a:prstGeom>
            <a:ln cap="rnd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282828"/>
                </a:solidFill>
              </a:endParaRPr>
            </a:p>
          </p:txBody>
        </p:sp>
        <p:sp>
          <p:nvSpPr>
            <p:cNvPr id="580" name="Straight Connector 579"/>
            <p:cNvSpPr/>
            <p:nvPr userDrawn="1"/>
          </p:nvSpPr>
          <p:spPr>
            <a:xfrm>
              <a:off x="8721398" y="2014813"/>
              <a:ext cx="42260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2" name="Straight Connector 581"/>
            <p:cNvSpPr/>
            <p:nvPr userDrawn="1"/>
          </p:nvSpPr>
          <p:spPr>
            <a:xfrm>
              <a:off x="9023402" y="2105024"/>
              <a:ext cx="12059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3" name="Straight Connector 582"/>
            <p:cNvSpPr/>
            <p:nvPr userDrawn="1"/>
          </p:nvSpPr>
          <p:spPr>
            <a:xfrm>
              <a:off x="9023402" y="2060575"/>
              <a:ext cx="0" cy="417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16858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2929740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gu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035020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32678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74662" y="1201738"/>
            <a:ext cx="8280057" cy="321999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90" marR="0" indent="-285690" algn="ct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1826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35039721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500063" y="3895662"/>
            <a:ext cx="8139112" cy="556563"/>
          </a:xfrm>
          <a:prstGeom prst="rect">
            <a:avLst/>
          </a:prstGeom>
          <a:noFill/>
          <a:extLst/>
        </p:spPr>
        <p:txBody>
          <a:bodyPr wrap="square" lIns="182880" tIns="91440" rIns="182880" bIns="91440" numCol="1" anchor="ctr" anchorCtr="0" compatLnSpc="1">
            <a:prstTxWarp prst="textNoShape">
              <a:avLst/>
            </a:prstTxWarp>
            <a:spAutoFit/>
          </a:bodyPr>
          <a:lstStyle>
            <a:lvl1pPr marL="0" indent="0" algn="ctr">
              <a:lnSpc>
                <a:spcPts val="2900"/>
              </a:lnSpc>
              <a:spcBef>
                <a:spcPts val="0"/>
              </a:spcBef>
              <a:buNone/>
              <a:defRPr sz="24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5856231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9301163" cy="2843212"/>
          </a:xfrm>
          <a:prstGeom prst="rect">
            <a:avLst/>
          </a:prstGeom>
          <a:solidFill>
            <a:schemeClr val="bg2"/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8785" y="3054518"/>
            <a:ext cx="8364236" cy="564257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137952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50691913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0932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1"/>
            <a:ext cx="8480388" cy="4266646"/>
          </a:xfrm>
          <a:prstGeom prst="rect">
            <a:avLst/>
          </a:prstGeom>
          <a:solidFill>
            <a:schemeClr val="bg2"/>
          </a:solidFill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54561097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201738"/>
            <a:ext cx="8277344" cy="3389312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600" indent="-17145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457200" indent="-1651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85800" indent="-10953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1169524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3399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55866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0039571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36518287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9265116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33400" y="1347788"/>
            <a:ext cx="8115300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11503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_Pag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 smtClean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665182"/>
            <a:ext cx="3662024" cy="292586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60000"/>
              <a:buFont typeface="Arial"/>
              <a:buChar char="•"/>
              <a:defRPr sz="20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60000"/>
              <a:buFont typeface="Arial"/>
              <a:buChar char="•"/>
              <a:defRPr sz="18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403225" indent="-114300">
              <a:buClr>
                <a:schemeClr val="tx2"/>
              </a:buClr>
              <a:buSzPct val="60000"/>
              <a:buFont typeface="Arial"/>
              <a:buChar char="•"/>
              <a:defRPr sz="16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517525" indent="-114300">
              <a:buClr>
                <a:schemeClr val="tx2"/>
              </a:buClr>
              <a:buSzPct val="60000"/>
              <a:buFont typeface="Arial"/>
              <a:buChar char="•"/>
              <a:defRPr sz="14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631825" indent="-114300">
              <a:buClr>
                <a:schemeClr val="tx2"/>
              </a:buClr>
              <a:buSzPct val="60000"/>
              <a:buFont typeface="Arial"/>
              <a:buChar char="•"/>
              <a:defRPr sz="12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3686559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5683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</a:t>
            </a:r>
            <a:r>
              <a:rPr lang="en-US" sz="600" kern="1200" spc="20" baseline="0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2017  </a:t>
            </a: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100519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pos="288" userDrawn="1">
          <p15:clr>
            <a:srgbClr val="FBAE40"/>
          </p15:clr>
        </p15:guide>
        <p15:guide id="3" pos="2598" userDrawn="1">
          <p15:clr>
            <a:srgbClr val="FBAE40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33400" y="1201738"/>
            <a:ext cx="8115300" cy="280828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1380071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74662" y="1347788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90" marR="0" indent="-285690" algn="ct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530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_Pag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665182"/>
            <a:ext cx="3662024" cy="292586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60000"/>
              <a:buFont typeface="Arial"/>
              <a:buChar char="•"/>
              <a:defRPr sz="20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60000"/>
              <a:buFont typeface="Arial"/>
              <a:buChar char="•"/>
              <a:defRPr sz="18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403225" indent="-114300">
              <a:buClr>
                <a:schemeClr val="tx2"/>
              </a:buClr>
              <a:buSzPct val="60000"/>
              <a:buFont typeface="Arial"/>
              <a:buChar char="•"/>
              <a:defRPr sz="16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517525" indent="-114300">
              <a:buClr>
                <a:schemeClr val="tx2"/>
              </a:buClr>
              <a:buSzPct val="60000"/>
              <a:buFont typeface="Arial"/>
              <a:buChar char="•"/>
              <a:defRPr sz="14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631825" indent="-114300">
              <a:buClr>
                <a:schemeClr val="tx2"/>
              </a:buClr>
              <a:buSzPct val="60000"/>
              <a:buFont typeface="Arial"/>
              <a:buChar char="•"/>
              <a:defRPr sz="12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3686559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5683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739079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">
          <p15:clr>
            <a:srgbClr val="FBAE40"/>
          </p15:clr>
        </p15:guide>
        <p15:guide id="3" pos="2598">
          <p15:clr>
            <a:srgbClr val="FBAE40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19100" y="1657350"/>
            <a:ext cx="3827463" cy="18288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31812"/>
            <a:ext cx="3551237" cy="4059237"/>
          </a:xfrm>
          <a:prstGeom prst="rect">
            <a:avLst/>
          </a:prstGeom>
        </p:spPr>
        <p:txBody>
          <a:bodyPr lIns="0" rIns="0" anchor="ctr" anchorCtr="0"/>
          <a:lstStyle>
            <a:lvl1pPr marL="169863" indent="-16986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>
                <a:tab pos="228600" algn="l"/>
              </a:tabLst>
              <a:defRPr sz="2400"/>
            </a:lvl1pPr>
            <a:lvl2pPr marL="346075" indent="-171450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400"/>
            </a:lvl2pPr>
            <a:lvl3pPr marL="457200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000"/>
            </a:lvl3pPr>
            <a:lvl4pPr marL="574675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/>
              <a:defRPr sz="1800"/>
            </a:lvl4pPr>
            <a:lvl5pPr marL="744538" indent="-11271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9071537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alf_Page_Tex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510540"/>
            <a:ext cx="3808797" cy="655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10540"/>
            <a:ext cx="3551237" cy="4080510"/>
          </a:xfrm>
          <a:prstGeom prst="rect">
            <a:avLst/>
          </a:prstGeom>
        </p:spPr>
        <p:txBody>
          <a:bodyPr lIns="0" rIns="0"/>
          <a:lstStyle>
            <a:lvl1pPr marL="1143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1pPr>
            <a:lvl2pPr marL="2286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2pPr>
            <a:lvl3pPr marL="342900" indent="-114300">
              <a:lnSpc>
                <a:spcPct val="100000"/>
              </a:lnSpc>
              <a:buClr>
                <a:schemeClr val="tx1"/>
              </a:buClr>
              <a:buSzPct val="60000"/>
              <a:defRPr sz="1800"/>
            </a:lvl3pPr>
            <a:lvl4pPr marL="457200" indent="-123825">
              <a:lnSpc>
                <a:spcPct val="100000"/>
              </a:lnSpc>
              <a:buClr>
                <a:schemeClr val="tx1"/>
              </a:buClr>
              <a:buSzPct val="60000"/>
              <a:defRPr sz="1600"/>
            </a:lvl4pPr>
            <a:lvl5pPr marL="574675" indent="-117475">
              <a:lnSpc>
                <a:spcPct val="100000"/>
              </a:lnSpc>
              <a:buClr>
                <a:schemeClr val="tx1"/>
              </a:buClr>
              <a:buSzPct val="60000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37766" y="1659842"/>
            <a:ext cx="3808797" cy="2931208"/>
          </a:xfrm>
          <a:prstGeom prst="rect">
            <a:avLst/>
          </a:prstGeom>
        </p:spPr>
        <p:txBody>
          <a:bodyPr/>
          <a:lstStyle>
            <a:lvl1pPr marL="114300" indent="-114300">
              <a:buClr>
                <a:schemeClr val="tx2"/>
              </a:buClr>
              <a:buSzPct val="60000"/>
              <a:defRPr lang="en-US" sz="2000" kern="1200" dirty="0" smtClean="0">
                <a:solidFill>
                  <a:schemeClr val="bg1"/>
                </a:solidFill>
                <a:latin typeface="+mn-lt"/>
                <a:ea typeface="ＭＳ Ｐゴシック" charset="0"/>
                <a:cs typeface="CiscoSans"/>
              </a:defRPr>
            </a:lvl1pPr>
            <a:lvl2pPr marL="228600" indent="-114300">
              <a:buClr>
                <a:schemeClr val="tx2"/>
              </a:buClr>
              <a:buSzPct val="60000"/>
              <a:defRPr sz="2000">
                <a:solidFill>
                  <a:schemeClr val="bg1"/>
                </a:solidFill>
              </a:defRPr>
            </a:lvl2pPr>
            <a:lvl3pPr marL="342900" indent="-114300">
              <a:buClr>
                <a:schemeClr val="tx2"/>
              </a:buClr>
              <a:buSzPct val="60000"/>
              <a:defRPr sz="1800">
                <a:solidFill>
                  <a:schemeClr val="bg1"/>
                </a:solidFill>
              </a:defRPr>
            </a:lvl3pPr>
            <a:lvl4pPr marL="457200" indent="-123825">
              <a:buClr>
                <a:schemeClr val="tx2"/>
              </a:buClr>
              <a:buSzPct val="60000"/>
              <a:defRPr sz="1600">
                <a:solidFill>
                  <a:schemeClr val="bg1"/>
                </a:solidFill>
              </a:defRPr>
            </a:lvl4pPr>
            <a:lvl5pPr marL="574675" indent="-117475">
              <a:buClr>
                <a:schemeClr val="tx2"/>
              </a:buClr>
              <a:buSzPct val="60000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923868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" pos="2675">
          <p15:clr>
            <a:srgbClr val="FBAE40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alf_Page_Pictur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336484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089525" y="4062350"/>
            <a:ext cx="3559175" cy="5251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286316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7577348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alf_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405923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2635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87123476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Half_Page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2946839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6095466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alf_Page_Picture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4580092" y="0"/>
            <a:ext cx="4563907" cy="5143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2994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105978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Half_Pag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179921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228721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 smtClean="0">
              <a:latin typeface="+mj-lt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19100" y="1657350"/>
            <a:ext cx="3827463" cy="18288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31812"/>
            <a:ext cx="3551237" cy="4059237"/>
          </a:xfrm>
          <a:prstGeom prst="rect">
            <a:avLst/>
          </a:prstGeom>
        </p:spPr>
        <p:txBody>
          <a:bodyPr lIns="0" rIns="0" anchor="ctr" anchorCtr="0"/>
          <a:lstStyle>
            <a:lvl1pPr marL="169863" indent="-16986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>
                <a:tab pos="228600" algn="l"/>
              </a:tabLst>
              <a:defRPr sz="2400"/>
            </a:lvl1pPr>
            <a:lvl2pPr marL="346075" indent="-171450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400"/>
            </a:lvl2pPr>
            <a:lvl3pPr marL="457200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000"/>
            </a:lvl3pPr>
            <a:lvl4pPr marL="574675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/>
              <a:defRPr sz="1800"/>
            </a:lvl4pPr>
            <a:lvl5pPr marL="744538" indent="-11271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18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</a:t>
            </a:r>
            <a:r>
              <a:rPr lang="en-US" sz="600" kern="1200" spc="20" baseline="0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2017  </a:t>
            </a: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255683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6" userDrawn="1">
          <p15:clr>
            <a:srgbClr val="FBAE40"/>
          </p15:clr>
        </p15:guide>
        <p15:guide id="4" pos="2675">
          <p15:clr>
            <a:srgbClr val="FBAE40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Half_Pag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407027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457671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6"/>
          <p:cNvSpPr>
            <a:spLocks noChangeAspect="1" noEditPoints="1"/>
          </p:cNvSpPr>
          <p:nvPr userDrawn="1"/>
        </p:nvSpPr>
        <p:spPr bwMode="auto">
          <a:xfrm>
            <a:off x="3762994" y="2129076"/>
            <a:ext cx="1618012" cy="859571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5073"/>
              </a:solidFill>
            </a:endParaRPr>
          </a:p>
        </p:txBody>
      </p:sp>
      <p:grpSp>
        <p:nvGrpSpPr>
          <p:cNvPr id="6" name="Group 5"/>
          <p:cNvGrpSpPr>
            <a:grpSpLocks noChangeAspect="1"/>
          </p:cNvGrpSpPr>
          <p:nvPr userDrawn="1"/>
        </p:nvGrpSpPr>
        <p:grpSpPr>
          <a:xfrm>
            <a:off x="151952" y="3800884"/>
            <a:ext cx="8840097" cy="1216152"/>
            <a:chOff x="-5539320" y="3765960"/>
            <a:chExt cx="9964800" cy="1370880"/>
          </a:xfrm>
        </p:grpSpPr>
        <p:sp>
          <p:nvSpPr>
            <p:cNvPr id="7" name="Freeform: Shape 2"/>
            <p:cNvSpPr/>
            <p:nvPr/>
          </p:nvSpPr>
          <p:spPr>
            <a:xfrm>
              <a:off x="-777239" y="4393080"/>
              <a:ext cx="321840" cy="321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95" h="895">
                  <a:moveTo>
                    <a:pt x="895" y="448"/>
                  </a:moveTo>
                  <a:cubicBezTo>
                    <a:pt x="895" y="530"/>
                    <a:pt x="876" y="600"/>
                    <a:pt x="835" y="672"/>
                  </a:cubicBezTo>
                  <a:cubicBezTo>
                    <a:pt x="794" y="743"/>
                    <a:pt x="742" y="793"/>
                    <a:pt x="671" y="835"/>
                  </a:cubicBezTo>
                  <a:cubicBezTo>
                    <a:pt x="599" y="876"/>
                    <a:pt x="529" y="895"/>
                    <a:pt x="447" y="895"/>
                  </a:cubicBezTo>
                  <a:cubicBezTo>
                    <a:pt x="364" y="895"/>
                    <a:pt x="294" y="876"/>
                    <a:pt x="223" y="835"/>
                  </a:cubicBezTo>
                  <a:cubicBezTo>
                    <a:pt x="151" y="793"/>
                    <a:pt x="101" y="743"/>
                    <a:pt x="60" y="672"/>
                  </a:cubicBezTo>
                  <a:cubicBezTo>
                    <a:pt x="18" y="600"/>
                    <a:pt x="0" y="530"/>
                    <a:pt x="0" y="448"/>
                  </a:cubicBezTo>
                  <a:cubicBezTo>
                    <a:pt x="0" y="365"/>
                    <a:pt x="18" y="295"/>
                    <a:pt x="60" y="224"/>
                  </a:cubicBezTo>
                  <a:cubicBezTo>
                    <a:pt x="101" y="153"/>
                    <a:pt x="151" y="101"/>
                    <a:pt x="223" y="60"/>
                  </a:cubicBezTo>
                  <a:cubicBezTo>
                    <a:pt x="294" y="19"/>
                    <a:pt x="365" y="0"/>
                    <a:pt x="447" y="0"/>
                  </a:cubicBezTo>
                  <a:cubicBezTo>
                    <a:pt x="530" y="0"/>
                    <a:pt x="599" y="19"/>
                    <a:pt x="671" y="60"/>
                  </a:cubicBezTo>
                  <a:cubicBezTo>
                    <a:pt x="742" y="101"/>
                    <a:pt x="794" y="153"/>
                    <a:pt x="835" y="224"/>
                  </a:cubicBezTo>
                  <a:cubicBezTo>
                    <a:pt x="876" y="295"/>
                    <a:pt x="895" y="365"/>
                    <a:pt x="895" y="44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" name="Straight Connector 7"/>
            <p:cNvSpPr/>
            <p:nvPr/>
          </p:nvSpPr>
          <p:spPr>
            <a:xfrm>
              <a:off x="-616320" y="4386240"/>
              <a:ext cx="0" cy="212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" name="Straight Connector 8"/>
            <p:cNvSpPr/>
            <p:nvPr/>
          </p:nvSpPr>
          <p:spPr>
            <a:xfrm>
              <a:off x="-616320" y="4707360"/>
              <a:ext cx="0" cy="2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Straight Connector 9"/>
            <p:cNvSpPr/>
            <p:nvPr/>
          </p:nvSpPr>
          <p:spPr>
            <a:xfrm flipH="1">
              <a:off x="-559080" y="4399200"/>
              <a:ext cx="792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Straight Connector 10"/>
            <p:cNvSpPr/>
            <p:nvPr/>
          </p:nvSpPr>
          <p:spPr>
            <a:xfrm flipH="1">
              <a:off x="-681120" y="4696200"/>
              <a:ext cx="792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Straight Connector 11"/>
            <p:cNvSpPr/>
            <p:nvPr/>
          </p:nvSpPr>
          <p:spPr>
            <a:xfrm flipH="1">
              <a:off x="-509399" y="4437360"/>
              <a:ext cx="14759" cy="14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Straight Connector 12"/>
            <p:cNvSpPr/>
            <p:nvPr/>
          </p:nvSpPr>
          <p:spPr>
            <a:xfrm flipH="1">
              <a:off x="-737999" y="4663080"/>
              <a:ext cx="15119" cy="14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Straight Connector 13"/>
            <p:cNvSpPr/>
            <p:nvPr/>
          </p:nvSpPr>
          <p:spPr>
            <a:xfrm flipH="1">
              <a:off x="-477360" y="4492800"/>
              <a:ext cx="19440" cy="7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Straight Connector 14"/>
            <p:cNvSpPr/>
            <p:nvPr/>
          </p:nvSpPr>
          <p:spPr>
            <a:xfrm flipH="1">
              <a:off x="-775080" y="4613760"/>
              <a:ext cx="19800" cy="7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" name="Straight Connector 15"/>
            <p:cNvSpPr/>
            <p:nvPr/>
          </p:nvSpPr>
          <p:spPr>
            <a:xfrm flipH="1">
              <a:off x="-466560" y="4556880"/>
              <a:ext cx="212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" name="Straight Connector 16"/>
            <p:cNvSpPr/>
            <p:nvPr/>
          </p:nvSpPr>
          <p:spPr>
            <a:xfrm flipH="1">
              <a:off x="-787320" y="4557600"/>
              <a:ext cx="2088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" name="Straight Connector 17"/>
            <p:cNvSpPr/>
            <p:nvPr/>
          </p:nvSpPr>
          <p:spPr>
            <a:xfrm flipH="1" flipV="1">
              <a:off x="-477360" y="4613760"/>
              <a:ext cx="19801" cy="75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" name="Straight Connector 18"/>
            <p:cNvSpPr/>
            <p:nvPr/>
          </p:nvSpPr>
          <p:spPr>
            <a:xfrm flipH="1" flipV="1">
              <a:off x="-775080" y="4493160"/>
              <a:ext cx="19800" cy="7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" name="Straight Connector 19"/>
            <p:cNvSpPr/>
            <p:nvPr/>
          </p:nvSpPr>
          <p:spPr>
            <a:xfrm>
              <a:off x="-736559" y="4435920"/>
              <a:ext cx="14759" cy="14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Straight Connector 20"/>
            <p:cNvSpPr/>
            <p:nvPr/>
          </p:nvSpPr>
          <p:spPr>
            <a:xfrm>
              <a:off x="-510839" y="4664160"/>
              <a:ext cx="14759" cy="14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Straight Connector 21"/>
            <p:cNvSpPr/>
            <p:nvPr/>
          </p:nvSpPr>
          <p:spPr>
            <a:xfrm>
              <a:off x="-685079" y="4400639"/>
              <a:ext cx="8639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Straight Connector 22"/>
            <p:cNvSpPr/>
            <p:nvPr/>
          </p:nvSpPr>
          <p:spPr>
            <a:xfrm>
              <a:off x="-555840" y="4694759"/>
              <a:ext cx="828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Freeform: Shape 19"/>
            <p:cNvSpPr/>
            <p:nvPr/>
          </p:nvSpPr>
          <p:spPr>
            <a:xfrm>
              <a:off x="-667080" y="4551120"/>
              <a:ext cx="100800" cy="299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81" h="834" fill="none">
                  <a:moveTo>
                    <a:pt x="0" y="834"/>
                  </a:moveTo>
                  <a:lnTo>
                    <a:pt x="159" y="0"/>
                  </a:lnTo>
                  <a:lnTo>
                    <a:pt x="281" y="65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Straight Connector 24"/>
            <p:cNvSpPr/>
            <p:nvPr/>
          </p:nvSpPr>
          <p:spPr>
            <a:xfrm>
              <a:off x="-765000" y="4831200"/>
              <a:ext cx="0" cy="10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Freeform: Shape 21"/>
            <p:cNvSpPr/>
            <p:nvPr/>
          </p:nvSpPr>
          <p:spPr>
            <a:xfrm>
              <a:off x="-375480" y="4592880"/>
              <a:ext cx="149400" cy="335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Freeform: Shape 22"/>
            <p:cNvSpPr/>
            <p:nvPr/>
          </p:nvSpPr>
          <p:spPr>
            <a:xfrm>
              <a:off x="-344160" y="4791600"/>
              <a:ext cx="87120" cy="143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60" y="0"/>
                  </a:lnTo>
                  <a:cubicBezTo>
                    <a:pt x="206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Straight Connector 27"/>
            <p:cNvSpPr/>
            <p:nvPr/>
          </p:nvSpPr>
          <p:spPr>
            <a:xfrm>
              <a:off x="-353880" y="4683240"/>
              <a:ext cx="106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Freeform: Shape 24"/>
            <p:cNvSpPr/>
            <p:nvPr/>
          </p:nvSpPr>
          <p:spPr>
            <a:xfrm>
              <a:off x="-737280" y="4592880"/>
              <a:ext cx="355320" cy="309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8" h="860">
                  <a:moveTo>
                    <a:pt x="988" y="0"/>
                  </a:moveTo>
                  <a:cubicBezTo>
                    <a:pt x="909" y="478"/>
                    <a:pt x="499" y="846"/>
                    <a:pt x="0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Straight Connector 29"/>
            <p:cNvSpPr/>
            <p:nvPr/>
          </p:nvSpPr>
          <p:spPr>
            <a:xfrm>
              <a:off x="-563400" y="4858560"/>
              <a:ext cx="170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Freeform: Shape 26"/>
            <p:cNvSpPr/>
            <p:nvPr/>
          </p:nvSpPr>
          <p:spPr>
            <a:xfrm>
              <a:off x="314280" y="4592880"/>
              <a:ext cx="354960" cy="309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7" h="860">
                  <a:moveTo>
                    <a:pt x="0" y="0"/>
                  </a:moveTo>
                  <a:cubicBezTo>
                    <a:pt x="79" y="478"/>
                    <a:pt x="489" y="846"/>
                    <a:pt x="987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Straight Connector 31"/>
            <p:cNvSpPr/>
            <p:nvPr/>
          </p:nvSpPr>
          <p:spPr>
            <a:xfrm flipH="1">
              <a:off x="325080" y="4858560"/>
              <a:ext cx="171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Straight Connector 32"/>
            <p:cNvSpPr/>
            <p:nvPr/>
          </p:nvSpPr>
          <p:spPr>
            <a:xfrm>
              <a:off x="-723959" y="4946040"/>
              <a:ext cx="201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Straight Connector 33"/>
            <p:cNvSpPr/>
            <p:nvPr/>
          </p:nvSpPr>
          <p:spPr>
            <a:xfrm>
              <a:off x="-225720" y="460260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Straight Connector 34"/>
            <p:cNvSpPr/>
            <p:nvPr/>
          </p:nvSpPr>
          <p:spPr>
            <a:xfrm>
              <a:off x="-225720" y="462780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Straight Connector 35"/>
            <p:cNvSpPr/>
            <p:nvPr/>
          </p:nvSpPr>
          <p:spPr>
            <a:xfrm>
              <a:off x="-225720" y="467568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Straight Connector 36"/>
            <p:cNvSpPr/>
            <p:nvPr/>
          </p:nvSpPr>
          <p:spPr>
            <a:xfrm>
              <a:off x="-225720" y="484632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Straight Connector 37"/>
            <p:cNvSpPr/>
            <p:nvPr/>
          </p:nvSpPr>
          <p:spPr>
            <a:xfrm>
              <a:off x="-225720" y="489528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Freeform: Shape 34"/>
            <p:cNvSpPr/>
            <p:nvPr/>
          </p:nvSpPr>
          <p:spPr>
            <a:xfrm>
              <a:off x="-378720" y="4497840"/>
              <a:ext cx="3672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2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Freeform: Shape 35"/>
            <p:cNvSpPr/>
            <p:nvPr/>
          </p:nvSpPr>
          <p:spPr>
            <a:xfrm>
              <a:off x="-257760" y="4497840"/>
              <a:ext cx="3636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0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Freeform: Shape 36"/>
            <p:cNvSpPr/>
            <p:nvPr/>
          </p:nvSpPr>
          <p:spPr>
            <a:xfrm>
              <a:off x="-354600" y="4426560"/>
              <a:ext cx="107640" cy="13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49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Freeform: Shape 37"/>
            <p:cNvSpPr/>
            <p:nvPr/>
          </p:nvSpPr>
          <p:spPr>
            <a:xfrm>
              <a:off x="-314640" y="4617720"/>
              <a:ext cx="27720" cy="33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Freeform: Shape 38"/>
            <p:cNvSpPr/>
            <p:nvPr/>
          </p:nvSpPr>
          <p:spPr>
            <a:xfrm>
              <a:off x="158040" y="4592880"/>
              <a:ext cx="149400" cy="335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Freeform: Shape 39"/>
            <p:cNvSpPr/>
            <p:nvPr/>
          </p:nvSpPr>
          <p:spPr>
            <a:xfrm>
              <a:off x="189360" y="4791600"/>
              <a:ext cx="87120" cy="143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59" y="0"/>
                  </a:lnTo>
                  <a:cubicBezTo>
                    <a:pt x="205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Straight Connector 44"/>
            <p:cNvSpPr/>
            <p:nvPr/>
          </p:nvSpPr>
          <p:spPr>
            <a:xfrm>
              <a:off x="179280" y="4683240"/>
              <a:ext cx="1072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Freeform: Shape 41"/>
            <p:cNvSpPr/>
            <p:nvPr/>
          </p:nvSpPr>
          <p:spPr>
            <a:xfrm>
              <a:off x="154800" y="4497840"/>
              <a:ext cx="3636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2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Freeform: Shape 42"/>
            <p:cNvSpPr/>
            <p:nvPr/>
          </p:nvSpPr>
          <p:spPr>
            <a:xfrm>
              <a:off x="275400" y="4497840"/>
              <a:ext cx="3672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1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Freeform: Shape 43"/>
            <p:cNvSpPr/>
            <p:nvPr/>
          </p:nvSpPr>
          <p:spPr>
            <a:xfrm>
              <a:off x="178560" y="4426560"/>
              <a:ext cx="107640" cy="13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51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Freeform: Shape 44"/>
            <p:cNvSpPr/>
            <p:nvPr/>
          </p:nvSpPr>
          <p:spPr>
            <a:xfrm>
              <a:off x="1934639" y="4760280"/>
              <a:ext cx="256680" cy="38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14" h="107">
                  <a:moveTo>
                    <a:pt x="357" y="0"/>
                  </a:moveTo>
                  <a:lnTo>
                    <a:pt x="0" y="107"/>
                  </a:lnTo>
                  <a:lnTo>
                    <a:pt x="714" y="10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Freeform: Shape 45"/>
            <p:cNvSpPr/>
            <p:nvPr/>
          </p:nvSpPr>
          <p:spPr>
            <a:xfrm>
              <a:off x="218880" y="4617720"/>
              <a:ext cx="27720" cy="33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Straight Connector 50"/>
            <p:cNvSpPr/>
            <p:nvPr/>
          </p:nvSpPr>
          <p:spPr>
            <a:xfrm>
              <a:off x="-419760" y="4946040"/>
              <a:ext cx="7484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" name="Straight Connector 51"/>
            <p:cNvSpPr/>
            <p:nvPr/>
          </p:nvSpPr>
          <p:spPr>
            <a:xfrm>
              <a:off x="-309960" y="4977720"/>
              <a:ext cx="0" cy="51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" name="Straight Connector 52"/>
            <p:cNvSpPr/>
            <p:nvPr/>
          </p:nvSpPr>
          <p:spPr>
            <a:xfrm>
              <a:off x="-252000" y="4975200"/>
              <a:ext cx="4294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" name="Straight Connector 53"/>
            <p:cNvSpPr/>
            <p:nvPr/>
          </p:nvSpPr>
          <p:spPr>
            <a:xfrm>
              <a:off x="-122400" y="5016960"/>
              <a:ext cx="156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" name="Straight Connector 54"/>
            <p:cNvSpPr/>
            <p:nvPr/>
          </p:nvSpPr>
          <p:spPr>
            <a:xfrm>
              <a:off x="-78480" y="5043600"/>
              <a:ext cx="75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" name="Straight Connector 55"/>
            <p:cNvSpPr/>
            <p:nvPr/>
          </p:nvSpPr>
          <p:spPr>
            <a:xfrm>
              <a:off x="1734119" y="5067000"/>
              <a:ext cx="1569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" name="Straight Connector 56"/>
            <p:cNvSpPr/>
            <p:nvPr/>
          </p:nvSpPr>
          <p:spPr>
            <a:xfrm>
              <a:off x="1778040" y="5094000"/>
              <a:ext cx="75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" name="Straight Connector 57"/>
            <p:cNvSpPr/>
            <p:nvPr/>
          </p:nvSpPr>
          <p:spPr>
            <a:xfrm>
              <a:off x="1966680" y="5038920"/>
              <a:ext cx="3779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" name="Straight Connector 58"/>
            <p:cNvSpPr/>
            <p:nvPr/>
          </p:nvSpPr>
          <p:spPr>
            <a:xfrm>
              <a:off x="321480" y="4970160"/>
              <a:ext cx="0" cy="75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0" name="Straight Connector 59"/>
            <p:cNvSpPr/>
            <p:nvPr/>
          </p:nvSpPr>
          <p:spPr>
            <a:xfrm flipH="1">
              <a:off x="344880" y="4979880"/>
              <a:ext cx="342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1" name="Straight Connector 60"/>
            <p:cNvSpPr/>
            <p:nvPr/>
          </p:nvSpPr>
          <p:spPr>
            <a:xfrm flipV="1">
              <a:off x="344880" y="4865040"/>
              <a:ext cx="0" cy="431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2" name="Freeform: Shape 57"/>
            <p:cNvSpPr/>
            <p:nvPr/>
          </p:nvSpPr>
          <p:spPr>
            <a:xfrm>
              <a:off x="382680" y="4920480"/>
              <a:ext cx="286560" cy="39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7" h="112">
                  <a:moveTo>
                    <a:pt x="399" y="112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797" y="0"/>
                  </a:lnTo>
                  <a:lnTo>
                    <a:pt x="797" y="11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3" name="Freeform: Shape 58"/>
            <p:cNvSpPr/>
            <p:nvPr/>
          </p:nvSpPr>
          <p:spPr>
            <a:xfrm>
              <a:off x="473760" y="4308120"/>
              <a:ext cx="79200" cy="556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1" h="1548" fill="none">
                  <a:moveTo>
                    <a:pt x="0" y="1421"/>
                  </a:moveTo>
                  <a:lnTo>
                    <a:pt x="0" y="0"/>
                  </a:lnTo>
                  <a:lnTo>
                    <a:pt x="221" y="0"/>
                  </a:lnTo>
                  <a:lnTo>
                    <a:pt x="221" y="154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4" name="Freeform: Shape 59"/>
            <p:cNvSpPr/>
            <p:nvPr/>
          </p:nvSpPr>
          <p:spPr>
            <a:xfrm>
              <a:off x="523079" y="4191479"/>
              <a:ext cx="269640" cy="691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50" h="1922" fill="none">
                  <a:moveTo>
                    <a:pt x="0" y="1839"/>
                  </a:moveTo>
                  <a:lnTo>
                    <a:pt x="0" y="0"/>
                  </a:lnTo>
                  <a:lnTo>
                    <a:pt x="276" y="0"/>
                  </a:lnTo>
                  <a:lnTo>
                    <a:pt x="276" y="1922"/>
                  </a:lnTo>
                  <a:lnTo>
                    <a:pt x="750" y="1922"/>
                  </a:lnTo>
                  <a:lnTo>
                    <a:pt x="550" y="1831"/>
                  </a:lnTo>
                  <a:lnTo>
                    <a:pt x="407" y="183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5" name="Freeform: Shape 60"/>
            <p:cNvSpPr/>
            <p:nvPr/>
          </p:nvSpPr>
          <p:spPr>
            <a:xfrm>
              <a:off x="553320" y="4240440"/>
              <a:ext cx="99000" cy="624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6" h="1736" fill="none">
                  <a:moveTo>
                    <a:pt x="276" y="1736"/>
                  </a:moveTo>
                  <a:lnTo>
                    <a:pt x="276" y="0"/>
                  </a:lnTo>
                  <a:lnTo>
                    <a:pt x="0" y="0"/>
                  </a:lnTo>
                  <a:lnTo>
                    <a:pt x="0" y="19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6" name="Straight Connector 65"/>
            <p:cNvSpPr/>
            <p:nvPr/>
          </p:nvSpPr>
          <p:spPr>
            <a:xfrm>
              <a:off x="673560" y="4639680"/>
              <a:ext cx="28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7" name="Straight Connector 66"/>
            <p:cNvSpPr/>
            <p:nvPr/>
          </p:nvSpPr>
          <p:spPr>
            <a:xfrm>
              <a:off x="686160" y="4679280"/>
              <a:ext cx="0" cy="20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8" name="Freeform: Shape 63"/>
            <p:cNvSpPr/>
            <p:nvPr/>
          </p:nvSpPr>
          <p:spPr>
            <a:xfrm>
              <a:off x="721080" y="4161240"/>
              <a:ext cx="72000" cy="689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1" h="1915" fill="none">
                  <a:moveTo>
                    <a:pt x="0" y="1915"/>
                  </a:moveTo>
                  <a:lnTo>
                    <a:pt x="0" y="617"/>
                  </a:lnTo>
                  <a:lnTo>
                    <a:pt x="201" y="474"/>
                  </a:lnTo>
                  <a:lnTo>
                    <a:pt x="95" y="474"/>
                  </a:lnTo>
                  <a:lnTo>
                    <a:pt x="95" y="0"/>
                  </a:lnTo>
                  <a:lnTo>
                    <a:pt x="20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9" name="Freeform: Shape 64"/>
            <p:cNvSpPr/>
            <p:nvPr/>
          </p:nvSpPr>
          <p:spPr>
            <a:xfrm>
              <a:off x="793440" y="3839400"/>
              <a:ext cx="105840" cy="1087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5" h="3023" fill="none">
                  <a:moveTo>
                    <a:pt x="0" y="3023"/>
                  </a:moveTo>
                  <a:lnTo>
                    <a:pt x="0" y="503"/>
                  </a:lnTo>
                  <a:lnTo>
                    <a:pt x="198" y="306"/>
                  </a:lnTo>
                  <a:lnTo>
                    <a:pt x="198" y="0"/>
                  </a:lnTo>
                  <a:lnTo>
                    <a:pt x="295" y="190"/>
                  </a:lnTo>
                  <a:lnTo>
                    <a:pt x="295" y="89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0" name="Straight Connector 69"/>
            <p:cNvSpPr/>
            <p:nvPr/>
          </p:nvSpPr>
          <p:spPr>
            <a:xfrm>
              <a:off x="813960" y="4029480"/>
              <a:ext cx="0" cy="898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1" name="Freeform: Shape 66"/>
            <p:cNvSpPr/>
            <p:nvPr/>
          </p:nvSpPr>
          <p:spPr>
            <a:xfrm>
              <a:off x="793440" y="4106520"/>
              <a:ext cx="152640" cy="821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5" h="2283" fill="none">
                  <a:moveTo>
                    <a:pt x="0" y="2283"/>
                  </a:moveTo>
                  <a:lnTo>
                    <a:pt x="138" y="2283"/>
                  </a:lnTo>
                  <a:lnTo>
                    <a:pt x="138" y="356"/>
                  </a:lnTo>
                  <a:lnTo>
                    <a:pt x="425" y="70"/>
                  </a:lnTo>
                  <a:lnTo>
                    <a:pt x="295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2" name="Freeform: Shape 67"/>
            <p:cNvSpPr/>
            <p:nvPr/>
          </p:nvSpPr>
          <p:spPr>
            <a:xfrm>
              <a:off x="899639" y="4081320"/>
              <a:ext cx="106920" cy="68939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916" fill="none">
                  <a:moveTo>
                    <a:pt x="0" y="0"/>
                  </a:moveTo>
                  <a:lnTo>
                    <a:pt x="200" y="106"/>
                  </a:lnTo>
                  <a:lnTo>
                    <a:pt x="200" y="1916"/>
                  </a:lnTo>
                  <a:lnTo>
                    <a:pt x="298" y="1916"/>
                  </a:lnTo>
                  <a:lnTo>
                    <a:pt x="298" y="654"/>
                  </a:lnTo>
                  <a:lnTo>
                    <a:pt x="207" y="58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3" name="Straight Connector 72"/>
            <p:cNvSpPr/>
            <p:nvPr/>
          </p:nvSpPr>
          <p:spPr>
            <a:xfrm>
              <a:off x="939240" y="4200120"/>
              <a:ext cx="0" cy="551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4" name="Freeform: Shape 69"/>
            <p:cNvSpPr/>
            <p:nvPr/>
          </p:nvSpPr>
          <p:spPr>
            <a:xfrm>
              <a:off x="897119" y="4787640"/>
              <a:ext cx="377280" cy="138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49" h="385" fill="none">
                  <a:moveTo>
                    <a:pt x="0" y="385"/>
                  </a:moveTo>
                  <a:lnTo>
                    <a:pt x="0" y="0"/>
                  </a:lnTo>
                  <a:lnTo>
                    <a:pt x="437" y="0"/>
                  </a:lnTo>
                  <a:lnTo>
                    <a:pt x="437" y="335"/>
                  </a:lnTo>
                  <a:lnTo>
                    <a:pt x="512" y="335"/>
                  </a:lnTo>
                  <a:lnTo>
                    <a:pt x="512" y="0"/>
                  </a:lnTo>
                  <a:lnTo>
                    <a:pt x="793" y="0"/>
                  </a:lnTo>
                  <a:lnTo>
                    <a:pt x="793" y="344"/>
                  </a:lnTo>
                  <a:lnTo>
                    <a:pt x="1049" y="34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5" name="Straight Connector 74"/>
            <p:cNvSpPr/>
            <p:nvPr/>
          </p:nvSpPr>
          <p:spPr>
            <a:xfrm>
              <a:off x="779760" y="4958280"/>
              <a:ext cx="1854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6" name="Straight Connector 75"/>
            <p:cNvSpPr/>
            <p:nvPr/>
          </p:nvSpPr>
          <p:spPr>
            <a:xfrm>
              <a:off x="762480" y="4970160"/>
              <a:ext cx="0" cy="56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7" name="Straight Connector 76"/>
            <p:cNvSpPr/>
            <p:nvPr/>
          </p:nvSpPr>
          <p:spPr>
            <a:xfrm>
              <a:off x="1021679" y="4606560"/>
              <a:ext cx="748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8" name="Straight Connector 77"/>
            <p:cNvSpPr/>
            <p:nvPr/>
          </p:nvSpPr>
          <p:spPr>
            <a:xfrm>
              <a:off x="1042919" y="4552560"/>
              <a:ext cx="0" cy="54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9" name="Straight Connector 78"/>
            <p:cNvSpPr/>
            <p:nvPr/>
          </p:nvSpPr>
          <p:spPr>
            <a:xfrm>
              <a:off x="1065600" y="4552560"/>
              <a:ext cx="0" cy="54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0" name="Freeform: Shape 75"/>
            <p:cNvSpPr/>
            <p:nvPr/>
          </p:nvSpPr>
          <p:spPr>
            <a:xfrm>
              <a:off x="1042919" y="4679280"/>
              <a:ext cx="38160" cy="86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7" h="240">
                  <a:moveTo>
                    <a:pt x="54" y="240"/>
                  </a:moveTo>
                  <a:lnTo>
                    <a:pt x="0" y="240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2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1" name="Freeform: Shape 76"/>
            <p:cNvSpPr/>
            <p:nvPr/>
          </p:nvSpPr>
          <p:spPr>
            <a:xfrm>
              <a:off x="934199" y="4899960"/>
              <a:ext cx="72720" cy="29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3" h="84">
                  <a:moveTo>
                    <a:pt x="101" y="84"/>
                  </a:moveTo>
                  <a:lnTo>
                    <a:pt x="0" y="84"/>
                  </a:lnTo>
                  <a:lnTo>
                    <a:pt x="0" y="0"/>
                  </a:lnTo>
                  <a:lnTo>
                    <a:pt x="203" y="0"/>
                  </a:lnTo>
                  <a:lnTo>
                    <a:pt x="203" y="8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2" name="Freeform: Shape 77"/>
            <p:cNvSpPr/>
            <p:nvPr/>
          </p:nvSpPr>
          <p:spPr>
            <a:xfrm>
              <a:off x="1074600" y="4926240"/>
              <a:ext cx="168840" cy="41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70" h="117">
                  <a:moveTo>
                    <a:pt x="235" y="117"/>
                  </a:moveTo>
                  <a:lnTo>
                    <a:pt x="0" y="117"/>
                  </a:lnTo>
                  <a:lnTo>
                    <a:pt x="0" y="0"/>
                  </a:lnTo>
                  <a:lnTo>
                    <a:pt x="470" y="0"/>
                  </a:lnTo>
                  <a:lnTo>
                    <a:pt x="470" y="11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3" name="Freeform: Shape 78"/>
            <p:cNvSpPr/>
            <p:nvPr/>
          </p:nvSpPr>
          <p:spPr>
            <a:xfrm>
              <a:off x="741600" y="4759200"/>
              <a:ext cx="51480" cy="85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4" h="238" fill="none">
                  <a:moveTo>
                    <a:pt x="144" y="238"/>
                  </a:moveTo>
                  <a:lnTo>
                    <a:pt x="0" y="238"/>
                  </a:lnTo>
                  <a:lnTo>
                    <a:pt x="0" y="0"/>
                  </a:lnTo>
                  <a:lnTo>
                    <a:pt x="144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4" name="Straight Connector 83"/>
            <p:cNvSpPr/>
            <p:nvPr/>
          </p:nvSpPr>
          <p:spPr>
            <a:xfrm>
              <a:off x="736200" y="43902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5" name="Straight Connector 84"/>
            <p:cNvSpPr/>
            <p:nvPr/>
          </p:nvSpPr>
          <p:spPr>
            <a:xfrm>
              <a:off x="736200" y="44190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6" name="Straight Connector 85"/>
            <p:cNvSpPr/>
            <p:nvPr/>
          </p:nvSpPr>
          <p:spPr>
            <a:xfrm>
              <a:off x="736200" y="44478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" name="Straight Connector 86"/>
            <p:cNvSpPr/>
            <p:nvPr/>
          </p:nvSpPr>
          <p:spPr>
            <a:xfrm>
              <a:off x="736200" y="44762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8" name="Straight Connector 87"/>
            <p:cNvSpPr/>
            <p:nvPr/>
          </p:nvSpPr>
          <p:spPr>
            <a:xfrm>
              <a:off x="736200" y="45050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9" name="Straight Connector 88"/>
            <p:cNvSpPr/>
            <p:nvPr/>
          </p:nvSpPr>
          <p:spPr>
            <a:xfrm>
              <a:off x="736200" y="45338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0" name="Straight Connector 89"/>
            <p:cNvSpPr/>
            <p:nvPr/>
          </p:nvSpPr>
          <p:spPr>
            <a:xfrm>
              <a:off x="736200" y="45626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1" name="Straight Connector 90"/>
            <p:cNvSpPr/>
            <p:nvPr/>
          </p:nvSpPr>
          <p:spPr>
            <a:xfrm>
              <a:off x="736200" y="45914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2" name="Straight Connector 91"/>
            <p:cNvSpPr/>
            <p:nvPr/>
          </p:nvSpPr>
          <p:spPr>
            <a:xfrm>
              <a:off x="736200" y="46202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3" name="Straight Connector 92"/>
            <p:cNvSpPr/>
            <p:nvPr/>
          </p:nvSpPr>
          <p:spPr>
            <a:xfrm>
              <a:off x="736200" y="46494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4" name="Straight Connector 93"/>
            <p:cNvSpPr/>
            <p:nvPr/>
          </p:nvSpPr>
          <p:spPr>
            <a:xfrm>
              <a:off x="736200" y="46778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5" name="Straight Connector 94"/>
            <p:cNvSpPr/>
            <p:nvPr/>
          </p:nvSpPr>
          <p:spPr>
            <a:xfrm>
              <a:off x="736200" y="47066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6" name="Straight Connector 95"/>
            <p:cNvSpPr/>
            <p:nvPr/>
          </p:nvSpPr>
          <p:spPr>
            <a:xfrm>
              <a:off x="974160" y="4316760"/>
              <a:ext cx="32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7" name="Straight Connector 96"/>
            <p:cNvSpPr/>
            <p:nvPr/>
          </p:nvSpPr>
          <p:spPr>
            <a:xfrm>
              <a:off x="1169640" y="4992480"/>
              <a:ext cx="2077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8" name="Straight Connector 97"/>
            <p:cNvSpPr/>
            <p:nvPr/>
          </p:nvSpPr>
          <p:spPr>
            <a:xfrm>
              <a:off x="1305000" y="4922640"/>
              <a:ext cx="250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9" name="Freeform: Shape 94"/>
            <p:cNvSpPr/>
            <p:nvPr/>
          </p:nvSpPr>
          <p:spPr>
            <a:xfrm>
              <a:off x="1096560" y="4136760"/>
              <a:ext cx="285480" cy="740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4" h="2058">
                  <a:moveTo>
                    <a:pt x="0" y="1774"/>
                  </a:moveTo>
                  <a:lnTo>
                    <a:pt x="0" y="0"/>
                  </a:lnTo>
                  <a:lnTo>
                    <a:pt x="541" y="0"/>
                  </a:lnTo>
                  <a:lnTo>
                    <a:pt x="794" y="1518"/>
                  </a:lnTo>
                  <a:lnTo>
                    <a:pt x="655" y="1518"/>
                  </a:lnTo>
                  <a:lnTo>
                    <a:pt x="655" y="1746"/>
                  </a:lnTo>
                  <a:lnTo>
                    <a:pt x="541" y="1746"/>
                  </a:lnTo>
                  <a:lnTo>
                    <a:pt x="541" y="2058"/>
                  </a:lnTo>
                  <a:lnTo>
                    <a:pt x="456" y="2058"/>
                  </a:lnTo>
                  <a:lnTo>
                    <a:pt x="158" y="78"/>
                  </a:lnTo>
                  <a:lnTo>
                    <a:pt x="77" y="78"/>
                  </a:lnTo>
                  <a:lnTo>
                    <a:pt x="77" y="177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0" name="Freeform: Shape 95"/>
            <p:cNvSpPr/>
            <p:nvPr/>
          </p:nvSpPr>
          <p:spPr>
            <a:xfrm>
              <a:off x="1348920" y="4669560"/>
              <a:ext cx="316440" cy="212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0" h="592" fill="none">
                  <a:moveTo>
                    <a:pt x="0" y="85"/>
                  </a:moveTo>
                  <a:lnTo>
                    <a:pt x="275" y="85"/>
                  </a:lnTo>
                  <a:lnTo>
                    <a:pt x="275" y="0"/>
                  </a:lnTo>
                  <a:lnTo>
                    <a:pt x="412" y="0"/>
                  </a:lnTo>
                  <a:lnTo>
                    <a:pt x="412" y="209"/>
                  </a:lnTo>
                  <a:lnTo>
                    <a:pt x="582" y="209"/>
                  </a:lnTo>
                  <a:lnTo>
                    <a:pt x="582" y="592"/>
                  </a:lnTo>
                  <a:lnTo>
                    <a:pt x="880" y="59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1" name="Straight Connector 100"/>
            <p:cNvSpPr/>
            <p:nvPr/>
          </p:nvSpPr>
          <p:spPr>
            <a:xfrm>
              <a:off x="1428120" y="4977720"/>
              <a:ext cx="516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2" name="Freeform: Shape 97"/>
            <p:cNvSpPr/>
            <p:nvPr/>
          </p:nvSpPr>
          <p:spPr>
            <a:xfrm>
              <a:off x="1352520" y="4721760"/>
              <a:ext cx="54000" cy="176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490">
                  <a:moveTo>
                    <a:pt x="76" y="490"/>
                  </a:moveTo>
                  <a:lnTo>
                    <a:pt x="0" y="490"/>
                  </a:lnTo>
                  <a:lnTo>
                    <a:pt x="0" y="0"/>
                  </a:lnTo>
                  <a:lnTo>
                    <a:pt x="151" y="0"/>
                  </a:lnTo>
                  <a:lnTo>
                    <a:pt x="151" y="49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3" name="Freeform: Shape 98"/>
            <p:cNvSpPr/>
            <p:nvPr/>
          </p:nvSpPr>
          <p:spPr>
            <a:xfrm>
              <a:off x="1435320" y="4842720"/>
              <a:ext cx="104760" cy="24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2" h="69">
                  <a:moveTo>
                    <a:pt x="146" y="69"/>
                  </a:moveTo>
                  <a:lnTo>
                    <a:pt x="0" y="69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292" y="6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4" name="Straight Connector 103"/>
            <p:cNvSpPr/>
            <p:nvPr/>
          </p:nvSpPr>
          <p:spPr>
            <a:xfrm>
              <a:off x="1377359" y="4548239"/>
              <a:ext cx="0" cy="31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5" name="Freeform: Shape 100"/>
            <p:cNvSpPr/>
            <p:nvPr/>
          </p:nvSpPr>
          <p:spPr>
            <a:xfrm>
              <a:off x="1396439" y="4129200"/>
              <a:ext cx="240480" cy="694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69" h="1929">
                  <a:moveTo>
                    <a:pt x="4" y="1419"/>
                  </a:moveTo>
                  <a:cubicBezTo>
                    <a:pt x="4" y="1419"/>
                    <a:pt x="-63" y="664"/>
                    <a:pt x="337" y="0"/>
                  </a:cubicBezTo>
                  <a:cubicBezTo>
                    <a:pt x="337" y="0"/>
                    <a:pt x="845" y="812"/>
                    <a:pt x="603" y="192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6" name="Freeform: Shape 101"/>
            <p:cNvSpPr/>
            <p:nvPr/>
          </p:nvSpPr>
          <p:spPr>
            <a:xfrm>
              <a:off x="1485359" y="4201560"/>
              <a:ext cx="99360" cy="114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7" h="320">
                  <a:moveTo>
                    <a:pt x="0" y="0"/>
                  </a:moveTo>
                  <a:cubicBezTo>
                    <a:pt x="0" y="0"/>
                    <a:pt x="103" y="215"/>
                    <a:pt x="277" y="32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7" name="Freeform: Shape 102"/>
            <p:cNvSpPr/>
            <p:nvPr/>
          </p:nvSpPr>
          <p:spPr>
            <a:xfrm>
              <a:off x="1468800" y="4279680"/>
              <a:ext cx="127080" cy="144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0" y="0"/>
                  </a:moveTo>
                  <a:cubicBezTo>
                    <a:pt x="0" y="0"/>
                    <a:pt x="132" y="269"/>
                    <a:pt x="354" y="40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8" name="Freeform: Shape 103"/>
            <p:cNvSpPr/>
            <p:nvPr/>
          </p:nvSpPr>
          <p:spPr>
            <a:xfrm>
              <a:off x="1452240" y="4358520"/>
              <a:ext cx="149400" cy="168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0" y="0"/>
                  </a:moveTo>
                  <a:cubicBezTo>
                    <a:pt x="0" y="0"/>
                    <a:pt x="155" y="315"/>
                    <a:pt x="416" y="46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9" name="Freeform: Shape 104"/>
            <p:cNvSpPr/>
            <p:nvPr/>
          </p:nvSpPr>
          <p:spPr>
            <a:xfrm>
              <a:off x="1435320" y="4435920"/>
              <a:ext cx="175320" cy="195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8" h="543">
                  <a:moveTo>
                    <a:pt x="0" y="0"/>
                  </a:moveTo>
                  <a:cubicBezTo>
                    <a:pt x="0" y="0"/>
                    <a:pt x="181" y="365"/>
                    <a:pt x="488" y="5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0" name="Freeform: Shape 105"/>
            <p:cNvSpPr/>
            <p:nvPr/>
          </p:nvSpPr>
          <p:spPr>
            <a:xfrm>
              <a:off x="1418760" y="4515480"/>
              <a:ext cx="194400" cy="2178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41" h="606">
                  <a:moveTo>
                    <a:pt x="0" y="0"/>
                  </a:moveTo>
                  <a:cubicBezTo>
                    <a:pt x="0" y="0"/>
                    <a:pt x="202" y="407"/>
                    <a:pt x="541" y="606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1" name="Freeform: Shape 106"/>
            <p:cNvSpPr/>
            <p:nvPr/>
          </p:nvSpPr>
          <p:spPr>
            <a:xfrm>
              <a:off x="1449719" y="4208760"/>
              <a:ext cx="99720" cy="115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321">
                  <a:moveTo>
                    <a:pt x="278" y="0"/>
                  </a:moveTo>
                  <a:cubicBezTo>
                    <a:pt x="278" y="0"/>
                    <a:pt x="174" y="216"/>
                    <a:pt x="0" y="32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2" name="Freeform: Shape 107"/>
            <p:cNvSpPr/>
            <p:nvPr/>
          </p:nvSpPr>
          <p:spPr>
            <a:xfrm>
              <a:off x="1438559" y="4286880"/>
              <a:ext cx="127080" cy="144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354" y="0"/>
                  </a:moveTo>
                  <a:cubicBezTo>
                    <a:pt x="354" y="0"/>
                    <a:pt x="222" y="270"/>
                    <a:pt x="0" y="40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3" name="Freeform: Shape 108"/>
            <p:cNvSpPr/>
            <p:nvPr/>
          </p:nvSpPr>
          <p:spPr>
            <a:xfrm>
              <a:off x="1432800" y="4366079"/>
              <a:ext cx="149400" cy="168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416" y="0"/>
                  </a:moveTo>
                  <a:cubicBezTo>
                    <a:pt x="416" y="0"/>
                    <a:pt x="261" y="315"/>
                    <a:pt x="0" y="46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4" name="Freeform: Shape 109"/>
            <p:cNvSpPr/>
            <p:nvPr/>
          </p:nvSpPr>
          <p:spPr>
            <a:xfrm>
              <a:off x="1424159" y="4443120"/>
              <a:ext cx="174960" cy="195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7" h="543">
                  <a:moveTo>
                    <a:pt x="487" y="0"/>
                  </a:moveTo>
                  <a:cubicBezTo>
                    <a:pt x="487" y="0"/>
                    <a:pt x="306" y="365"/>
                    <a:pt x="0" y="5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5" name="Freeform: Shape 110"/>
            <p:cNvSpPr/>
            <p:nvPr/>
          </p:nvSpPr>
          <p:spPr>
            <a:xfrm>
              <a:off x="1510199" y="4523040"/>
              <a:ext cx="105480" cy="146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4" h="409">
                  <a:moveTo>
                    <a:pt x="294" y="0"/>
                  </a:moveTo>
                  <a:cubicBezTo>
                    <a:pt x="294" y="0"/>
                    <a:pt x="188" y="215"/>
                    <a:pt x="0" y="40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6" name="Freeform: Shape 111"/>
            <p:cNvSpPr/>
            <p:nvPr/>
          </p:nvSpPr>
          <p:spPr>
            <a:xfrm>
              <a:off x="1690919" y="4317120"/>
              <a:ext cx="233280" cy="557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49" h="1549">
                  <a:moveTo>
                    <a:pt x="67" y="1549"/>
                  </a:moveTo>
                  <a:cubicBezTo>
                    <a:pt x="67" y="1549"/>
                    <a:pt x="-71" y="262"/>
                    <a:pt x="48" y="48"/>
                  </a:cubicBezTo>
                  <a:cubicBezTo>
                    <a:pt x="48" y="48"/>
                    <a:pt x="366" y="-69"/>
                    <a:pt x="605" y="61"/>
                  </a:cubicBezTo>
                  <a:cubicBezTo>
                    <a:pt x="605" y="61"/>
                    <a:pt x="723" y="431"/>
                    <a:pt x="573" y="1548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7" name="Freeform: Shape 112"/>
            <p:cNvSpPr/>
            <p:nvPr/>
          </p:nvSpPr>
          <p:spPr>
            <a:xfrm>
              <a:off x="1654919" y="4283280"/>
              <a:ext cx="54000" cy="585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1626">
                  <a:moveTo>
                    <a:pt x="79" y="1626"/>
                  </a:moveTo>
                  <a:cubicBezTo>
                    <a:pt x="79" y="1626"/>
                    <a:pt x="-95" y="347"/>
                    <a:pt x="73" y="0"/>
                  </a:cubicBezTo>
                  <a:lnTo>
                    <a:pt x="151" y="11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8" name="Freeform: Shape 113"/>
            <p:cNvSpPr/>
            <p:nvPr/>
          </p:nvSpPr>
          <p:spPr>
            <a:xfrm>
              <a:off x="1689479" y="4257720"/>
              <a:ext cx="252360" cy="511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2" h="1422">
                  <a:moveTo>
                    <a:pt x="0" y="47"/>
                  </a:moveTo>
                  <a:cubicBezTo>
                    <a:pt x="0" y="47"/>
                    <a:pt x="380" y="-73"/>
                    <a:pt x="608" y="71"/>
                  </a:cubicBezTo>
                  <a:cubicBezTo>
                    <a:pt x="608" y="71"/>
                    <a:pt x="782" y="185"/>
                    <a:pt x="657" y="142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9" name="Straight Connector 118"/>
            <p:cNvSpPr/>
            <p:nvPr/>
          </p:nvSpPr>
          <p:spPr>
            <a:xfrm flipV="1">
              <a:off x="1715039" y="4365000"/>
              <a:ext cx="188641" cy="107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0" name="Straight Connector 119"/>
            <p:cNvSpPr/>
            <p:nvPr/>
          </p:nvSpPr>
          <p:spPr>
            <a:xfrm flipV="1">
              <a:off x="1716480" y="4392720"/>
              <a:ext cx="18576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1" name="Straight Connector 120"/>
            <p:cNvSpPr/>
            <p:nvPr/>
          </p:nvSpPr>
          <p:spPr>
            <a:xfrm flipV="1">
              <a:off x="1718280" y="4420440"/>
              <a:ext cx="18252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2" name="Straight Connector 121"/>
            <p:cNvSpPr/>
            <p:nvPr/>
          </p:nvSpPr>
          <p:spPr>
            <a:xfrm flipV="1">
              <a:off x="1720080" y="4448160"/>
              <a:ext cx="17928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3" name="Straight Connector 122"/>
            <p:cNvSpPr/>
            <p:nvPr/>
          </p:nvSpPr>
          <p:spPr>
            <a:xfrm flipV="1">
              <a:off x="1721880" y="4475520"/>
              <a:ext cx="17640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4" name="Straight Connector 123"/>
            <p:cNvSpPr/>
            <p:nvPr/>
          </p:nvSpPr>
          <p:spPr>
            <a:xfrm flipV="1">
              <a:off x="1723680" y="4503240"/>
              <a:ext cx="17316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5" name="Straight Connector 124"/>
            <p:cNvSpPr/>
            <p:nvPr/>
          </p:nvSpPr>
          <p:spPr>
            <a:xfrm flipV="1">
              <a:off x="1725480" y="4530960"/>
              <a:ext cx="17028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6" name="Straight Connector 125"/>
            <p:cNvSpPr/>
            <p:nvPr/>
          </p:nvSpPr>
          <p:spPr>
            <a:xfrm flipV="1">
              <a:off x="1727280" y="4558680"/>
              <a:ext cx="16668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7" name="Straight Connector 126"/>
            <p:cNvSpPr/>
            <p:nvPr/>
          </p:nvSpPr>
          <p:spPr>
            <a:xfrm flipV="1">
              <a:off x="1728719" y="4586399"/>
              <a:ext cx="16380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8" name="Straight Connector 127"/>
            <p:cNvSpPr/>
            <p:nvPr/>
          </p:nvSpPr>
          <p:spPr>
            <a:xfrm flipV="1">
              <a:off x="1730519" y="4614120"/>
              <a:ext cx="16092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9" name="Straight Connector 128"/>
            <p:cNvSpPr/>
            <p:nvPr/>
          </p:nvSpPr>
          <p:spPr>
            <a:xfrm flipV="1">
              <a:off x="1732319" y="4641840"/>
              <a:ext cx="157681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0" name="Straight Connector 129"/>
            <p:cNvSpPr/>
            <p:nvPr/>
          </p:nvSpPr>
          <p:spPr>
            <a:xfrm>
              <a:off x="1734119" y="4669560"/>
              <a:ext cx="1548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1" name="Straight Connector 130"/>
            <p:cNvSpPr/>
            <p:nvPr/>
          </p:nvSpPr>
          <p:spPr>
            <a:xfrm flipV="1">
              <a:off x="1735919" y="4697279"/>
              <a:ext cx="151561" cy="3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2" name="Straight Connector 131"/>
            <p:cNvSpPr/>
            <p:nvPr/>
          </p:nvSpPr>
          <p:spPr>
            <a:xfrm>
              <a:off x="1737719" y="4725000"/>
              <a:ext cx="1483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3" name="Straight Connector 132"/>
            <p:cNvSpPr/>
            <p:nvPr/>
          </p:nvSpPr>
          <p:spPr>
            <a:xfrm>
              <a:off x="1739160" y="4752720"/>
              <a:ext cx="1454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4" name="Straight Connector 133"/>
            <p:cNvSpPr/>
            <p:nvPr/>
          </p:nvSpPr>
          <p:spPr>
            <a:xfrm>
              <a:off x="1740960" y="4780440"/>
              <a:ext cx="142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5" name="Straight Connector 134"/>
            <p:cNvSpPr/>
            <p:nvPr/>
          </p:nvSpPr>
          <p:spPr>
            <a:xfrm>
              <a:off x="1742760" y="4808160"/>
              <a:ext cx="139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6" name="Straight Connector 135"/>
            <p:cNvSpPr/>
            <p:nvPr/>
          </p:nvSpPr>
          <p:spPr>
            <a:xfrm>
              <a:off x="1744560" y="4835880"/>
              <a:ext cx="1360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7" name="Straight Connector 136"/>
            <p:cNvSpPr/>
            <p:nvPr/>
          </p:nvSpPr>
          <p:spPr>
            <a:xfrm>
              <a:off x="1745999" y="4863600"/>
              <a:ext cx="1332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8" name="Straight Connector 137"/>
            <p:cNvSpPr/>
            <p:nvPr/>
          </p:nvSpPr>
          <p:spPr>
            <a:xfrm>
              <a:off x="1628999" y="4732560"/>
              <a:ext cx="392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9" name="Straight Connector 138"/>
            <p:cNvSpPr/>
            <p:nvPr/>
          </p:nvSpPr>
          <p:spPr>
            <a:xfrm>
              <a:off x="1646640" y="4785120"/>
              <a:ext cx="0" cy="576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0" name="Straight Connector 139"/>
            <p:cNvSpPr/>
            <p:nvPr/>
          </p:nvSpPr>
          <p:spPr>
            <a:xfrm>
              <a:off x="1704240" y="4898160"/>
              <a:ext cx="1537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1" name="Straight Connector 140"/>
            <p:cNvSpPr/>
            <p:nvPr/>
          </p:nvSpPr>
          <p:spPr>
            <a:xfrm>
              <a:off x="1907280" y="4919400"/>
              <a:ext cx="46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2" name="Straight Connector 141"/>
            <p:cNvSpPr/>
            <p:nvPr/>
          </p:nvSpPr>
          <p:spPr>
            <a:xfrm>
              <a:off x="2045880" y="4927680"/>
              <a:ext cx="0" cy="82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3" name="Straight Connector 142"/>
            <p:cNvSpPr/>
            <p:nvPr/>
          </p:nvSpPr>
          <p:spPr>
            <a:xfrm>
              <a:off x="2111760" y="4963320"/>
              <a:ext cx="65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4" name="Straight Connector 143"/>
            <p:cNvSpPr/>
            <p:nvPr/>
          </p:nvSpPr>
          <p:spPr>
            <a:xfrm>
              <a:off x="2116800" y="4997160"/>
              <a:ext cx="56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5" name="Straight Connector 144"/>
            <p:cNvSpPr/>
            <p:nvPr/>
          </p:nvSpPr>
          <p:spPr>
            <a:xfrm>
              <a:off x="1916639" y="4771440"/>
              <a:ext cx="878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6" name="Straight Connector 145"/>
            <p:cNvSpPr/>
            <p:nvPr/>
          </p:nvSpPr>
          <p:spPr>
            <a:xfrm>
              <a:off x="2136240" y="4767839"/>
              <a:ext cx="511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7" name="Straight Connector 146"/>
            <p:cNvSpPr/>
            <p:nvPr/>
          </p:nvSpPr>
          <p:spPr>
            <a:xfrm>
              <a:off x="2167920" y="4729319"/>
              <a:ext cx="0" cy="38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8" name="Straight Connector 147"/>
            <p:cNvSpPr/>
            <p:nvPr/>
          </p:nvSpPr>
          <p:spPr>
            <a:xfrm>
              <a:off x="2180160" y="4842720"/>
              <a:ext cx="0" cy="694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9" name="Straight Connector 148"/>
            <p:cNvSpPr/>
            <p:nvPr/>
          </p:nvSpPr>
          <p:spPr>
            <a:xfrm>
              <a:off x="1990079" y="4697279"/>
              <a:ext cx="0" cy="486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0" name="Straight Connector 149"/>
            <p:cNvSpPr/>
            <p:nvPr/>
          </p:nvSpPr>
          <p:spPr>
            <a:xfrm>
              <a:off x="2014200" y="4697640"/>
              <a:ext cx="0" cy="48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1" name="Straight Connector 150"/>
            <p:cNvSpPr/>
            <p:nvPr/>
          </p:nvSpPr>
          <p:spPr>
            <a:xfrm>
              <a:off x="2038679" y="4697640"/>
              <a:ext cx="0" cy="48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2" name="Straight Connector 151"/>
            <p:cNvSpPr/>
            <p:nvPr/>
          </p:nvSpPr>
          <p:spPr>
            <a:xfrm>
              <a:off x="2063160" y="4697640"/>
              <a:ext cx="0" cy="48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3" name="Straight Connector 152"/>
            <p:cNvSpPr/>
            <p:nvPr/>
          </p:nvSpPr>
          <p:spPr>
            <a:xfrm>
              <a:off x="2087640" y="4698000"/>
              <a:ext cx="0" cy="47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4" name="Straight Connector 153"/>
            <p:cNvSpPr/>
            <p:nvPr/>
          </p:nvSpPr>
          <p:spPr>
            <a:xfrm>
              <a:off x="2111760" y="4698000"/>
              <a:ext cx="0" cy="47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5" name="Straight Connector 154"/>
            <p:cNvSpPr/>
            <p:nvPr/>
          </p:nvSpPr>
          <p:spPr>
            <a:xfrm>
              <a:off x="2136240" y="4698360"/>
              <a:ext cx="0" cy="47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6" name="Straight Connector 155"/>
            <p:cNvSpPr/>
            <p:nvPr/>
          </p:nvSpPr>
          <p:spPr>
            <a:xfrm>
              <a:off x="1971360" y="479880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7" name="Straight Connector 156"/>
            <p:cNvSpPr/>
            <p:nvPr/>
          </p:nvSpPr>
          <p:spPr>
            <a:xfrm>
              <a:off x="2156760" y="479880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8" name="Straight Connector 157"/>
            <p:cNvSpPr/>
            <p:nvPr/>
          </p:nvSpPr>
          <p:spPr>
            <a:xfrm>
              <a:off x="1979640" y="467280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9" name="Freeform: Shape 154"/>
            <p:cNvSpPr/>
            <p:nvPr/>
          </p:nvSpPr>
          <p:spPr>
            <a:xfrm>
              <a:off x="1982160" y="4551480"/>
              <a:ext cx="160920" cy="96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48" h="268">
                  <a:moveTo>
                    <a:pt x="448" y="268"/>
                  </a:moveTo>
                  <a:lnTo>
                    <a:pt x="0" y="268"/>
                  </a:lnTo>
                  <a:cubicBezTo>
                    <a:pt x="0" y="268"/>
                    <a:pt x="60" y="0"/>
                    <a:pt x="225" y="0"/>
                  </a:cubicBezTo>
                  <a:cubicBezTo>
                    <a:pt x="390" y="0"/>
                    <a:pt x="448" y="268"/>
                    <a:pt x="448" y="26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0" name="Straight Connector 159"/>
            <p:cNvSpPr/>
            <p:nvPr/>
          </p:nvSpPr>
          <p:spPr>
            <a:xfrm>
              <a:off x="2045880" y="4528440"/>
              <a:ext cx="34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1" name="Straight Connector 160"/>
            <p:cNvSpPr/>
            <p:nvPr/>
          </p:nvSpPr>
          <p:spPr>
            <a:xfrm>
              <a:off x="2052000" y="4505760"/>
              <a:ext cx="241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2" name="Straight Connector 161"/>
            <p:cNvSpPr/>
            <p:nvPr/>
          </p:nvSpPr>
          <p:spPr>
            <a:xfrm>
              <a:off x="2064240" y="4431960"/>
              <a:ext cx="0" cy="43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3" name="Straight Connector 162"/>
            <p:cNvSpPr/>
            <p:nvPr/>
          </p:nvSpPr>
          <p:spPr>
            <a:xfrm>
              <a:off x="2031480" y="4878720"/>
              <a:ext cx="644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4" name="Straight Connector 163"/>
            <p:cNvSpPr/>
            <p:nvPr/>
          </p:nvSpPr>
          <p:spPr>
            <a:xfrm>
              <a:off x="2223360" y="4723559"/>
              <a:ext cx="72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5" name="Straight Connector 164"/>
            <p:cNvSpPr/>
            <p:nvPr/>
          </p:nvSpPr>
          <p:spPr>
            <a:xfrm>
              <a:off x="2210040" y="4627440"/>
              <a:ext cx="0" cy="84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6" name="Straight Connector 165"/>
            <p:cNvSpPr/>
            <p:nvPr/>
          </p:nvSpPr>
          <p:spPr>
            <a:xfrm>
              <a:off x="2305080" y="4627440"/>
              <a:ext cx="0" cy="84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7" name="Straight Connector 166"/>
            <p:cNvSpPr/>
            <p:nvPr/>
          </p:nvSpPr>
          <p:spPr>
            <a:xfrm>
              <a:off x="2214719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8" name="Straight Connector 167"/>
            <p:cNvSpPr/>
            <p:nvPr/>
          </p:nvSpPr>
          <p:spPr>
            <a:xfrm>
              <a:off x="223704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9" name="Straight Connector 168"/>
            <p:cNvSpPr/>
            <p:nvPr/>
          </p:nvSpPr>
          <p:spPr>
            <a:xfrm>
              <a:off x="225900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0" name="Straight Connector 169"/>
            <p:cNvSpPr/>
            <p:nvPr/>
          </p:nvSpPr>
          <p:spPr>
            <a:xfrm>
              <a:off x="228096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1" name="Straight Connector 170"/>
            <p:cNvSpPr/>
            <p:nvPr/>
          </p:nvSpPr>
          <p:spPr>
            <a:xfrm>
              <a:off x="230292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2" name="Freeform: Shape 167"/>
            <p:cNvSpPr/>
            <p:nvPr/>
          </p:nvSpPr>
          <p:spPr>
            <a:xfrm>
              <a:off x="2206440" y="4525560"/>
              <a:ext cx="99720" cy="85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239" fill="none">
                  <a:moveTo>
                    <a:pt x="0" y="239"/>
                  </a:moveTo>
                  <a:lnTo>
                    <a:pt x="72" y="123"/>
                  </a:lnTo>
                  <a:lnTo>
                    <a:pt x="72" y="0"/>
                  </a:lnTo>
                  <a:lnTo>
                    <a:pt x="204" y="0"/>
                  </a:lnTo>
                  <a:lnTo>
                    <a:pt x="204" y="119"/>
                  </a:lnTo>
                  <a:lnTo>
                    <a:pt x="278" y="2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3" name="Freeform: Shape 168"/>
            <p:cNvSpPr/>
            <p:nvPr/>
          </p:nvSpPr>
          <p:spPr>
            <a:xfrm>
              <a:off x="2235960" y="4650120"/>
              <a:ext cx="43920" cy="43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3" h="123">
                  <a:moveTo>
                    <a:pt x="123" y="61"/>
                  </a:moveTo>
                  <a:cubicBezTo>
                    <a:pt x="123" y="73"/>
                    <a:pt x="121" y="82"/>
                    <a:pt x="115" y="92"/>
                  </a:cubicBezTo>
                  <a:cubicBezTo>
                    <a:pt x="109" y="102"/>
                    <a:pt x="101" y="109"/>
                    <a:pt x="92" y="115"/>
                  </a:cubicBezTo>
                  <a:cubicBezTo>
                    <a:pt x="82" y="120"/>
                    <a:pt x="73" y="123"/>
                    <a:pt x="62" y="123"/>
                  </a:cubicBezTo>
                  <a:cubicBezTo>
                    <a:pt x="50" y="123"/>
                    <a:pt x="41" y="120"/>
                    <a:pt x="31" y="115"/>
                  </a:cubicBezTo>
                  <a:cubicBezTo>
                    <a:pt x="21" y="109"/>
                    <a:pt x="14" y="102"/>
                    <a:pt x="8" y="92"/>
                  </a:cubicBezTo>
                  <a:cubicBezTo>
                    <a:pt x="2" y="82"/>
                    <a:pt x="0" y="72"/>
                    <a:pt x="0" y="61"/>
                  </a:cubicBezTo>
                  <a:cubicBezTo>
                    <a:pt x="0" y="49"/>
                    <a:pt x="2" y="40"/>
                    <a:pt x="8" y="30"/>
                  </a:cubicBezTo>
                  <a:cubicBezTo>
                    <a:pt x="14" y="20"/>
                    <a:pt x="21" y="14"/>
                    <a:pt x="31" y="8"/>
                  </a:cubicBezTo>
                  <a:cubicBezTo>
                    <a:pt x="41" y="2"/>
                    <a:pt x="50" y="0"/>
                    <a:pt x="62" y="0"/>
                  </a:cubicBezTo>
                  <a:cubicBezTo>
                    <a:pt x="73" y="0"/>
                    <a:pt x="82" y="2"/>
                    <a:pt x="92" y="8"/>
                  </a:cubicBezTo>
                  <a:cubicBezTo>
                    <a:pt x="101" y="14"/>
                    <a:pt x="109" y="20"/>
                    <a:pt x="115" y="30"/>
                  </a:cubicBezTo>
                  <a:cubicBezTo>
                    <a:pt x="121" y="39"/>
                    <a:pt x="123" y="50"/>
                    <a:pt x="123" y="61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4" name="Straight Connector 173"/>
            <p:cNvSpPr/>
            <p:nvPr/>
          </p:nvSpPr>
          <p:spPr>
            <a:xfrm>
              <a:off x="2231640" y="4603320"/>
              <a:ext cx="50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5" name="Straight Connector 174"/>
            <p:cNvSpPr/>
            <p:nvPr/>
          </p:nvSpPr>
          <p:spPr>
            <a:xfrm>
              <a:off x="2231640" y="4620600"/>
              <a:ext cx="50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6" name="Straight Connector 175"/>
            <p:cNvSpPr/>
            <p:nvPr/>
          </p:nvSpPr>
          <p:spPr>
            <a:xfrm>
              <a:off x="2232360" y="4569840"/>
              <a:ext cx="47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7" name="Freeform: Shape 172"/>
            <p:cNvSpPr/>
            <p:nvPr/>
          </p:nvSpPr>
          <p:spPr>
            <a:xfrm>
              <a:off x="2232360" y="4487760"/>
              <a:ext cx="47160" cy="37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2" h="105" fill="none">
                  <a:moveTo>
                    <a:pt x="0" y="105"/>
                  </a:moveTo>
                  <a:lnTo>
                    <a:pt x="67" y="0"/>
                  </a:lnTo>
                  <a:lnTo>
                    <a:pt x="132" y="10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8" name="Straight Connector 177"/>
            <p:cNvSpPr/>
            <p:nvPr/>
          </p:nvSpPr>
          <p:spPr>
            <a:xfrm>
              <a:off x="2257200" y="4539600"/>
              <a:ext cx="0" cy="20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9" name="Straight Connector 178"/>
            <p:cNvSpPr/>
            <p:nvPr/>
          </p:nvSpPr>
          <p:spPr>
            <a:xfrm flipV="1">
              <a:off x="2256480" y="4451760"/>
              <a:ext cx="0" cy="36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0" name="Straight Connector 179"/>
            <p:cNvSpPr/>
            <p:nvPr/>
          </p:nvSpPr>
          <p:spPr>
            <a:xfrm>
              <a:off x="2345039" y="4777560"/>
              <a:ext cx="0" cy="81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1" name="Straight Connector 180"/>
            <p:cNvSpPr/>
            <p:nvPr/>
          </p:nvSpPr>
          <p:spPr>
            <a:xfrm>
              <a:off x="2319120" y="4858920"/>
              <a:ext cx="50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2" name="Straight Connector 181"/>
            <p:cNvSpPr/>
            <p:nvPr/>
          </p:nvSpPr>
          <p:spPr>
            <a:xfrm>
              <a:off x="2247480" y="4997160"/>
              <a:ext cx="4143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3" name="Freeform: Shape 178"/>
            <p:cNvSpPr/>
            <p:nvPr/>
          </p:nvSpPr>
          <p:spPr>
            <a:xfrm>
              <a:off x="2357280" y="3765960"/>
              <a:ext cx="304200" cy="1213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46" h="3372" fill="none">
                  <a:moveTo>
                    <a:pt x="0" y="3372"/>
                  </a:moveTo>
                  <a:lnTo>
                    <a:pt x="348" y="0"/>
                  </a:lnTo>
                  <a:lnTo>
                    <a:pt x="408" y="169"/>
                  </a:lnTo>
                  <a:lnTo>
                    <a:pt x="468" y="0"/>
                  </a:lnTo>
                  <a:lnTo>
                    <a:pt x="846" y="336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4" name="Straight Connector 183"/>
            <p:cNvSpPr/>
            <p:nvPr/>
          </p:nvSpPr>
          <p:spPr>
            <a:xfrm>
              <a:off x="2508841" y="3855598"/>
              <a:ext cx="123081" cy="111600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5" name="Straight Connector 184"/>
            <p:cNvSpPr/>
            <p:nvPr/>
          </p:nvSpPr>
          <p:spPr>
            <a:xfrm>
              <a:off x="2644560" y="4823280"/>
              <a:ext cx="121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6" name="Straight Connector 185"/>
            <p:cNvSpPr/>
            <p:nvPr/>
          </p:nvSpPr>
          <p:spPr>
            <a:xfrm>
              <a:off x="2693520" y="4893480"/>
              <a:ext cx="0" cy="11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7" name="Straight Connector 186"/>
            <p:cNvSpPr/>
            <p:nvPr/>
          </p:nvSpPr>
          <p:spPr>
            <a:xfrm>
              <a:off x="3372120" y="4893480"/>
              <a:ext cx="0" cy="11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8" name="Straight Connector 187"/>
            <p:cNvSpPr/>
            <p:nvPr/>
          </p:nvSpPr>
          <p:spPr>
            <a:xfrm>
              <a:off x="2856960" y="4997160"/>
              <a:ext cx="2509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9" name="Straight Connector 188"/>
            <p:cNvSpPr/>
            <p:nvPr/>
          </p:nvSpPr>
          <p:spPr>
            <a:xfrm>
              <a:off x="2905560" y="5026680"/>
              <a:ext cx="72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0" name="Straight Connector 189"/>
            <p:cNvSpPr/>
            <p:nvPr/>
          </p:nvSpPr>
          <p:spPr>
            <a:xfrm>
              <a:off x="2657880" y="4673160"/>
              <a:ext cx="64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1" name="Straight Connector 190"/>
            <p:cNvSpPr/>
            <p:nvPr/>
          </p:nvSpPr>
          <p:spPr>
            <a:xfrm>
              <a:off x="2809800" y="4673160"/>
              <a:ext cx="1411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2" name="Straight Connector 191"/>
            <p:cNvSpPr/>
            <p:nvPr/>
          </p:nvSpPr>
          <p:spPr>
            <a:xfrm>
              <a:off x="2724480" y="4582440"/>
              <a:ext cx="0" cy="189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3" name="Freeform: Shape 188"/>
            <p:cNvSpPr/>
            <p:nvPr/>
          </p:nvSpPr>
          <p:spPr>
            <a:xfrm>
              <a:off x="2809800" y="4582440"/>
              <a:ext cx="333720" cy="307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8" h="855" fill="none">
                  <a:moveTo>
                    <a:pt x="0" y="0"/>
                  </a:moveTo>
                  <a:lnTo>
                    <a:pt x="0" y="855"/>
                  </a:lnTo>
                  <a:lnTo>
                    <a:pt x="928" y="855"/>
                  </a:lnTo>
                  <a:lnTo>
                    <a:pt x="883" y="782"/>
                  </a:lnTo>
                  <a:lnTo>
                    <a:pt x="77" y="78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4" name="Straight Connector 193"/>
            <p:cNvSpPr/>
            <p:nvPr/>
          </p:nvSpPr>
          <p:spPr>
            <a:xfrm>
              <a:off x="2765880" y="4582440"/>
              <a:ext cx="0" cy="42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5" name="Straight Connector 194"/>
            <p:cNvSpPr/>
            <p:nvPr/>
          </p:nvSpPr>
          <p:spPr>
            <a:xfrm>
              <a:off x="2765880" y="4669920"/>
              <a:ext cx="0" cy="18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6" name="Straight Connector 195"/>
            <p:cNvSpPr/>
            <p:nvPr/>
          </p:nvSpPr>
          <p:spPr>
            <a:xfrm>
              <a:off x="2700000" y="4565160"/>
              <a:ext cx="133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7" name="Freeform: Shape 192"/>
            <p:cNvSpPr/>
            <p:nvPr/>
          </p:nvSpPr>
          <p:spPr>
            <a:xfrm>
              <a:off x="2710800" y="4506840"/>
              <a:ext cx="106920" cy="44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8" name="Straight Connector 197"/>
            <p:cNvSpPr/>
            <p:nvPr/>
          </p:nvSpPr>
          <p:spPr>
            <a:xfrm>
              <a:off x="2766960" y="4424040"/>
              <a:ext cx="0" cy="83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9" name="Freeform: Shape 194"/>
            <p:cNvSpPr/>
            <p:nvPr/>
          </p:nvSpPr>
          <p:spPr>
            <a:xfrm>
              <a:off x="3039120" y="4673160"/>
              <a:ext cx="411480" cy="626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44" h="175" fill="none">
                  <a:moveTo>
                    <a:pt x="0" y="0"/>
                  </a:moveTo>
                  <a:lnTo>
                    <a:pt x="1144" y="0"/>
                  </a:lnTo>
                  <a:lnTo>
                    <a:pt x="1144" y="175"/>
                  </a:lnTo>
                  <a:lnTo>
                    <a:pt x="780" y="175"/>
                  </a:lnTo>
                  <a:lnTo>
                    <a:pt x="780" y="8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0" name="Straight Connector 199"/>
            <p:cNvSpPr/>
            <p:nvPr/>
          </p:nvSpPr>
          <p:spPr>
            <a:xfrm>
              <a:off x="2953800" y="4582440"/>
              <a:ext cx="0" cy="189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1" name="Straight Connector 200"/>
            <p:cNvSpPr/>
            <p:nvPr/>
          </p:nvSpPr>
          <p:spPr>
            <a:xfrm>
              <a:off x="3039120" y="4582440"/>
              <a:ext cx="0" cy="189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2" name="Straight Connector 201"/>
            <p:cNvSpPr/>
            <p:nvPr/>
          </p:nvSpPr>
          <p:spPr>
            <a:xfrm>
              <a:off x="2995560" y="4582440"/>
              <a:ext cx="0" cy="42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3" name="Straight Connector 202"/>
            <p:cNvSpPr/>
            <p:nvPr/>
          </p:nvSpPr>
          <p:spPr>
            <a:xfrm>
              <a:off x="2995560" y="4669920"/>
              <a:ext cx="0" cy="18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4" name="Straight Connector 203"/>
            <p:cNvSpPr/>
            <p:nvPr/>
          </p:nvSpPr>
          <p:spPr>
            <a:xfrm>
              <a:off x="2929679" y="4565160"/>
              <a:ext cx="1339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5" name="Freeform: Shape 200"/>
            <p:cNvSpPr/>
            <p:nvPr/>
          </p:nvSpPr>
          <p:spPr>
            <a:xfrm>
              <a:off x="2940479" y="4506840"/>
              <a:ext cx="106920" cy="44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6" name="Straight Connector 205"/>
            <p:cNvSpPr/>
            <p:nvPr/>
          </p:nvSpPr>
          <p:spPr>
            <a:xfrm>
              <a:off x="2996640" y="4424040"/>
              <a:ext cx="0" cy="83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7" name="Freeform: Shape 202"/>
            <p:cNvSpPr/>
            <p:nvPr/>
          </p:nvSpPr>
          <p:spPr>
            <a:xfrm>
              <a:off x="3064320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8" name="Freeform: Shape 203"/>
            <p:cNvSpPr/>
            <p:nvPr/>
          </p:nvSpPr>
          <p:spPr>
            <a:xfrm>
              <a:off x="3151440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9" name="Freeform: Shape 204"/>
            <p:cNvSpPr/>
            <p:nvPr/>
          </p:nvSpPr>
          <p:spPr>
            <a:xfrm>
              <a:off x="3238560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0" name="Freeform: Shape 205"/>
            <p:cNvSpPr/>
            <p:nvPr/>
          </p:nvSpPr>
          <p:spPr>
            <a:xfrm>
              <a:off x="3325679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1" name="Freeform: Shape 206"/>
            <p:cNvSpPr/>
            <p:nvPr/>
          </p:nvSpPr>
          <p:spPr>
            <a:xfrm>
              <a:off x="2714040" y="4930200"/>
              <a:ext cx="18900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2" name="Freeform: Shape 207"/>
            <p:cNvSpPr/>
            <p:nvPr/>
          </p:nvSpPr>
          <p:spPr>
            <a:xfrm>
              <a:off x="2940120" y="4930200"/>
              <a:ext cx="18864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5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5" y="132"/>
                    <a:pt x="525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3" name="Freeform: Shape 208"/>
            <p:cNvSpPr/>
            <p:nvPr/>
          </p:nvSpPr>
          <p:spPr>
            <a:xfrm>
              <a:off x="3166200" y="4930200"/>
              <a:ext cx="18900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3" y="0"/>
                    <a:pt x="277" y="0"/>
                  </a:cubicBezTo>
                  <a:cubicBezTo>
                    <a:pt x="491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4" name="Straight Connector 213"/>
            <p:cNvSpPr/>
            <p:nvPr/>
          </p:nvSpPr>
          <p:spPr>
            <a:xfrm>
              <a:off x="3506039" y="4715280"/>
              <a:ext cx="5212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5" name="Straight Connector 214"/>
            <p:cNvSpPr/>
            <p:nvPr/>
          </p:nvSpPr>
          <p:spPr>
            <a:xfrm>
              <a:off x="3629160" y="4756680"/>
              <a:ext cx="274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6" name="Straight Connector 215"/>
            <p:cNvSpPr/>
            <p:nvPr/>
          </p:nvSpPr>
          <p:spPr>
            <a:xfrm>
              <a:off x="3711960" y="4797360"/>
              <a:ext cx="109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7" name="Freeform: Shape 212"/>
            <p:cNvSpPr/>
            <p:nvPr/>
          </p:nvSpPr>
          <p:spPr>
            <a:xfrm>
              <a:off x="4082040" y="4701600"/>
              <a:ext cx="54720" cy="1368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3" h="381">
                  <a:moveTo>
                    <a:pt x="153" y="0"/>
                  </a:moveTo>
                  <a:lnTo>
                    <a:pt x="153" y="381"/>
                  </a:lnTo>
                  <a:lnTo>
                    <a:pt x="0" y="25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8" name="Straight Connector 217"/>
            <p:cNvSpPr/>
            <p:nvPr/>
          </p:nvSpPr>
          <p:spPr>
            <a:xfrm>
              <a:off x="4082040" y="4852440"/>
              <a:ext cx="414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9" name="Freeform: Shape 214"/>
            <p:cNvSpPr/>
            <p:nvPr/>
          </p:nvSpPr>
          <p:spPr>
            <a:xfrm>
              <a:off x="3835440" y="4838760"/>
              <a:ext cx="95400" cy="191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6" h="533">
                  <a:moveTo>
                    <a:pt x="266" y="0"/>
                  </a:moveTo>
                  <a:lnTo>
                    <a:pt x="266" y="533"/>
                  </a:lnTo>
                  <a:lnTo>
                    <a:pt x="0" y="35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0" name="Straight Connector 219"/>
            <p:cNvSpPr/>
            <p:nvPr/>
          </p:nvSpPr>
          <p:spPr>
            <a:xfrm>
              <a:off x="3835440" y="5044320"/>
              <a:ext cx="54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1" name="Straight Connector 220"/>
            <p:cNvSpPr/>
            <p:nvPr/>
          </p:nvSpPr>
          <p:spPr>
            <a:xfrm>
              <a:off x="3506039" y="4866120"/>
              <a:ext cx="1094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2" name="Straight Connector 221"/>
            <p:cNvSpPr/>
            <p:nvPr/>
          </p:nvSpPr>
          <p:spPr>
            <a:xfrm>
              <a:off x="3409920" y="4618440"/>
              <a:ext cx="0" cy="55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3" name="Straight Connector 222"/>
            <p:cNvSpPr/>
            <p:nvPr/>
          </p:nvSpPr>
          <p:spPr>
            <a:xfrm>
              <a:off x="4205880" y="4715280"/>
              <a:ext cx="219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4" name="Straight Connector 223"/>
            <p:cNvSpPr/>
            <p:nvPr/>
          </p:nvSpPr>
          <p:spPr>
            <a:xfrm>
              <a:off x="-5216400" y="4862160"/>
              <a:ext cx="190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5" name="Straight Connector 224"/>
            <p:cNvSpPr/>
            <p:nvPr/>
          </p:nvSpPr>
          <p:spPr>
            <a:xfrm>
              <a:off x="-5132520" y="4893480"/>
              <a:ext cx="0" cy="1162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6" name="Straight Connector 225"/>
            <p:cNvSpPr/>
            <p:nvPr/>
          </p:nvSpPr>
          <p:spPr>
            <a:xfrm>
              <a:off x="-4992480" y="4796640"/>
              <a:ext cx="535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7" name="Straight Connector 226"/>
            <p:cNvSpPr/>
            <p:nvPr/>
          </p:nvSpPr>
          <p:spPr>
            <a:xfrm>
              <a:off x="-4873320" y="4839120"/>
              <a:ext cx="289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8" name="Straight Connector 227"/>
            <p:cNvSpPr/>
            <p:nvPr/>
          </p:nvSpPr>
          <p:spPr>
            <a:xfrm>
              <a:off x="-4781520" y="4879440"/>
              <a:ext cx="106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9" name="Straight Connector 228"/>
            <p:cNvSpPr/>
            <p:nvPr/>
          </p:nvSpPr>
          <p:spPr>
            <a:xfrm>
              <a:off x="-4398840" y="4768559"/>
              <a:ext cx="0" cy="32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0" name="Straight Connector 229"/>
            <p:cNvSpPr/>
            <p:nvPr/>
          </p:nvSpPr>
          <p:spPr>
            <a:xfrm>
              <a:off x="-4361040" y="4801320"/>
              <a:ext cx="358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1" name="Freeform: Shape 226"/>
            <p:cNvSpPr/>
            <p:nvPr/>
          </p:nvSpPr>
          <p:spPr>
            <a:xfrm>
              <a:off x="-4316040" y="4453920"/>
              <a:ext cx="516599" cy="330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36" h="918" fill="none">
                  <a:moveTo>
                    <a:pt x="0" y="918"/>
                  </a:moveTo>
                  <a:lnTo>
                    <a:pt x="718" y="0"/>
                  </a:lnTo>
                  <a:lnTo>
                    <a:pt x="1436" y="918"/>
                  </a:lnTo>
                  <a:lnTo>
                    <a:pt x="1436" y="75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2" name="Freeform: Shape 227"/>
            <p:cNvSpPr/>
            <p:nvPr/>
          </p:nvSpPr>
          <p:spPr>
            <a:xfrm>
              <a:off x="-3766320" y="4149360"/>
              <a:ext cx="319680" cy="6735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9" h="1872" fill="none">
                  <a:moveTo>
                    <a:pt x="0" y="1872"/>
                  </a:moveTo>
                  <a:lnTo>
                    <a:pt x="0" y="0"/>
                  </a:lnTo>
                  <a:lnTo>
                    <a:pt x="889" y="0"/>
                  </a:lnTo>
                  <a:lnTo>
                    <a:pt x="889" y="142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3" name="Freeform: Shape 228"/>
            <p:cNvSpPr/>
            <p:nvPr/>
          </p:nvSpPr>
          <p:spPr>
            <a:xfrm>
              <a:off x="-3577320" y="4686480"/>
              <a:ext cx="262080" cy="204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29" h="570" fill="none">
                  <a:moveTo>
                    <a:pt x="0" y="570"/>
                  </a:moveTo>
                  <a:lnTo>
                    <a:pt x="0" y="0"/>
                  </a:lnTo>
                  <a:lnTo>
                    <a:pt x="729" y="0"/>
                  </a:lnTo>
                  <a:lnTo>
                    <a:pt x="729" y="56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4" name="Straight Connector 233"/>
            <p:cNvSpPr/>
            <p:nvPr/>
          </p:nvSpPr>
          <p:spPr>
            <a:xfrm>
              <a:off x="-3409920" y="4643280"/>
              <a:ext cx="7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5" name="Straight Connector 234"/>
            <p:cNvSpPr/>
            <p:nvPr/>
          </p:nvSpPr>
          <p:spPr>
            <a:xfrm>
              <a:off x="-3385440" y="4595040"/>
              <a:ext cx="0" cy="27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6" name="Straight Connector 235"/>
            <p:cNvSpPr/>
            <p:nvPr/>
          </p:nvSpPr>
          <p:spPr>
            <a:xfrm>
              <a:off x="-3625560" y="4035240"/>
              <a:ext cx="39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7" name="Straight Connector 236"/>
            <p:cNvSpPr/>
            <p:nvPr/>
          </p:nvSpPr>
          <p:spPr>
            <a:xfrm>
              <a:off x="-3654360" y="4070160"/>
              <a:ext cx="97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8" name="Freeform: Shape 233"/>
            <p:cNvSpPr/>
            <p:nvPr/>
          </p:nvSpPr>
          <p:spPr>
            <a:xfrm>
              <a:off x="-3675959" y="4097160"/>
              <a:ext cx="142920" cy="51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98" h="145" fill="none">
                  <a:moveTo>
                    <a:pt x="0" y="145"/>
                  </a:moveTo>
                  <a:lnTo>
                    <a:pt x="0" y="0"/>
                  </a:lnTo>
                  <a:lnTo>
                    <a:pt x="398" y="0"/>
                  </a:lnTo>
                  <a:lnTo>
                    <a:pt x="398" y="14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9" name="Straight Connector 238"/>
            <p:cNvSpPr/>
            <p:nvPr/>
          </p:nvSpPr>
          <p:spPr>
            <a:xfrm>
              <a:off x="-3684600" y="4907520"/>
              <a:ext cx="1864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0" name="Straight Connector 239"/>
            <p:cNvSpPr/>
            <p:nvPr/>
          </p:nvSpPr>
          <p:spPr>
            <a:xfrm flipV="1">
              <a:off x="-3395520" y="4727159"/>
              <a:ext cx="0" cy="158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1" name="Straight Connector 240"/>
            <p:cNvSpPr/>
            <p:nvPr/>
          </p:nvSpPr>
          <p:spPr>
            <a:xfrm flipV="1">
              <a:off x="-3260880" y="4207320"/>
              <a:ext cx="0" cy="497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2" name="Straight Connector 241"/>
            <p:cNvSpPr/>
            <p:nvPr/>
          </p:nvSpPr>
          <p:spPr>
            <a:xfrm flipV="1">
              <a:off x="-3137039" y="4207320"/>
              <a:ext cx="0" cy="497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3" name="Freeform: Shape 238"/>
            <p:cNvSpPr/>
            <p:nvPr/>
          </p:nvSpPr>
          <p:spPr>
            <a:xfrm>
              <a:off x="-3254759" y="4184639"/>
              <a:ext cx="110160" cy="33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95" fill="none">
                  <a:moveTo>
                    <a:pt x="0" y="95"/>
                  </a:moveTo>
                  <a:lnTo>
                    <a:pt x="155" y="0"/>
                  </a:lnTo>
                  <a:lnTo>
                    <a:pt x="307" y="9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4" name="Straight Connector 243"/>
            <p:cNvSpPr/>
            <p:nvPr/>
          </p:nvSpPr>
          <p:spPr>
            <a:xfrm flipV="1">
              <a:off x="-3198960" y="4076640"/>
              <a:ext cx="0" cy="107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5" name="Freeform: Shape 240"/>
            <p:cNvSpPr/>
            <p:nvPr/>
          </p:nvSpPr>
          <p:spPr>
            <a:xfrm>
              <a:off x="-3226680" y="4241520"/>
              <a:ext cx="54720" cy="30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3" h="85">
                  <a:moveTo>
                    <a:pt x="76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153" y="0"/>
                  </a:lnTo>
                  <a:lnTo>
                    <a:pt x="153" y="8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6" name="Freeform: Shape 241"/>
            <p:cNvSpPr/>
            <p:nvPr/>
          </p:nvSpPr>
          <p:spPr>
            <a:xfrm>
              <a:off x="-3241080" y="4300560"/>
              <a:ext cx="82080" cy="15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9" h="44">
                  <a:moveTo>
                    <a:pt x="115" y="44"/>
                  </a:moveTo>
                  <a:lnTo>
                    <a:pt x="0" y="44"/>
                  </a:lnTo>
                  <a:lnTo>
                    <a:pt x="0" y="0"/>
                  </a:lnTo>
                  <a:lnTo>
                    <a:pt x="229" y="0"/>
                  </a:lnTo>
                  <a:lnTo>
                    <a:pt x="229" y="4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7" name="Freeform: Shape 242"/>
            <p:cNvSpPr/>
            <p:nvPr/>
          </p:nvSpPr>
          <p:spPr>
            <a:xfrm>
              <a:off x="-3244320" y="433836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8" name="Freeform: Shape 243"/>
            <p:cNvSpPr/>
            <p:nvPr/>
          </p:nvSpPr>
          <p:spPr>
            <a:xfrm>
              <a:off x="-3244320" y="4368239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9" name="Freeform: Shape 244"/>
            <p:cNvSpPr/>
            <p:nvPr/>
          </p:nvSpPr>
          <p:spPr>
            <a:xfrm>
              <a:off x="-3244320" y="439776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0" name="Freeform: Shape 245"/>
            <p:cNvSpPr/>
            <p:nvPr/>
          </p:nvSpPr>
          <p:spPr>
            <a:xfrm>
              <a:off x="-3244320" y="4427279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1" name="Freeform: Shape 246"/>
            <p:cNvSpPr/>
            <p:nvPr/>
          </p:nvSpPr>
          <p:spPr>
            <a:xfrm>
              <a:off x="-3244320" y="445680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2" name="Freeform: Shape 247"/>
            <p:cNvSpPr/>
            <p:nvPr/>
          </p:nvSpPr>
          <p:spPr>
            <a:xfrm>
              <a:off x="-3244320" y="448632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3" name="Freeform: Shape 248"/>
            <p:cNvSpPr/>
            <p:nvPr/>
          </p:nvSpPr>
          <p:spPr>
            <a:xfrm>
              <a:off x="-3244320" y="45158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4" name="Freeform: Shape 249"/>
            <p:cNvSpPr/>
            <p:nvPr/>
          </p:nvSpPr>
          <p:spPr>
            <a:xfrm>
              <a:off x="-3244320" y="454572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5" name="Freeform: Shape 250"/>
            <p:cNvSpPr/>
            <p:nvPr/>
          </p:nvSpPr>
          <p:spPr>
            <a:xfrm>
              <a:off x="-3244320" y="45752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6" name="Freeform: Shape 251"/>
            <p:cNvSpPr/>
            <p:nvPr/>
          </p:nvSpPr>
          <p:spPr>
            <a:xfrm>
              <a:off x="-3244320" y="4604759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7" name="Freeform: Shape 252"/>
            <p:cNvSpPr/>
            <p:nvPr/>
          </p:nvSpPr>
          <p:spPr>
            <a:xfrm>
              <a:off x="-3244320" y="46346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8" name="Freeform: Shape 253"/>
            <p:cNvSpPr/>
            <p:nvPr/>
          </p:nvSpPr>
          <p:spPr>
            <a:xfrm>
              <a:off x="-3244320" y="466452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9" name="Freeform: Shape 254"/>
            <p:cNvSpPr/>
            <p:nvPr/>
          </p:nvSpPr>
          <p:spPr>
            <a:xfrm>
              <a:off x="-3244320" y="46940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0" name="Freeform: Shape 255"/>
            <p:cNvSpPr/>
            <p:nvPr/>
          </p:nvSpPr>
          <p:spPr>
            <a:xfrm>
              <a:off x="-3121200" y="441252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1" name="Freeform: Shape 256"/>
            <p:cNvSpPr/>
            <p:nvPr/>
          </p:nvSpPr>
          <p:spPr>
            <a:xfrm>
              <a:off x="-3121200" y="443268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2" name="Freeform: Shape 257"/>
            <p:cNvSpPr/>
            <p:nvPr/>
          </p:nvSpPr>
          <p:spPr>
            <a:xfrm>
              <a:off x="-3121200" y="445248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3" name="Freeform: Shape 258"/>
            <p:cNvSpPr/>
            <p:nvPr/>
          </p:nvSpPr>
          <p:spPr>
            <a:xfrm>
              <a:off x="-3121200" y="44726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4" name="Freeform: Shape 259"/>
            <p:cNvSpPr/>
            <p:nvPr/>
          </p:nvSpPr>
          <p:spPr>
            <a:xfrm>
              <a:off x="-3121200" y="449280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5" name="Freeform: Shape 260"/>
            <p:cNvSpPr/>
            <p:nvPr/>
          </p:nvSpPr>
          <p:spPr>
            <a:xfrm>
              <a:off x="-3121200" y="451296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6" name="Freeform: Shape 261"/>
            <p:cNvSpPr/>
            <p:nvPr/>
          </p:nvSpPr>
          <p:spPr>
            <a:xfrm>
              <a:off x="-3121200" y="453312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7" name="Freeform: Shape 262"/>
            <p:cNvSpPr/>
            <p:nvPr/>
          </p:nvSpPr>
          <p:spPr>
            <a:xfrm>
              <a:off x="-3121200" y="45536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8" name="Freeform: Shape 263"/>
            <p:cNvSpPr/>
            <p:nvPr/>
          </p:nvSpPr>
          <p:spPr>
            <a:xfrm>
              <a:off x="-3121200" y="45734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9" name="Freeform: Shape 264"/>
            <p:cNvSpPr/>
            <p:nvPr/>
          </p:nvSpPr>
          <p:spPr>
            <a:xfrm>
              <a:off x="-3121200" y="459360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0" name="Freeform: Shape 265"/>
            <p:cNvSpPr/>
            <p:nvPr/>
          </p:nvSpPr>
          <p:spPr>
            <a:xfrm>
              <a:off x="-3121200" y="461376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1" name="Freeform: Shape 266"/>
            <p:cNvSpPr/>
            <p:nvPr/>
          </p:nvSpPr>
          <p:spPr>
            <a:xfrm>
              <a:off x="-3121200" y="463392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2" name="Freeform: Shape 267"/>
            <p:cNvSpPr/>
            <p:nvPr/>
          </p:nvSpPr>
          <p:spPr>
            <a:xfrm>
              <a:off x="-3121200" y="465408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3" name="Freeform: Shape 268"/>
            <p:cNvSpPr/>
            <p:nvPr/>
          </p:nvSpPr>
          <p:spPr>
            <a:xfrm>
              <a:off x="-3121200" y="46742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4" name="Freeform: Shape 269"/>
            <p:cNvSpPr/>
            <p:nvPr/>
          </p:nvSpPr>
          <p:spPr>
            <a:xfrm>
              <a:off x="-3121200" y="4694759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5" name="Straight Connector 274"/>
            <p:cNvSpPr/>
            <p:nvPr/>
          </p:nvSpPr>
          <p:spPr>
            <a:xfrm>
              <a:off x="-2967839" y="4408200"/>
              <a:ext cx="0" cy="29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6" name="Freeform: Shape 271"/>
            <p:cNvSpPr/>
            <p:nvPr/>
          </p:nvSpPr>
          <p:spPr>
            <a:xfrm>
              <a:off x="-3223800" y="4715640"/>
              <a:ext cx="615240" cy="100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10" h="279" fill="none">
                  <a:moveTo>
                    <a:pt x="0" y="0"/>
                  </a:moveTo>
                  <a:lnTo>
                    <a:pt x="1034" y="0"/>
                  </a:lnTo>
                  <a:lnTo>
                    <a:pt x="1034" y="170"/>
                  </a:lnTo>
                  <a:lnTo>
                    <a:pt x="1710" y="170"/>
                  </a:lnTo>
                  <a:lnTo>
                    <a:pt x="1710" y="27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7" name="Freeform: Shape 272"/>
            <p:cNvSpPr/>
            <p:nvPr/>
          </p:nvSpPr>
          <p:spPr>
            <a:xfrm>
              <a:off x="-2857680" y="4826160"/>
              <a:ext cx="456119" cy="49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68" h="138" fill="none">
                  <a:moveTo>
                    <a:pt x="0" y="0"/>
                  </a:moveTo>
                  <a:lnTo>
                    <a:pt x="491" y="0"/>
                  </a:lnTo>
                  <a:lnTo>
                    <a:pt x="491" y="138"/>
                  </a:lnTo>
                  <a:lnTo>
                    <a:pt x="1268" y="13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8" name="Straight Connector 277"/>
            <p:cNvSpPr/>
            <p:nvPr/>
          </p:nvSpPr>
          <p:spPr>
            <a:xfrm>
              <a:off x="-3296520" y="4572360"/>
              <a:ext cx="0" cy="136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9" name="Straight Connector 278"/>
            <p:cNvSpPr/>
            <p:nvPr/>
          </p:nvSpPr>
          <p:spPr>
            <a:xfrm>
              <a:off x="-3279600" y="4572360"/>
              <a:ext cx="0" cy="136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0" name="Freeform: Shape 275"/>
            <p:cNvSpPr/>
            <p:nvPr/>
          </p:nvSpPr>
          <p:spPr>
            <a:xfrm>
              <a:off x="-3272400" y="4766040"/>
              <a:ext cx="179280" cy="95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99" h="267" fill="none">
                  <a:moveTo>
                    <a:pt x="0" y="267"/>
                  </a:moveTo>
                  <a:lnTo>
                    <a:pt x="0" y="0"/>
                  </a:lnTo>
                  <a:lnTo>
                    <a:pt x="499" y="0"/>
                  </a:lnTo>
                  <a:lnTo>
                    <a:pt x="499" y="26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1" name="Freeform: Shape 276"/>
            <p:cNvSpPr/>
            <p:nvPr/>
          </p:nvSpPr>
          <p:spPr>
            <a:xfrm>
              <a:off x="-3244320" y="4791240"/>
              <a:ext cx="97200" cy="24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1" h="70">
                  <a:moveTo>
                    <a:pt x="135" y="70"/>
                  </a:moveTo>
                  <a:lnTo>
                    <a:pt x="0" y="70"/>
                  </a:lnTo>
                  <a:lnTo>
                    <a:pt x="0" y="0"/>
                  </a:lnTo>
                  <a:lnTo>
                    <a:pt x="271" y="0"/>
                  </a:lnTo>
                  <a:lnTo>
                    <a:pt x="271" y="7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2" name="Freeform: Shape 277"/>
            <p:cNvSpPr/>
            <p:nvPr/>
          </p:nvSpPr>
          <p:spPr>
            <a:xfrm>
              <a:off x="-3013560" y="4733279"/>
              <a:ext cx="138240" cy="22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85" h="64">
                  <a:moveTo>
                    <a:pt x="192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385" y="0"/>
                  </a:lnTo>
                  <a:lnTo>
                    <a:pt x="385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3" name="Freeform: Shape 278"/>
            <p:cNvSpPr/>
            <p:nvPr/>
          </p:nvSpPr>
          <p:spPr>
            <a:xfrm>
              <a:off x="-2806920" y="4721760"/>
              <a:ext cx="83880" cy="22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4" h="64">
                  <a:moveTo>
                    <a:pt x="117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234" y="0"/>
                  </a:lnTo>
                  <a:lnTo>
                    <a:pt x="234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4" name="Freeform: Shape 279"/>
            <p:cNvSpPr/>
            <p:nvPr/>
          </p:nvSpPr>
          <p:spPr>
            <a:xfrm>
              <a:off x="-2592360" y="4716000"/>
              <a:ext cx="77760" cy="52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7" h="146">
                  <a:moveTo>
                    <a:pt x="109" y="146"/>
                  </a:moveTo>
                  <a:lnTo>
                    <a:pt x="0" y="146"/>
                  </a:lnTo>
                  <a:lnTo>
                    <a:pt x="0" y="0"/>
                  </a:lnTo>
                  <a:lnTo>
                    <a:pt x="217" y="0"/>
                  </a:lnTo>
                  <a:lnTo>
                    <a:pt x="217" y="14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5" name="Freeform: Shape 280"/>
            <p:cNvSpPr/>
            <p:nvPr/>
          </p:nvSpPr>
          <p:spPr>
            <a:xfrm>
              <a:off x="-2577240" y="4798080"/>
              <a:ext cx="29520" cy="50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3" h="141">
                  <a:moveTo>
                    <a:pt x="42" y="141"/>
                  </a:moveTo>
                  <a:lnTo>
                    <a:pt x="0" y="141"/>
                  </a:lnTo>
                  <a:lnTo>
                    <a:pt x="0" y="0"/>
                  </a:lnTo>
                  <a:lnTo>
                    <a:pt x="83" y="0"/>
                  </a:lnTo>
                  <a:lnTo>
                    <a:pt x="83" y="141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6" name="Freeform: Shape 281"/>
            <p:cNvSpPr/>
            <p:nvPr/>
          </p:nvSpPr>
          <p:spPr>
            <a:xfrm>
              <a:off x="-2904480" y="4563000"/>
              <a:ext cx="56880" cy="18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9" h="53">
                  <a:moveTo>
                    <a:pt x="80" y="53"/>
                  </a:moveTo>
                  <a:lnTo>
                    <a:pt x="0" y="53"/>
                  </a:lnTo>
                  <a:lnTo>
                    <a:pt x="0" y="0"/>
                  </a:lnTo>
                  <a:lnTo>
                    <a:pt x="159" y="0"/>
                  </a:lnTo>
                  <a:lnTo>
                    <a:pt x="159" y="5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7" name="Freeform: Shape 282"/>
            <p:cNvSpPr/>
            <p:nvPr/>
          </p:nvSpPr>
          <p:spPr>
            <a:xfrm>
              <a:off x="-2922479" y="4545720"/>
              <a:ext cx="129240" cy="151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0" h="421" fill="none">
                  <a:moveTo>
                    <a:pt x="0" y="421"/>
                  </a:moveTo>
                  <a:lnTo>
                    <a:pt x="0" y="0"/>
                  </a:lnTo>
                  <a:lnTo>
                    <a:pt x="360" y="0"/>
                  </a:lnTo>
                  <a:lnTo>
                    <a:pt x="360" y="42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8" name="Freeform: Shape 283"/>
            <p:cNvSpPr/>
            <p:nvPr/>
          </p:nvSpPr>
          <p:spPr>
            <a:xfrm>
              <a:off x="-3839400" y="4632120"/>
              <a:ext cx="39960" cy="57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" h="162">
                  <a:moveTo>
                    <a:pt x="56" y="162"/>
                  </a:moveTo>
                  <a:lnTo>
                    <a:pt x="0" y="162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16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9" name="Freeform: Shape 284"/>
            <p:cNvSpPr/>
            <p:nvPr/>
          </p:nvSpPr>
          <p:spPr>
            <a:xfrm>
              <a:off x="-3866039" y="4824360"/>
              <a:ext cx="69840" cy="23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95" h="65">
                  <a:moveTo>
                    <a:pt x="98" y="65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195" y="0"/>
                  </a:lnTo>
                  <a:lnTo>
                    <a:pt x="195" y="6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0" name="Freeform: Shape 285"/>
            <p:cNvSpPr/>
            <p:nvPr/>
          </p:nvSpPr>
          <p:spPr>
            <a:xfrm>
              <a:off x="-1710720" y="4671000"/>
              <a:ext cx="32400" cy="59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1" h="166">
                  <a:moveTo>
                    <a:pt x="46" y="166"/>
                  </a:moveTo>
                  <a:lnTo>
                    <a:pt x="0" y="166"/>
                  </a:lnTo>
                  <a:lnTo>
                    <a:pt x="0" y="0"/>
                  </a:lnTo>
                  <a:lnTo>
                    <a:pt x="91" y="0"/>
                  </a:lnTo>
                  <a:lnTo>
                    <a:pt x="91" y="16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1" name="Freeform: Shape 286"/>
            <p:cNvSpPr/>
            <p:nvPr/>
          </p:nvSpPr>
          <p:spPr>
            <a:xfrm>
              <a:off x="-1661759" y="4772520"/>
              <a:ext cx="56160" cy="21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7" h="60">
                  <a:moveTo>
                    <a:pt x="79" y="60"/>
                  </a:moveTo>
                  <a:lnTo>
                    <a:pt x="0" y="60"/>
                  </a:lnTo>
                  <a:lnTo>
                    <a:pt x="0" y="0"/>
                  </a:lnTo>
                  <a:lnTo>
                    <a:pt x="157" y="0"/>
                  </a:lnTo>
                  <a:lnTo>
                    <a:pt x="157" y="6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2" name="Freeform: Shape 287"/>
            <p:cNvSpPr/>
            <p:nvPr/>
          </p:nvSpPr>
          <p:spPr>
            <a:xfrm>
              <a:off x="-1556279" y="4707360"/>
              <a:ext cx="15120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1" h="132">
                  <a:moveTo>
                    <a:pt x="211" y="132"/>
                  </a:moveTo>
                  <a:lnTo>
                    <a:pt x="0" y="132"/>
                  </a:lnTo>
                  <a:lnTo>
                    <a:pt x="0" y="0"/>
                  </a:lnTo>
                  <a:lnTo>
                    <a:pt x="421" y="0"/>
                  </a:lnTo>
                  <a:lnTo>
                    <a:pt x="421" y="13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3" name="Straight Connector 292"/>
            <p:cNvSpPr/>
            <p:nvPr/>
          </p:nvSpPr>
          <p:spPr>
            <a:xfrm>
              <a:off x="-3120120" y="4336200"/>
              <a:ext cx="47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4" name="Straight Connector 293"/>
            <p:cNvSpPr/>
            <p:nvPr/>
          </p:nvSpPr>
          <p:spPr>
            <a:xfrm>
              <a:off x="-3120120" y="4360680"/>
              <a:ext cx="47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5" name="Straight Connector 294"/>
            <p:cNvSpPr/>
            <p:nvPr/>
          </p:nvSpPr>
          <p:spPr>
            <a:xfrm>
              <a:off x="-3120120" y="4385520"/>
              <a:ext cx="47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6" name="Straight Connector 295"/>
            <p:cNvSpPr/>
            <p:nvPr/>
          </p:nvSpPr>
          <p:spPr>
            <a:xfrm>
              <a:off x="-3106079" y="4290480"/>
              <a:ext cx="0" cy="27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7" name="Straight Connector 296"/>
            <p:cNvSpPr/>
            <p:nvPr/>
          </p:nvSpPr>
          <p:spPr>
            <a:xfrm>
              <a:off x="-2738519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8" name="Straight Connector 297"/>
            <p:cNvSpPr/>
            <p:nvPr/>
          </p:nvSpPr>
          <p:spPr>
            <a:xfrm>
              <a:off x="-271764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9" name="Straight Connector 298"/>
            <p:cNvSpPr/>
            <p:nvPr/>
          </p:nvSpPr>
          <p:spPr>
            <a:xfrm>
              <a:off x="-269676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0" name="Straight Connector 299"/>
            <p:cNvSpPr/>
            <p:nvPr/>
          </p:nvSpPr>
          <p:spPr>
            <a:xfrm>
              <a:off x="-267588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1" name="Straight Connector 300"/>
            <p:cNvSpPr/>
            <p:nvPr/>
          </p:nvSpPr>
          <p:spPr>
            <a:xfrm>
              <a:off x="-265500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2" name="Straight Connector 301"/>
            <p:cNvSpPr/>
            <p:nvPr/>
          </p:nvSpPr>
          <p:spPr>
            <a:xfrm>
              <a:off x="-2634119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3" name="Straight Connector 302"/>
            <p:cNvSpPr/>
            <p:nvPr/>
          </p:nvSpPr>
          <p:spPr>
            <a:xfrm>
              <a:off x="-261288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4" name="Straight Connector 303"/>
            <p:cNvSpPr/>
            <p:nvPr/>
          </p:nvSpPr>
          <p:spPr>
            <a:xfrm>
              <a:off x="-259236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5" name="Straight Connector 304"/>
            <p:cNvSpPr/>
            <p:nvPr/>
          </p:nvSpPr>
          <p:spPr>
            <a:xfrm>
              <a:off x="-1901520" y="4359240"/>
              <a:ext cx="0" cy="460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6" name="Straight Connector 305"/>
            <p:cNvSpPr/>
            <p:nvPr/>
          </p:nvSpPr>
          <p:spPr>
            <a:xfrm>
              <a:off x="-1745640" y="4359240"/>
              <a:ext cx="0" cy="460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7" name="Freeform: Shape 302"/>
            <p:cNvSpPr/>
            <p:nvPr/>
          </p:nvSpPr>
          <p:spPr>
            <a:xfrm>
              <a:off x="-2757960" y="4209840"/>
              <a:ext cx="182520" cy="500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08" h="1390" fill="none">
                  <a:moveTo>
                    <a:pt x="0" y="1390"/>
                  </a:moveTo>
                  <a:lnTo>
                    <a:pt x="0" y="0"/>
                  </a:lnTo>
                  <a:lnTo>
                    <a:pt x="508" y="0"/>
                  </a:lnTo>
                  <a:lnTo>
                    <a:pt x="508" y="138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8" name="Straight Connector 307"/>
            <p:cNvSpPr/>
            <p:nvPr/>
          </p:nvSpPr>
          <p:spPr>
            <a:xfrm>
              <a:off x="-2769480" y="4182479"/>
              <a:ext cx="2084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9" name="Straight Connector 308"/>
            <p:cNvSpPr/>
            <p:nvPr/>
          </p:nvSpPr>
          <p:spPr>
            <a:xfrm>
              <a:off x="-2526480" y="4595040"/>
              <a:ext cx="0" cy="514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0" name="Straight Connector 309"/>
            <p:cNvSpPr/>
            <p:nvPr/>
          </p:nvSpPr>
          <p:spPr>
            <a:xfrm>
              <a:off x="-2555640" y="4651560"/>
              <a:ext cx="58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1" name="Straight Connector 310"/>
            <p:cNvSpPr/>
            <p:nvPr/>
          </p:nvSpPr>
          <p:spPr>
            <a:xfrm>
              <a:off x="-2212560" y="4663800"/>
              <a:ext cx="1022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2" name="Straight Connector 311"/>
            <p:cNvSpPr/>
            <p:nvPr/>
          </p:nvSpPr>
          <p:spPr>
            <a:xfrm>
              <a:off x="-2124720" y="4632120"/>
              <a:ext cx="0" cy="291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3" name="Straight Connector 312"/>
            <p:cNvSpPr/>
            <p:nvPr/>
          </p:nvSpPr>
          <p:spPr>
            <a:xfrm>
              <a:off x="-2022840" y="4656600"/>
              <a:ext cx="1094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4" name="Straight Connector 313"/>
            <p:cNvSpPr/>
            <p:nvPr/>
          </p:nvSpPr>
          <p:spPr>
            <a:xfrm>
              <a:off x="-1966680" y="4598640"/>
              <a:ext cx="0" cy="424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5" name="Straight Connector 314"/>
            <p:cNvSpPr/>
            <p:nvPr/>
          </p:nvSpPr>
          <p:spPr>
            <a:xfrm>
              <a:off x="-1980360" y="4830480"/>
              <a:ext cx="0" cy="80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6" name="Straight Connector 315"/>
            <p:cNvSpPr/>
            <p:nvPr/>
          </p:nvSpPr>
          <p:spPr>
            <a:xfrm>
              <a:off x="-1877760" y="4881960"/>
              <a:ext cx="175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7" name="Straight Connector 316"/>
            <p:cNvSpPr/>
            <p:nvPr/>
          </p:nvSpPr>
          <p:spPr>
            <a:xfrm>
              <a:off x="-1885680" y="4794120"/>
              <a:ext cx="124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8" name="Straight Connector 317"/>
            <p:cNvSpPr/>
            <p:nvPr/>
          </p:nvSpPr>
          <p:spPr>
            <a:xfrm>
              <a:off x="-1885680" y="4643640"/>
              <a:ext cx="124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9" name="Straight Connector 318"/>
            <p:cNvSpPr/>
            <p:nvPr/>
          </p:nvSpPr>
          <p:spPr>
            <a:xfrm>
              <a:off x="-1885680" y="4496760"/>
              <a:ext cx="124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0" name="Straight Connector 319"/>
            <p:cNvSpPr/>
            <p:nvPr/>
          </p:nvSpPr>
          <p:spPr>
            <a:xfrm>
              <a:off x="-1866599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1" name="Straight Connector 320"/>
            <p:cNvSpPr/>
            <p:nvPr/>
          </p:nvSpPr>
          <p:spPr>
            <a:xfrm>
              <a:off x="-1837799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2" name="Straight Connector 321"/>
            <p:cNvSpPr/>
            <p:nvPr/>
          </p:nvSpPr>
          <p:spPr>
            <a:xfrm>
              <a:off x="-1808999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3" name="Straight Connector 322"/>
            <p:cNvSpPr/>
            <p:nvPr/>
          </p:nvSpPr>
          <p:spPr>
            <a:xfrm>
              <a:off x="-1780560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4" name="Straight Connector 323"/>
            <p:cNvSpPr/>
            <p:nvPr/>
          </p:nvSpPr>
          <p:spPr>
            <a:xfrm>
              <a:off x="-1866599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5" name="Straight Connector 324"/>
            <p:cNvSpPr/>
            <p:nvPr/>
          </p:nvSpPr>
          <p:spPr>
            <a:xfrm>
              <a:off x="-1837799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6" name="Straight Connector 325"/>
            <p:cNvSpPr/>
            <p:nvPr/>
          </p:nvSpPr>
          <p:spPr>
            <a:xfrm>
              <a:off x="-1808999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7" name="Straight Connector 326"/>
            <p:cNvSpPr/>
            <p:nvPr/>
          </p:nvSpPr>
          <p:spPr>
            <a:xfrm>
              <a:off x="-1780560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8" name="Straight Connector 327"/>
            <p:cNvSpPr/>
            <p:nvPr/>
          </p:nvSpPr>
          <p:spPr>
            <a:xfrm>
              <a:off x="-1866599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9" name="Straight Connector 328"/>
            <p:cNvSpPr/>
            <p:nvPr/>
          </p:nvSpPr>
          <p:spPr>
            <a:xfrm>
              <a:off x="-1837799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0" name="Straight Connector 329"/>
            <p:cNvSpPr/>
            <p:nvPr/>
          </p:nvSpPr>
          <p:spPr>
            <a:xfrm>
              <a:off x="-1808999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1" name="Straight Connector 330"/>
            <p:cNvSpPr/>
            <p:nvPr/>
          </p:nvSpPr>
          <p:spPr>
            <a:xfrm>
              <a:off x="-1780560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2" name="Freeform: Shape 327"/>
            <p:cNvSpPr/>
            <p:nvPr/>
          </p:nvSpPr>
          <p:spPr>
            <a:xfrm>
              <a:off x="-1891800" y="4267800"/>
              <a:ext cx="136080" cy="78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79" h="218">
                  <a:moveTo>
                    <a:pt x="0" y="218"/>
                  </a:moveTo>
                  <a:lnTo>
                    <a:pt x="379" y="218"/>
                  </a:lnTo>
                  <a:lnTo>
                    <a:pt x="309" y="0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3" name="Freeform: Shape 328"/>
            <p:cNvSpPr/>
            <p:nvPr/>
          </p:nvSpPr>
          <p:spPr>
            <a:xfrm>
              <a:off x="-3009240" y="4879440"/>
              <a:ext cx="981000" cy="39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26" h="111" fill="none">
                  <a:moveTo>
                    <a:pt x="0" y="90"/>
                  </a:moveTo>
                  <a:lnTo>
                    <a:pt x="190" y="0"/>
                  </a:lnTo>
                  <a:lnTo>
                    <a:pt x="782" y="0"/>
                  </a:lnTo>
                  <a:lnTo>
                    <a:pt x="782" y="111"/>
                  </a:lnTo>
                  <a:lnTo>
                    <a:pt x="2726" y="11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4" name="Freeform: Shape 329"/>
            <p:cNvSpPr/>
            <p:nvPr/>
          </p:nvSpPr>
          <p:spPr>
            <a:xfrm>
              <a:off x="-2525400" y="4731480"/>
              <a:ext cx="414720" cy="110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53" h="307" fill="none">
                  <a:moveTo>
                    <a:pt x="0" y="307"/>
                  </a:moveTo>
                  <a:lnTo>
                    <a:pt x="658" y="307"/>
                  </a:lnTo>
                  <a:lnTo>
                    <a:pt x="658" y="88"/>
                  </a:lnTo>
                  <a:lnTo>
                    <a:pt x="973" y="88"/>
                  </a:lnTo>
                  <a:lnTo>
                    <a:pt x="973" y="0"/>
                  </a:lnTo>
                  <a:lnTo>
                    <a:pt x="1153" y="0"/>
                  </a:lnTo>
                  <a:lnTo>
                    <a:pt x="1153" y="236"/>
                  </a:lnTo>
                  <a:lnTo>
                    <a:pt x="936" y="23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5" name="Freeform: Shape 330"/>
            <p:cNvSpPr/>
            <p:nvPr/>
          </p:nvSpPr>
          <p:spPr>
            <a:xfrm>
              <a:off x="-2084040" y="4683240"/>
              <a:ext cx="55800" cy="38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6" h="107" fill="none">
                  <a:moveTo>
                    <a:pt x="0" y="95"/>
                  </a:moveTo>
                  <a:lnTo>
                    <a:pt x="0" y="0"/>
                  </a:lnTo>
                  <a:lnTo>
                    <a:pt x="156" y="0"/>
                  </a:lnTo>
                  <a:lnTo>
                    <a:pt x="156" y="10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6" name="Freeform: Shape 331"/>
            <p:cNvSpPr/>
            <p:nvPr/>
          </p:nvSpPr>
          <p:spPr>
            <a:xfrm>
              <a:off x="-2032560" y="4742280"/>
              <a:ext cx="95760" cy="39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7" h="110" fill="none">
                  <a:moveTo>
                    <a:pt x="267" y="0"/>
                  </a:moveTo>
                  <a:lnTo>
                    <a:pt x="0" y="0"/>
                  </a:lnTo>
                  <a:lnTo>
                    <a:pt x="0" y="110"/>
                  </a:lnTo>
                  <a:lnTo>
                    <a:pt x="267" y="11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7" name="Freeform: Shape 332"/>
            <p:cNvSpPr/>
            <p:nvPr/>
          </p:nvSpPr>
          <p:spPr>
            <a:xfrm>
              <a:off x="-1643039" y="4342320"/>
              <a:ext cx="252000" cy="36899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1" h="1026">
                  <a:moveTo>
                    <a:pt x="0" y="1026"/>
                  </a:moveTo>
                  <a:lnTo>
                    <a:pt x="0" y="93"/>
                  </a:lnTo>
                  <a:cubicBezTo>
                    <a:pt x="0" y="93"/>
                    <a:pt x="-13" y="0"/>
                    <a:pt x="340" y="0"/>
                  </a:cubicBezTo>
                  <a:cubicBezTo>
                    <a:pt x="718" y="0"/>
                    <a:pt x="701" y="98"/>
                    <a:pt x="701" y="98"/>
                  </a:cubicBezTo>
                  <a:lnTo>
                    <a:pt x="701" y="1003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8" name="Straight Connector 337"/>
            <p:cNvSpPr/>
            <p:nvPr/>
          </p:nvSpPr>
          <p:spPr>
            <a:xfrm>
              <a:off x="-1589040" y="4842720"/>
              <a:ext cx="806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9" name="Straight Connector 338"/>
            <p:cNvSpPr/>
            <p:nvPr/>
          </p:nvSpPr>
          <p:spPr>
            <a:xfrm>
              <a:off x="-1377000" y="4817160"/>
              <a:ext cx="3128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0" name="Straight Connector 339"/>
            <p:cNvSpPr/>
            <p:nvPr/>
          </p:nvSpPr>
          <p:spPr>
            <a:xfrm>
              <a:off x="-1046520" y="4794120"/>
              <a:ext cx="0" cy="1094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1" name="Freeform: Shape 336"/>
            <p:cNvSpPr/>
            <p:nvPr/>
          </p:nvSpPr>
          <p:spPr>
            <a:xfrm>
              <a:off x="-1307519" y="4671000"/>
              <a:ext cx="417240" cy="1713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60" h="477" fill="none">
                  <a:moveTo>
                    <a:pt x="840" y="282"/>
                  </a:moveTo>
                  <a:lnTo>
                    <a:pt x="840" y="477"/>
                  </a:lnTo>
                  <a:lnTo>
                    <a:pt x="1160" y="477"/>
                  </a:lnTo>
                  <a:lnTo>
                    <a:pt x="1160" y="312"/>
                  </a:lnTo>
                  <a:lnTo>
                    <a:pt x="1020" y="312"/>
                  </a:lnTo>
                  <a:lnTo>
                    <a:pt x="1020" y="176"/>
                  </a:lnTo>
                  <a:lnTo>
                    <a:pt x="288" y="176"/>
                  </a:lnTo>
                  <a:lnTo>
                    <a:pt x="288" y="0"/>
                  </a:lnTo>
                  <a:lnTo>
                    <a:pt x="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2" name="Straight Connector 341"/>
            <p:cNvSpPr/>
            <p:nvPr/>
          </p:nvSpPr>
          <p:spPr>
            <a:xfrm>
              <a:off x="-1122120" y="4694040"/>
              <a:ext cx="0" cy="377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3" name="Straight Connector 342"/>
            <p:cNvSpPr/>
            <p:nvPr/>
          </p:nvSpPr>
          <p:spPr>
            <a:xfrm>
              <a:off x="-1715400" y="4609800"/>
              <a:ext cx="0" cy="262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4" name="Freeform: Shape 339"/>
            <p:cNvSpPr/>
            <p:nvPr/>
          </p:nvSpPr>
          <p:spPr>
            <a:xfrm>
              <a:off x="-1364760" y="4393800"/>
              <a:ext cx="32760" cy="337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" h="939">
                  <a:moveTo>
                    <a:pt x="46" y="939"/>
                  </a:moveTo>
                  <a:lnTo>
                    <a:pt x="0" y="939"/>
                  </a:lnTo>
                  <a:lnTo>
                    <a:pt x="0" y="0"/>
                  </a:lnTo>
                  <a:lnTo>
                    <a:pt x="92" y="0"/>
                  </a:lnTo>
                  <a:lnTo>
                    <a:pt x="92" y="93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5" name="Straight Connector 344"/>
            <p:cNvSpPr/>
            <p:nvPr/>
          </p:nvSpPr>
          <p:spPr>
            <a:xfrm>
              <a:off x="-3700440" y="4998600"/>
              <a:ext cx="0" cy="72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6" name="Straight Connector 345"/>
            <p:cNvSpPr/>
            <p:nvPr/>
          </p:nvSpPr>
          <p:spPr>
            <a:xfrm>
              <a:off x="-2594520" y="5011200"/>
              <a:ext cx="0" cy="64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7" name="Freeform: Shape 342"/>
            <p:cNvSpPr/>
            <p:nvPr/>
          </p:nvSpPr>
          <p:spPr>
            <a:xfrm>
              <a:off x="-4553279" y="4837680"/>
              <a:ext cx="3673080" cy="111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04" h="311">
                  <a:moveTo>
                    <a:pt x="10204" y="309"/>
                  </a:moveTo>
                  <a:lnTo>
                    <a:pt x="3216" y="309"/>
                  </a:lnTo>
                  <a:cubicBezTo>
                    <a:pt x="3216" y="309"/>
                    <a:pt x="0" y="336"/>
                    <a:pt x="0" y="129"/>
                  </a:cubicBezTo>
                  <a:cubicBezTo>
                    <a:pt x="0" y="-37"/>
                    <a:pt x="1652" y="4"/>
                    <a:pt x="1652" y="4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8" name="Freeform: Shape 343"/>
            <p:cNvSpPr/>
            <p:nvPr/>
          </p:nvSpPr>
          <p:spPr>
            <a:xfrm>
              <a:off x="-4382640" y="4862160"/>
              <a:ext cx="478440" cy="30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30" h="87" fill="none">
                  <a:moveTo>
                    <a:pt x="0" y="87"/>
                  </a:moveTo>
                  <a:lnTo>
                    <a:pt x="248" y="0"/>
                  </a:lnTo>
                  <a:lnTo>
                    <a:pt x="133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9" name="Straight Connector 348"/>
            <p:cNvSpPr/>
            <p:nvPr/>
          </p:nvSpPr>
          <p:spPr>
            <a:xfrm>
              <a:off x="-4212720" y="4979160"/>
              <a:ext cx="3232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0" name="Straight Connector 349"/>
            <p:cNvSpPr/>
            <p:nvPr/>
          </p:nvSpPr>
          <p:spPr>
            <a:xfrm>
              <a:off x="-4090320" y="5024520"/>
              <a:ext cx="103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1" name="Straight Connector 350"/>
            <p:cNvSpPr/>
            <p:nvPr/>
          </p:nvSpPr>
          <p:spPr>
            <a:xfrm>
              <a:off x="-3622320" y="4978080"/>
              <a:ext cx="148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2" name="Straight Connector 351"/>
            <p:cNvSpPr/>
            <p:nvPr/>
          </p:nvSpPr>
          <p:spPr>
            <a:xfrm>
              <a:off x="-2055960" y="4992840"/>
              <a:ext cx="295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3" name="Straight Connector 352"/>
            <p:cNvSpPr/>
            <p:nvPr/>
          </p:nvSpPr>
          <p:spPr>
            <a:xfrm>
              <a:off x="-1899720" y="5032800"/>
              <a:ext cx="149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4" name="Straight Connector 353"/>
            <p:cNvSpPr/>
            <p:nvPr/>
          </p:nvSpPr>
          <p:spPr>
            <a:xfrm>
              <a:off x="-1457280" y="4979160"/>
              <a:ext cx="5522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5" name="Straight Connector 354"/>
            <p:cNvSpPr/>
            <p:nvPr/>
          </p:nvSpPr>
          <p:spPr>
            <a:xfrm>
              <a:off x="-3120120" y="4881960"/>
              <a:ext cx="500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6" name="Freeform: Shape 351"/>
            <p:cNvSpPr/>
            <p:nvPr/>
          </p:nvSpPr>
          <p:spPr>
            <a:xfrm>
              <a:off x="-2479320" y="4246200"/>
              <a:ext cx="265680" cy="587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39" h="1634" fill="none">
                  <a:moveTo>
                    <a:pt x="0" y="1634"/>
                  </a:moveTo>
                  <a:lnTo>
                    <a:pt x="0" y="0"/>
                  </a:lnTo>
                  <a:lnTo>
                    <a:pt x="739" y="0"/>
                  </a:lnTo>
                  <a:lnTo>
                    <a:pt x="739" y="136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7" name="Straight Connector 356"/>
            <p:cNvSpPr/>
            <p:nvPr/>
          </p:nvSpPr>
          <p:spPr>
            <a:xfrm>
              <a:off x="-2479320" y="43326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8" name="Straight Connector 357"/>
            <p:cNvSpPr/>
            <p:nvPr/>
          </p:nvSpPr>
          <p:spPr>
            <a:xfrm>
              <a:off x="-2479320" y="437256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9" name="Straight Connector 358"/>
            <p:cNvSpPr/>
            <p:nvPr/>
          </p:nvSpPr>
          <p:spPr>
            <a:xfrm>
              <a:off x="-2479320" y="4402799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0" name="Straight Connector 359"/>
            <p:cNvSpPr/>
            <p:nvPr/>
          </p:nvSpPr>
          <p:spPr>
            <a:xfrm>
              <a:off x="-2479320" y="443304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1" name="Straight Connector 360"/>
            <p:cNvSpPr/>
            <p:nvPr/>
          </p:nvSpPr>
          <p:spPr>
            <a:xfrm>
              <a:off x="-2479320" y="446292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2" name="Straight Connector 361"/>
            <p:cNvSpPr/>
            <p:nvPr/>
          </p:nvSpPr>
          <p:spPr>
            <a:xfrm>
              <a:off x="-2479320" y="44928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3" name="Straight Connector 362"/>
            <p:cNvSpPr/>
            <p:nvPr/>
          </p:nvSpPr>
          <p:spPr>
            <a:xfrm>
              <a:off x="-2479320" y="452304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4" name="Straight Connector 363"/>
            <p:cNvSpPr/>
            <p:nvPr/>
          </p:nvSpPr>
          <p:spPr>
            <a:xfrm>
              <a:off x="-2479320" y="4553279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5" name="Straight Connector 364"/>
            <p:cNvSpPr/>
            <p:nvPr/>
          </p:nvSpPr>
          <p:spPr>
            <a:xfrm>
              <a:off x="-2479320" y="4583159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6" name="Straight Connector 365"/>
            <p:cNvSpPr/>
            <p:nvPr/>
          </p:nvSpPr>
          <p:spPr>
            <a:xfrm>
              <a:off x="-2479320" y="46134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7" name="Straight Connector 366"/>
            <p:cNvSpPr/>
            <p:nvPr/>
          </p:nvSpPr>
          <p:spPr>
            <a:xfrm>
              <a:off x="-2479320" y="464328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8" name="Straight Connector 367"/>
            <p:cNvSpPr/>
            <p:nvPr/>
          </p:nvSpPr>
          <p:spPr>
            <a:xfrm>
              <a:off x="-2479320" y="467352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9" name="Straight Connector 368"/>
            <p:cNvSpPr/>
            <p:nvPr/>
          </p:nvSpPr>
          <p:spPr>
            <a:xfrm>
              <a:off x="-2479320" y="470376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0" name="Straight Connector 369"/>
            <p:cNvSpPr/>
            <p:nvPr/>
          </p:nvSpPr>
          <p:spPr>
            <a:xfrm>
              <a:off x="-2479320" y="47340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1" name="Straight Connector 370"/>
            <p:cNvSpPr/>
            <p:nvPr/>
          </p:nvSpPr>
          <p:spPr>
            <a:xfrm>
              <a:off x="-2479320" y="476028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2" name="Straight Connector 371"/>
            <p:cNvSpPr/>
            <p:nvPr/>
          </p:nvSpPr>
          <p:spPr>
            <a:xfrm>
              <a:off x="-2479320" y="479052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3" name="Straight Connector 372"/>
            <p:cNvSpPr/>
            <p:nvPr/>
          </p:nvSpPr>
          <p:spPr>
            <a:xfrm>
              <a:off x="-2479320" y="482076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4" name="Freeform: Shape 369"/>
            <p:cNvSpPr/>
            <p:nvPr/>
          </p:nvSpPr>
          <p:spPr>
            <a:xfrm>
              <a:off x="-2432880" y="4208760"/>
              <a:ext cx="76680" cy="76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4" h="214">
                  <a:moveTo>
                    <a:pt x="214" y="107"/>
                  </a:moveTo>
                  <a:cubicBezTo>
                    <a:pt x="214" y="126"/>
                    <a:pt x="209" y="143"/>
                    <a:pt x="199" y="160"/>
                  </a:cubicBezTo>
                  <a:cubicBezTo>
                    <a:pt x="189" y="177"/>
                    <a:pt x="177" y="189"/>
                    <a:pt x="160" y="199"/>
                  </a:cubicBezTo>
                  <a:cubicBezTo>
                    <a:pt x="143" y="208"/>
                    <a:pt x="126" y="214"/>
                    <a:pt x="107" y="214"/>
                  </a:cubicBezTo>
                  <a:cubicBezTo>
                    <a:pt x="87" y="214"/>
                    <a:pt x="70" y="208"/>
                    <a:pt x="53" y="199"/>
                  </a:cubicBezTo>
                  <a:cubicBezTo>
                    <a:pt x="36" y="189"/>
                    <a:pt x="24" y="177"/>
                    <a:pt x="14" y="160"/>
                  </a:cubicBezTo>
                  <a:cubicBezTo>
                    <a:pt x="4" y="143"/>
                    <a:pt x="0" y="126"/>
                    <a:pt x="0" y="107"/>
                  </a:cubicBezTo>
                  <a:cubicBezTo>
                    <a:pt x="0" y="87"/>
                    <a:pt x="4" y="70"/>
                    <a:pt x="14" y="53"/>
                  </a:cubicBezTo>
                  <a:cubicBezTo>
                    <a:pt x="24" y="36"/>
                    <a:pt x="36" y="24"/>
                    <a:pt x="53" y="14"/>
                  </a:cubicBezTo>
                  <a:cubicBezTo>
                    <a:pt x="70" y="4"/>
                    <a:pt x="87" y="0"/>
                    <a:pt x="107" y="0"/>
                  </a:cubicBezTo>
                  <a:cubicBezTo>
                    <a:pt x="126" y="0"/>
                    <a:pt x="143" y="4"/>
                    <a:pt x="160" y="14"/>
                  </a:cubicBezTo>
                  <a:cubicBezTo>
                    <a:pt x="177" y="24"/>
                    <a:pt x="189" y="36"/>
                    <a:pt x="199" y="53"/>
                  </a:cubicBezTo>
                  <a:cubicBezTo>
                    <a:pt x="209" y="70"/>
                    <a:pt x="214" y="87"/>
                    <a:pt x="214" y="107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5" name="Straight Connector 374"/>
            <p:cNvSpPr/>
            <p:nvPr/>
          </p:nvSpPr>
          <p:spPr>
            <a:xfrm>
              <a:off x="-2336400" y="4272480"/>
              <a:ext cx="73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6" name="Straight Connector 375"/>
            <p:cNvSpPr/>
            <p:nvPr/>
          </p:nvSpPr>
          <p:spPr>
            <a:xfrm>
              <a:off x="-373716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7" name="Straight Connector 376"/>
            <p:cNvSpPr/>
            <p:nvPr/>
          </p:nvSpPr>
          <p:spPr>
            <a:xfrm>
              <a:off x="-373716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8" name="Straight Connector 377"/>
            <p:cNvSpPr/>
            <p:nvPr/>
          </p:nvSpPr>
          <p:spPr>
            <a:xfrm>
              <a:off x="-373716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9" name="Straight Connector 378"/>
            <p:cNvSpPr/>
            <p:nvPr/>
          </p:nvSpPr>
          <p:spPr>
            <a:xfrm>
              <a:off x="-373716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0" name="Straight Connector 379"/>
            <p:cNvSpPr/>
            <p:nvPr/>
          </p:nvSpPr>
          <p:spPr>
            <a:xfrm>
              <a:off x="-373716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1" name="Straight Connector 380"/>
            <p:cNvSpPr/>
            <p:nvPr/>
          </p:nvSpPr>
          <p:spPr>
            <a:xfrm>
              <a:off x="-373716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2" name="Straight Connector 381"/>
            <p:cNvSpPr/>
            <p:nvPr/>
          </p:nvSpPr>
          <p:spPr>
            <a:xfrm>
              <a:off x="-373716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3" name="Straight Connector 382"/>
            <p:cNvSpPr/>
            <p:nvPr/>
          </p:nvSpPr>
          <p:spPr>
            <a:xfrm>
              <a:off x="-373716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4" name="Straight Connector 383"/>
            <p:cNvSpPr/>
            <p:nvPr/>
          </p:nvSpPr>
          <p:spPr>
            <a:xfrm>
              <a:off x="-373716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5" name="Straight Connector 384"/>
            <p:cNvSpPr/>
            <p:nvPr/>
          </p:nvSpPr>
          <p:spPr>
            <a:xfrm>
              <a:off x="-373716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6" name="Straight Connector 385"/>
            <p:cNvSpPr/>
            <p:nvPr/>
          </p:nvSpPr>
          <p:spPr>
            <a:xfrm>
              <a:off x="-373716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7" name="Straight Connector 386"/>
            <p:cNvSpPr/>
            <p:nvPr/>
          </p:nvSpPr>
          <p:spPr>
            <a:xfrm>
              <a:off x="-373716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8" name="Straight Connector 387"/>
            <p:cNvSpPr/>
            <p:nvPr/>
          </p:nvSpPr>
          <p:spPr>
            <a:xfrm>
              <a:off x="-373716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9" name="Straight Connector 388"/>
            <p:cNvSpPr/>
            <p:nvPr/>
          </p:nvSpPr>
          <p:spPr>
            <a:xfrm>
              <a:off x="-373716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0" name="Straight Connector 389"/>
            <p:cNvSpPr/>
            <p:nvPr/>
          </p:nvSpPr>
          <p:spPr>
            <a:xfrm>
              <a:off x="-373716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1" name="Straight Connector 390"/>
            <p:cNvSpPr/>
            <p:nvPr/>
          </p:nvSpPr>
          <p:spPr>
            <a:xfrm>
              <a:off x="-373716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2" name="Straight Connector 391"/>
            <p:cNvSpPr/>
            <p:nvPr/>
          </p:nvSpPr>
          <p:spPr>
            <a:xfrm>
              <a:off x="-373716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3" name="Straight Connector 392"/>
            <p:cNvSpPr/>
            <p:nvPr/>
          </p:nvSpPr>
          <p:spPr>
            <a:xfrm>
              <a:off x="-37087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4" name="Straight Connector 393"/>
            <p:cNvSpPr/>
            <p:nvPr/>
          </p:nvSpPr>
          <p:spPr>
            <a:xfrm>
              <a:off x="-37087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5" name="Straight Connector 394"/>
            <p:cNvSpPr/>
            <p:nvPr/>
          </p:nvSpPr>
          <p:spPr>
            <a:xfrm>
              <a:off x="-37087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6" name="Straight Connector 395"/>
            <p:cNvSpPr/>
            <p:nvPr/>
          </p:nvSpPr>
          <p:spPr>
            <a:xfrm>
              <a:off x="-37087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7" name="Straight Connector 396"/>
            <p:cNvSpPr/>
            <p:nvPr/>
          </p:nvSpPr>
          <p:spPr>
            <a:xfrm>
              <a:off x="-37087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8" name="Straight Connector 397"/>
            <p:cNvSpPr/>
            <p:nvPr/>
          </p:nvSpPr>
          <p:spPr>
            <a:xfrm>
              <a:off x="-37087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9" name="Straight Connector 398"/>
            <p:cNvSpPr/>
            <p:nvPr/>
          </p:nvSpPr>
          <p:spPr>
            <a:xfrm>
              <a:off x="-37087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0" name="Straight Connector 399"/>
            <p:cNvSpPr/>
            <p:nvPr/>
          </p:nvSpPr>
          <p:spPr>
            <a:xfrm>
              <a:off x="-37087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1" name="Straight Connector 400"/>
            <p:cNvSpPr/>
            <p:nvPr/>
          </p:nvSpPr>
          <p:spPr>
            <a:xfrm>
              <a:off x="-37087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2" name="Straight Connector 401"/>
            <p:cNvSpPr/>
            <p:nvPr/>
          </p:nvSpPr>
          <p:spPr>
            <a:xfrm>
              <a:off x="-37087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3" name="Straight Connector 402"/>
            <p:cNvSpPr/>
            <p:nvPr/>
          </p:nvSpPr>
          <p:spPr>
            <a:xfrm>
              <a:off x="-37087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4" name="Straight Connector 403"/>
            <p:cNvSpPr/>
            <p:nvPr/>
          </p:nvSpPr>
          <p:spPr>
            <a:xfrm>
              <a:off x="-37087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5" name="Straight Connector 404"/>
            <p:cNvSpPr/>
            <p:nvPr/>
          </p:nvSpPr>
          <p:spPr>
            <a:xfrm>
              <a:off x="-37087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6" name="Straight Connector 405"/>
            <p:cNvSpPr/>
            <p:nvPr/>
          </p:nvSpPr>
          <p:spPr>
            <a:xfrm>
              <a:off x="-37087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7" name="Straight Connector 406"/>
            <p:cNvSpPr/>
            <p:nvPr/>
          </p:nvSpPr>
          <p:spPr>
            <a:xfrm>
              <a:off x="-37087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8" name="Straight Connector 407"/>
            <p:cNvSpPr/>
            <p:nvPr/>
          </p:nvSpPr>
          <p:spPr>
            <a:xfrm>
              <a:off x="-37087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9" name="Straight Connector 408"/>
            <p:cNvSpPr/>
            <p:nvPr/>
          </p:nvSpPr>
          <p:spPr>
            <a:xfrm>
              <a:off x="-37087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0" name="Straight Connector 409"/>
            <p:cNvSpPr/>
            <p:nvPr/>
          </p:nvSpPr>
          <p:spPr>
            <a:xfrm>
              <a:off x="-36799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1" name="Straight Connector 410"/>
            <p:cNvSpPr/>
            <p:nvPr/>
          </p:nvSpPr>
          <p:spPr>
            <a:xfrm>
              <a:off x="-36799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2" name="Straight Connector 411"/>
            <p:cNvSpPr/>
            <p:nvPr/>
          </p:nvSpPr>
          <p:spPr>
            <a:xfrm>
              <a:off x="-36799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3" name="Straight Connector 412"/>
            <p:cNvSpPr/>
            <p:nvPr/>
          </p:nvSpPr>
          <p:spPr>
            <a:xfrm>
              <a:off x="-36799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4" name="Straight Connector 413"/>
            <p:cNvSpPr/>
            <p:nvPr/>
          </p:nvSpPr>
          <p:spPr>
            <a:xfrm>
              <a:off x="-36799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5" name="Straight Connector 414"/>
            <p:cNvSpPr/>
            <p:nvPr/>
          </p:nvSpPr>
          <p:spPr>
            <a:xfrm>
              <a:off x="-36799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6" name="Straight Connector 415"/>
            <p:cNvSpPr/>
            <p:nvPr/>
          </p:nvSpPr>
          <p:spPr>
            <a:xfrm>
              <a:off x="-36799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7" name="Straight Connector 416"/>
            <p:cNvSpPr/>
            <p:nvPr/>
          </p:nvSpPr>
          <p:spPr>
            <a:xfrm>
              <a:off x="-36799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8" name="Straight Connector 417"/>
            <p:cNvSpPr/>
            <p:nvPr/>
          </p:nvSpPr>
          <p:spPr>
            <a:xfrm>
              <a:off x="-36799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9" name="Straight Connector 418"/>
            <p:cNvSpPr/>
            <p:nvPr/>
          </p:nvSpPr>
          <p:spPr>
            <a:xfrm>
              <a:off x="-36799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0" name="Straight Connector 419"/>
            <p:cNvSpPr/>
            <p:nvPr/>
          </p:nvSpPr>
          <p:spPr>
            <a:xfrm>
              <a:off x="-36799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1" name="Straight Connector 420"/>
            <p:cNvSpPr/>
            <p:nvPr/>
          </p:nvSpPr>
          <p:spPr>
            <a:xfrm>
              <a:off x="-36799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2" name="Straight Connector 421"/>
            <p:cNvSpPr/>
            <p:nvPr/>
          </p:nvSpPr>
          <p:spPr>
            <a:xfrm>
              <a:off x="-36799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3" name="Straight Connector 422"/>
            <p:cNvSpPr/>
            <p:nvPr/>
          </p:nvSpPr>
          <p:spPr>
            <a:xfrm>
              <a:off x="-36799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4" name="Straight Connector 423"/>
            <p:cNvSpPr/>
            <p:nvPr/>
          </p:nvSpPr>
          <p:spPr>
            <a:xfrm>
              <a:off x="-36799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5" name="Straight Connector 424"/>
            <p:cNvSpPr/>
            <p:nvPr/>
          </p:nvSpPr>
          <p:spPr>
            <a:xfrm>
              <a:off x="-36799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6" name="Straight Connector 425"/>
            <p:cNvSpPr/>
            <p:nvPr/>
          </p:nvSpPr>
          <p:spPr>
            <a:xfrm>
              <a:off x="-36799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7" name="Straight Connector 426"/>
            <p:cNvSpPr/>
            <p:nvPr/>
          </p:nvSpPr>
          <p:spPr>
            <a:xfrm>
              <a:off x="-36511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8" name="Straight Connector 427"/>
            <p:cNvSpPr/>
            <p:nvPr/>
          </p:nvSpPr>
          <p:spPr>
            <a:xfrm>
              <a:off x="-36511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9" name="Straight Connector 428"/>
            <p:cNvSpPr/>
            <p:nvPr/>
          </p:nvSpPr>
          <p:spPr>
            <a:xfrm>
              <a:off x="-36511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0" name="Straight Connector 429"/>
            <p:cNvSpPr/>
            <p:nvPr/>
          </p:nvSpPr>
          <p:spPr>
            <a:xfrm>
              <a:off x="-36511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1" name="Straight Connector 430"/>
            <p:cNvSpPr/>
            <p:nvPr/>
          </p:nvSpPr>
          <p:spPr>
            <a:xfrm>
              <a:off x="-36511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2" name="Straight Connector 431"/>
            <p:cNvSpPr/>
            <p:nvPr/>
          </p:nvSpPr>
          <p:spPr>
            <a:xfrm>
              <a:off x="-36511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3" name="Straight Connector 432"/>
            <p:cNvSpPr/>
            <p:nvPr/>
          </p:nvSpPr>
          <p:spPr>
            <a:xfrm>
              <a:off x="-36511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4" name="Straight Connector 433"/>
            <p:cNvSpPr/>
            <p:nvPr/>
          </p:nvSpPr>
          <p:spPr>
            <a:xfrm>
              <a:off x="-36511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5" name="Straight Connector 434"/>
            <p:cNvSpPr/>
            <p:nvPr/>
          </p:nvSpPr>
          <p:spPr>
            <a:xfrm>
              <a:off x="-36511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6" name="Straight Connector 435"/>
            <p:cNvSpPr/>
            <p:nvPr/>
          </p:nvSpPr>
          <p:spPr>
            <a:xfrm>
              <a:off x="-36511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7" name="Straight Connector 436"/>
            <p:cNvSpPr/>
            <p:nvPr/>
          </p:nvSpPr>
          <p:spPr>
            <a:xfrm>
              <a:off x="-36511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8" name="Straight Connector 437"/>
            <p:cNvSpPr/>
            <p:nvPr/>
          </p:nvSpPr>
          <p:spPr>
            <a:xfrm>
              <a:off x="-36511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9" name="Straight Connector 438"/>
            <p:cNvSpPr/>
            <p:nvPr/>
          </p:nvSpPr>
          <p:spPr>
            <a:xfrm>
              <a:off x="-36511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0" name="Straight Connector 439"/>
            <p:cNvSpPr/>
            <p:nvPr/>
          </p:nvSpPr>
          <p:spPr>
            <a:xfrm>
              <a:off x="-36511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1" name="Straight Connector 440"/>
            <p:cNvSpPr/>
            <p:nvPr/>
          </p:nvSpPr>
          <p:spPr>
            <a:xfrm>
              <a:off x="-36511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2" name="Straight Connector 441"/>
            <p:cNvSpPr/>
            <p:nvPr/>
          </p:nvSpPr>
          <p:spPr>
            <a:xfrm>
              <a:off x="-36511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3" name="Straight Connector 442"/>
            <p:cNvSpPr/>
            <p:nvPr/>
          </p:nvSpPr>
          <p:spPr>
            <a:xfrm>
              <a:off x="-36511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4" name="Straight Connector 443"/>
            <p:cNvSpPr/>
            <p:nvPr/>
          </p:nvSpPr>
          <p:spPr>
            <a:xfrm>
              <a:off x="-36223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5" name="Straight Connector 444"/>
            <p:cNvSpPr/>
            <p:nvPr/>
          </p:nvSpPr>
          <p:spPr>
            <a:xfrm>
              <a:off x="-36223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6" name="Straight Connector 445"/>
            <p:cNvSpPr/>
            <p:nvPr/>
          </p:nvSpPr>
          <p:spPr>
            <a:xfrm>
              <a:off x="-36223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7" name="Straight Connector 446"/>
            <p:cNvSpPr/>
            <p:nvPr/>
          </p:nvSpPr>
          <p:spPr>
            <a:xfrm>
              <a:off x="-36223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8" name="Straight Connector 447"/>
            <p:cNvSpPr/>
            <p:nvPr/>
          </p:nvSpPr>
          <p:spPr>
            <a:xfrm>
              <a:off x="-36223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9" name="Straight Connector 448"/>
            <p:cNvSpPr/>
            <p:nvPr/>
          </p:nvSpPr>
          <p:spPr>
            <a:xfrm>
              <a:off x="-36223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0" name="Straight Connector 449"/>
            <p:cNvSpPr/>
            <p:nvPr/>
          </p:nvSpPr>
          <p:spPr>
            <a:xfrm>
              <a:off x="-36223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1" name="Straight Connector 450"/>
            <p:cNvSpPr/>
            <p:nvPr/>
          </p:nvSpPr>
          <p:spPr>
            <a:xfrm>
              <a:off x="-36223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2" name="Straight Connector 451"/>
            <p:cNvSpPr/>
            <p:nvPr/>
          </p:nvSpPr>
          <p:spPr>
            <a:xfrm>
              <a:off x="-36223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3" name="Straight Connector 452"/>
            <p:cNvSpPr/>
            <p:nvPr/>
          </p:nvSpPr>
          <p:spPr>
            <a:xfrm>
              <a:off x="-36223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4" name="Straight Connector 453"/>
            <p:cNvSpPr/>
            <p:nvPr/>
          </p:nvSpPr>
          <p:spPr>
            <a:xfrm>
              <a:off x="-36223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5" name="Straight Connector 454"/>
            <p:cNvSpPr/>
            <p:nvPr/>
          </p:nvSpPr>
          <p:spPr>
            <a:xfrm>
              <a:off x="-36223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6" name="Straight Connector 455"/>
            <p:cNvSpPr/>
            <p:nvPr/>
          </p:nvSpPr>
          <p:spPr>
            <a:xfrm>
              <a:off x="-36223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7" name="Straight Connector 456"/>
            <p:cNvSpPr/>
            <p:nvPr/>
          </p:nvSpPr>
          <p:spPr>
            <a:xfrm>
              <a:off x="-36223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8" name="Straight Connector 457"/>
            <p:cNvSpPr/>
            <p:nvPr/>
          </p:nvSpPr>
          <p:spPr>
            <a:xfrm>
              <a:off x="-36223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9" name="Straight Connector 458"/>
            <p:cNvSpPr/>
            <p:nvPr/>
          </p:nvSpPr>
          <p:spPr>
            <a:xfrm>
              <a:off x="-36223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0" name="Straight Connector 459"/>
            <p:cNvSpPr/>
            <p:nvPr/>
          </p:nvSpPr>
          <p:spPr>
            <a:xfrm>
              <a:off x="-36223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1" name="Straight Connector 460"/>
            <p:cNvSpPr/>
            <p:nvPr/>
          </p:nvSpPr>
          <p:spPr>
            <a:xfrm>
              <a:off x="-35935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2" name="Straight Connector 461"/>
            <p:cNvSpPr/>
            <p:nvPr/>
          </p:nvSpPr>
          <p:spPr>
            <a:xfrm>
              <a:off x="-35935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3" name="Straight Connector 462"/>
            <p:cNvSpPr/>
            <p:nvPr/>
          </p:nvSpPr>
          <p:spPr>
            <a:xfrm>
              <a:off x="-35935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4" name="Straight Connector 463"/>
            <p:cNvSpPr/>
            <p:nvPr/>
          </p:nvSpPr>
          <p:spPr>
            <a:xfrm>
              <a:off x="-35935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5" name="Straight Connector 464"/>
            <p:cNvSpPr/>
            <p:nvPr/>
          </p:nvSpPr>
          <p:spPr>
            <a:xfrm>
              <a:off x="-35935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6" name="Straight Connector 465"/>
            <p:cNvSpPr/>
            <p:nvPr/>
          </p:nvSpPr>
          <p:spPr>
            <a:xfrm>
              <a:off x="-35935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7" name="Straight Connector 466"/>
            <p:cNvSpPr/>
            <p:nvPr/>
          </p:nvSpPr>
          <p:spPr>
            <a:xfrm>
              <a:off x="-35935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8" name="Straight Connector 467"/>
            <p:cNvSpPr/>
            <p:nvPr/>
          </p:nvSpPr>
          <p:spPr>
            <a:xfrm>
              <a:off x="-35935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9" name="Straight Connector 468"/>
            <p:cNvSpPr/>
            <p:nvPr/>
          </p:nvSpPr>
          <p:spPr>
            <a:xfrm>
              <a:off x="-35935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0" name="Straight Connector 469"/>
            <p:cNvSpPr/>
            <p:nvPr/>
          </p:nvSpPr>
          <p:spPr>
            <a:xfrm>
              <a:off x="-35935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1" name="Straight Connector 470"/>
            <p:cNvSpPr/>
            <p:nvPr/>
          </p:nvSpPr>
          <p:spPr>
            <a:xfrm>
              <a:off x="-35935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2" name="Straight Connector 471"/>
            <p:cNvSpPr/>
            <p:nvPr/>
          </p:nvSpPr>
          <p:spPr>
            <a:xfrm>
              <a:off x="-35935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3" name="Straight Connector 472"/>
            <p:cNvSpPr/>
            <p:nvPr/>
          </p:nvSpPr>
          <p:spPr>
            <a:xfrm>
              <a:off x="-35935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4" name="Straight Connector 473"/>
            <p:cNvSpPr/>
            <p:nvPr/>
          </p:nvSpPr>
          <p:spPr>
            <a:xfrm>
              <a:off x="-35935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5" name="Straight Connector 474"/>
            <p:cNvSpPr/>
            <p:nvPr/>
          </p:nvSpPr>
          <p:spPr>
            <a:xfrm>
              <a:off x="-35935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6" name="Straight Connector 475"/>
            <p:cNvSpPr/>
            <p:nvPr/>
          </p:nvSpPr>
          <p:spPr>
            <a:xfrm>
              <a:off x="-35935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7" name="Straight Connector 476"/>
            <p:cNvSpPr/>
            <p:nvPr/>
          </p:nvSpPr>
          <p:spPr>
            <a:xfrm>
              <a:off x="-35935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8" name="Straight Connector 477"/>
            <p:cNvSpPr/>
            <p:nvPr/>
          </p:nvSpPr>
          <p:spPr>
            <a:xfrm>
              <a:off x="-347868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9" name="Straight Connector 478"/>
            <p:cNvSpPr/>
            <p:nvPr/>
          </p:nvSpPr>
          <p:spPr>
            <a:xfrm>
              <a:off x="-347868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0" name="Straight Connector 479"/>
            <p:cNvSpPr/>
            <p:nvPr/>
          </p:nvSpPr>
          <p:spPr>
            <a:xfrm>
              <a:off x="-347868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1" name="Straight Connector 480"/>
            <p:cNvSpPr/>
            <p:nvPr/>
          </p:nvSpPr>
          <p:spPr>
            <a:xfrm>
              <a:off x="-347868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2" name="Straight Connector 481"/>
            <p:cNvSpPr/>
            <p:nvPr/>
          </p:nvSpPr>
          <p:spPr>
            <a:xfrm>
              <a:off x="-347868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3" name="Straight Connector 482"/>
            <p:cNvSpPr/>
            <p:nvPr/>
          </p:nvSpPr>
          <p:spPr>
            <a:xfrm>
              <a:off x="-347868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4" name="Straight Connector 483"/>
            <p:cNvSpPr/>
            <p:nvPr/>
          </p:nvSpPr>
          <p:spPr>
            <a:xfrm>
              <a:off x="-347868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5" name="Straight Connector 484"/>
            <p:cNvSpPr/>
            <p:nvPr/>
          </p:nvSpPr>
          <p:spPr>
            <a:xfrm>
              <a:off x="-347868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6" name="Straight Connector 485"/>
            <p:cNvSpPr/>
            <p:nvPr/>
          </p:nvSpPr>
          <p:spPr>
            <a:xfrm>
              <a:off x="-347868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7" name="Straight Connector 486"/>
            <p:cNvSpPr/>
            <p:nvPr/>
          </p:nvSpPr>
          <p:spPr>
            <a:xfrm>
              <a:off x="-347868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8" name="Straight Connector 487"/>
            <p:cNvSpPr/>
            <p:nvPr/>
          </p:nvSpPr>
          <p:spPr>
            <a:xfrm>
              <a:off x="-347868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9" name="Straight Connector 488"/>
            <p:cNvSpPr/>
            <p:nvPr/>
          </p:nvSpPr>
          <p:spPr>
            <a:xfrm>
              <a:off x="-347868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0" name="Straight Connector 489"/>
            <p:cNvSpPr/>
            <p:nvPr/>
          </p:nvSpPr>
          <p:spPr>
            <a:xfrm>
              <a:off x="-347868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1" name="Straight Connector 490"/>
            <p:cNvSpPr/>
            <p:nvPr/>
          </p:nvSpPr>
          <p:spPr>
            <a:xfrm>
              <a:off x="-3507479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2" name="Straight Connector 491"/>
            <p:cNvSpPr/>
            <p:nvPr/>
          </p:nvSpPr>
          <p:spPr>
            <a:xfrm>
              <a:off x="-3507479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3" name="Straight Connector 492"/>
            <p:cNvSpPr/>
            <p:nvPr/>
          </p:nvSpPr>
          <p:spPr>
            <a:xfrm>
              <a:off x="-3507479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4" name="Straight Connector 493"/>
            <p:cNvSpPr/>
            <p:nvPr/>
          </p:nvSpPr>
          <p:spPr>
            <a:xfrm>
              <a:off x="-3507479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5" name="Straight Connector 494"/>
            <p:cNvSpPr/>
            <p:nvPr/>
          </p:nvSpPr>
          <p:spPr>
            <a:xfrm>
              <a:off x="-3507479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6" name="Straight Connector 495"/>
            <p:cNvSpPr/>
            <p:nvPr/>
          </p:nvSpPr>
          <p:spPr>
            <a:xfrm>
              <a:off x="-3507479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7" name="Straight Connector 496"/>
            <p:cNvSpPr/>
            <p:nvPr/>
          </p:nvSpPr>
          <p:spPr>
            <a:xfrm>
              <a:off x="-3507479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8" name="Straight Connector 497"/>
            <p:cNvSpPr/>
            <p:nvPr/>
          </p:nvSpPr>
          <p:spPr>
            <a:xfrm>
              <a:off x="-3507479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9" name="Straight Connector 498"/>
            <p:cNvSpPr/>
            <p:nvPr/>
          </p:nvSpPr>
          <p:spPr>
            <a:xfrm>
              <a:off x="-3507479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0" name="Straight Connector 499"/>
            <p:cNvSpPr/>
            <p:nvPr/>
          </p:nvSpPr>
          <p:spPr>
            <a:xfrm>
              <a:off x="-3507479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1" name="Straight Connector 500"/>
            <p:cNvSpPr/>
            <p:nvPr/>
          </p:nvSpPr>
          <p:spPr>
            <a:xfrm>
              <a:off x="-3507479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2" name="Straight Connector 501"/>
            <p:cNvSpPr/>
            <p:nvPr/>
          </p:nvSpPr>
          <p:spPr>
            <a:xfrm>
              <a:off x="-3507479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3" name="Straight Connector 502"/>
            <p:cNvSpPr/>
            <p:nvPr/>
          </p:nvSpPr>
          <p:spPr>
            <a:xfrm>
              <a:off x="-3507479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4" name="Straight Connector 503"/>
            <p:cNvSpPr/>
            <p:nvPr/>
          </p:nvSpPr>
          <p:spPr>
            <a:xfrm>
              <a:off x="-353628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5" name="Straight Connector 504"/>
            <p:cNvSpPr/>
            <p:nvPr/>
          </p:nvSpPr>
          <p:spPr>
            <a:xfrm>
              <a:off x="-353628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6" name="Straight Connector 505"/>
            <p:cNvSpPr/>
            <p:nvPr/>
          </p:nvSpPr>
          <p:spPr>
            <a:xfrm>
              <a:off x="-353628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7" name="Straight Connector 506"/>
            <p:cNvSpPr/>
            <p:nvPr/>
          </p:nvSpPr>
          <p:spPr>
            <a:xfrm>
              <a:off x="-353628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8" name="Straight Connector 507"/>
            <p:cNvSpPr/>
            <p:nvPr/>
          </p:nvSpPr>
          <p:spPr>
            <a:xfrm>
              <a:off x="-353628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9" name="Straight Connector 508"/>
            <p:cNvSpPr/>
            <p:nvPr/>
          </p:nvSpPr>
          <p:spPr>
            <a:xfrm>
              <a:off x="-353628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0" name="Straight Connector 509"/>
            <p:cNvSpPr/>
            <p:nvPr/>
          </p:nvSpPr>
          <p:spPr>
            <a:xfrm>
              <a:off x="-353628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1" name="Straight Connector 510"/>
            <p:cNvSpPr/>
            <p:nvPr/>
          </p:nvSpPr>
          <p:spPr>
            <a:xfrm>
              <a:off x="-353628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2" name="Straight Connector 511"/>
            <p:cNvSpPr/>
            <p:nvPr/>
          </p:nvSpPr>
          <p:spPr>
            <a:xfrm>
              <a:off x="-353628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3" name="Straight Connector 512"/>
            <p:cNvSpPr/>
            <p:nvPr/>
          </p:nvSpPr>
          <p:spPr>
            <a:xfrm>
              <a:off x="-353628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4" name="Straight Connector 513"/>
            <p:cNvSpPr/>
            <p:nvPr/>
          </p:nvSpPr>
          <p:spPr>
            <a:xfrm>
              <a:off x="-353628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5" name="Straight Connector 514"/>
            <p:cNvSpPr/>
            <p:nvPr/>
          </p:nvSpPr>
          <p:spPr>
            <a:xfrm>
              <a:off x="-353628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6" name="Straight Connector 515"/>
            <p:cNvSpPr/>
            <p:nvPr/>
          </p:nvSpPr>
          <p:spPr>
            <a:xfrm>
              <a:off x="-353628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7" name="Straight Connector 516"/>
            <p:cNvSpPr/>
            <p:nvPr/>
          </p:nvSpPr>
          <p:spPr>
            <a:xfrm>
              <a:off x="-35647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8" name="Straight Connector 517"/>
            <p:cNvSpPr/>
            <p:nvPr/>
          </p:nvSpPr>
          <p:spPr>
            <a:xfrm>
              <a:off x="-35647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9" name="Straight Connector 518"/>
            <p:cNvSpPr/>
            <p:nvPr/>
          </p:nvSpPr>
          <p:spPr>
            <a:xfrm>
              <a:off x="-35647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0" name="Straight Connector 519"/>
            <p:cNvSpPr/>
            <p:nvPr/>
          </p:nvSpPr>
          <p:spPr>
            <a:xfrm>
              <a:off x="-35647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1" name="Straight Connector 520"/>
            <p:cNvSpPr/>
            <p:nvPr/>
          </p:nvSpPr>
          <p:spPr>
            <a:xfrm>
              <a:off x="-35647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2" name="Straight Connector 521"/>
            <p:cNvSpPr/>
            <p:nvPr/>
          </p:nvSpPr>
          <p:spPr>
            <a:xfrm>
              <a:off x="-35647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3" name="Straight Connector 522"/>
            <p:cNvSpPr/>
            <p:nvPr/>
          </p:nvSpPr>
          <p:spPr>
            <a:xfrm>
              <a:off x="-35647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4" name="Straight Connector 523"/>
            <p:cNvSpPr/>
            <p:nvPr/>
          </p:nvSpPr>
          <p:spPr>
            <a:xfrm>
              <a:off x="-35647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5" name="Straight Connector 524"/>
            <p:cNvSpPr/>
            <p:nvPr/>
          </p:nvSpPr>
          <p:spPr>
            <a:xfrm>
              <a:off x="-35647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6" name="Straight Connector 525"/>
            <p:cNvSpPr/>
            <p:nvPr/>
          </p:nvSpPr>
          <p:spPr>
            <a:xfrm>
              <a:off x="-35647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7" name="Straight Connector 526"/>
            <p:cNvSpPr/>
            <p:nvPr/>
          </p:nvSpPr>
          <p:spPr>
            <a:xfrm>
              <a:off x="-35647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8" name="Straight Connector 527"/>
            <p:cNvSpPr/>
            <p:nvPr/>
          </p:nvSpPr>
          <p:spPr>
            <a:xfrm>
              <a:off x="-35647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9" name="Straight Connector 528"/>
            <p:cNvSpPr/>
            <p:nvPr/>
          </p:nvSpPr>
          <p:spPr>
            <a:xfrm>
              <a:off x="-35647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0" name="Freeform: Shape 525"/>
            <p:cNvSpPr/>
            <p:nvPr/>
          </p:nvSpPr>
          <p:spPr>
            <a:xfrm>
              <a:off x="-4857120" y="4914360"/>
              <a:ext cx="64080" cy="151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9" h="423">
                  <a:moveTo>
                    <a:pt x="179" y="0"/>
                  </a:moveTo>
                  <a:lnTo>
                    <a:pt x="179" y="423"/>
                  </a:lnTo>
                  <a:lnTo>
                    <a:pt x="0" y="2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1" name="Straight Connector 530"/>
            <p:cNvSpPr/>
            <p:nvPr/>
          </p:nvSpPr>
          <p:spPr>
            <a:xfrm>
              <a:off x="-4856400" y="5070960"/>
              <a:ext cx="363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2" name="Freeform: Shape 527"/>
            <p:cNvSpPr/>
            <p:nvPr/>
          </p:nvSpPr>
          <p:spPr>
            <a:xfrm>
              <a:off x="-522720" y="4912919"/>
              <a:ext cx="54360" cy="128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2" h="358">
                  <a:moveTo>
                    <a:pt x="152" y="0"/>
                  </a:moveTo>
                  <a:lnTo>
                    <a:pt x="152" y="358"/>
                  </a:lnTo>
                  <a:lnTo>
                    <a:pt x="0" y="2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3" name="Straight Connector 532"/>
            <p:cNvSpPr/>
            <p:nvPr/>
          </p:nvSpPr>
          <p:spPr>
            <a:xfrm>
              <a:off x="-522000" y="5045400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4" name="Freeform: Shape 529"/>
            <p:cNvSpPr/>
            <p:nvPr/>
          </p:nvSpPr>
          <p:spPr>
            <a:xfrm>
              <a:off x="-4664520" y="4919400"/>
              <a:ext cx="89640" cy="210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50" h="587">
                  <a:moveTo>
                    <a:pt x="250" y="0"/>
                  </a:moveTo>
                  <a:lnTo>
                    <a:pt x="250" y="587"/>
                  </a:lnTo>
                  <a:lnTo>
                    <a:pt x="0" y="3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5" name="Straight Connector 534"/>
            <p:cNvSpPr/>
            <p:nvPr/>
          </p:nvSpPr>
          <p:spPr>
            <a:xfrm>
              <a:off x="-4662720" y="5136840"/>
              <a:ext cx="504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6" name="Freeform: Shape 531"/>
            <p:cNvSpPr/>
            <p:nvPr/>
          </p:nvSpPr>
          <p:spPr>
            <a:xfrm>
              <a:off x="-905039" y="4865040"/>
              <a:ext cx="110160" cy="260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724">
                  <a:moveTo>
                    <a:pt x="307" y="0"/>
                  </a:moveTo>
                  <a:lnTo>
                    <a:pt x="307" y="724"/>
                  </a:lnTo>
                  <a:lnTo>
                    <a:pt x="0" y="48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7" name="Straight Connector 536"/>
            <p:cNvSpPr/>
            <p:nvPr/>
          </p:nvSpPr>
          <p:spPr>
            <a:xfrm>
              <a:off x="-903240" y="5133240"/>
              <a:ext cx="619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8" name="Straight Connector 537"/>
            <p:cNvSpPr/>
            <p:nvPr/>
          </p:nvSpPr>
          <p:spPr>
            <a:xfrm>
              <a:off x="-5202360" y="4673160"/>
              <a:ext cx="967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9" name="Straight Connector 538"/>
            <p:cNvSpPr/>
            <p:nvPr/>
          </p:nvSpPr>
          <p:spPr>
            <a:xfrm>
              <a:off x="-5132520" y="4446000"/>
              <a:ext cx="0" cy="312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0" name="Straight Connector 539"/>
            <p:cNvSpPr/>
            <p:nvPr/>
          </p:nvSpPr>
          <p:spPr>
            <a:xfrm>
              <a:off x="-4321800" y="4446000"/>
              <a:ext cx="0" cy="312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1" name="Freeform: Shape 536"/>
            <p:cNvSpPr/>
            <p:nvPr/>
          </p:nvSpPr>
          <p:spPr>
            <a:xfrm>
              <a:off x="-5130720" y="4471200"/>
              <a:ext cx="808560" cy="153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47" h="426">
                  <a:moveTo>
                    <a:pt x="2247" y="0"/>
                  </a:moveTo>
                  <a:cubicBezTo>
                    <a:pt x="1971" y="261"/>
                    <a:pt x="1567" y="426"/>
                    <a:pt x="1117" y="426"/>
                  </a:cubicBezTo>
                  <a:cubicBezTo>
                    <a:pt x="674" y="426"/>
                    <a:pt x="276" y="266"/>
                    <a:pt x="0" y="1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2" name="Straight Connector 541"/>
            <p:cNvSpPr/>
            <p:nvPr/>
          </p:nvSpPr>
          <p:spPr>
            <a:xfrm>
              <a:off x="-506700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3" name="Straight Connector 542"/>
            <p:cNvSpPr/>
            <p:nvPr/>
          </p:nvSpPr>
          <p:spPr>
            <a:xfrm>
              <a:off x="-5019480" y="455364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4" name="Straight Connector 543"/>
            <p:cNvSpPr/>
            <p:nvPr/>
          </p:nvSpPr>
          <p:spPr>
            <a:xfrm>
              <a:off x="-4969800" y="457884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5" name="Straight Connector 544"/>
            <p:cNvSpPr/>
            <p:nvPr/>
          </p:nvSpPr>
          <p:spPr>
            <a:xfrm>
              <a:off x="-4921560" y="459648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6" name="Straight Connector 545"/>
            <p:cNvSpPr/>
            <p:nvPr/>
          </p:nvSpPr>
          <p:spPr>
            <a:xfrm>
              <a:off x="-4873320" y="460800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7" name="Straight Connector 546"/>
            <p:cNvSpPr/>
            <p:nvPr/>
          </p:nvSpPr>
          <p:spPr>
            <a:xfrm>
              <a:off x="-4825080" y="461844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8" name="Straight Connector 547"/>
            <p:cNvSpPr/>
            <p:nvPr/>
          </p:nvSpPr>
          <p:spPr>
            <a:xfrm>
              <a:off x="-4776480" y="4622760"/>
              <a:ext cx="0" cy="50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9" name="Straight Connector 548"/>
            <p:cNvSpPr/>
            <p:nvPr/>
          </p:nvSpPr>
          <p:spPr>
            <a:xfrm>
              <a:off x="-438984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0" name="Straight Connector 549"/>
            <p:cNvSpPr/>
            <p:nvPr/>
          </p:nvSpPr>
          <p:spPr>
            <a:xfrm>
              <a:off x="-4437720" y="455364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1" name="Straight Connector 550"/>
            <p:cNvSpPr/>
            <p:nvPr/>
          </p:nvSpPr>
          <p:spPr>
            <a:xfrm>
              <a:off x="-4487040" y="457884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2" name="Straight Connector 551"/>
            <p:cNvSpPr/>
            <p:nvPr/>
          </p:nvSpPr>
          <p:spPr>
            <a:xfrm>
              <a:off x="-4535280" y="459648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3" name="Straight Connector 552"/>
            <p:cNvSpPr/>
            <p:nvPr/>
          </p:nvSpPr>
          <p:spPr>
            <a:xfrm>
              <a:off x="-4583520" y="460800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4" name="Straight Connector 553"/>
            <p:cNvSpPr/>
            <p:nvPr/>
          </p:nvSpPr>
          <p:spPr>
            <a:xfrm>
              <a:off x="-4631760" y="461844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5" name="Straight Connector 554"/>
            <p:cNvSpPr/>
            <p:nvPr/>
          </p:nvSpPr>
          <p:spPr>
            <a:xfrm>
              <a:off x="-4680360" y="4622760"/>
              <a:ext cx="0" cy="50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6" name="Straight Connector 555"/>
            <p:cNvSpPr/>
            <p:nvPr/>
          </p:nvSpPr>
          <p:spPr>
            <a:xfrm>
              <a:off x="-4728239" y="4624560"/>
              <a:ext cx="0" cy="46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7" name="Straight Connector 556"/>
            <p:cNvSpPr/>
            <p:nvPr/>
          </p:nvSpPr>
          <p:spPr>
            <a:xfrm>
              <a:off x="-5539320" y="4673160"/>
              <a:ext cx="493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8" name="Freeform: Shape 553"/>
            <p:cNvSpPr/>
            <p:nvPr/>
          </p:nvSpPr>
          <p:spPr>
            <a:xfrm>
              <a:off x="-5539320" y="4471200"/>
              <a:ext cx="406080" cy="153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9" h="426">
                  <a:moveTo>
                    <a:pt x="1129" y="0"/>
                  </a:moveTo>
                  <a:cubicBezTo>
                    <a:pt x="853" y="261"/>
                    <a:pt x="450" y="426"/>
                    <a:pt x="0" y="426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9" name="Straight Connector 558"/>
            <p:cNvSpPr/>
            <p:nvPr/>
          </p:nvSpPr>
          <p:spPr>
            <a:xfrm>
              <a:off x="-520056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0" name="Straight Connector 559"/>
            <p:cNvSpPr/>
            <p:nvPr/>
          </p:nvSpPr>
          <p:spPr>
            <a:xfrm>
              <a:off x="-5248440" y="455364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1" name="Straight Connector 560"/>
            <p:cNvSpPr/>
            <p:nvPr/>
          </p:nvSpPr>
          <p:spPr>
            <a:xfrm>
              <a:off x="-5298120" y="457884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2" name="Straight Connector 561"/>
            <p:cNvSpPr/>
            <p:nvPr/>
          </p:nvSpPr>
          <p:spPr>
            <a:xfrm>
              <a:off x="-5346360" y="459648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3" name="Straight Connector 562"/>
            <p:cNvSpPr/>
            <p:nvPr/>
          </p:nvSpPr>
          <p:spPr>
            <a:xfrm>
              <a:off x="-5394960" y="460800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4" name="Straight Connector 563"/>
            <p:cNvSpPr/>
            <p:nvPr/>
          </p:nvSpPr>
          <p:spPr>
            <a:xfrm>
              <a:off x="-5443200" y="461844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5" name="Straight Connector 564"/>
            <p:cNvSpPr/>
            <p:nvPr/>
          </p:nvSpPr>
          <p:spPr>
            <a:xfrm>
              <a:off x="-5491440" y="4622760"/>
              <a:ext cx="0" cy="50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6" name="Straight Connector 565"/>
            <p:cNvSpPr/>
            <p:nvPr/>
          </p:nvSpPr>
          <p:spPr>
            <a:xfrm>
              <a:off x="-4391279" y="4673160"/>
              <a:ext cx="1623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7" name="Freeform: Shape 562"/>
            <p:cNvSpPr/>
            <p:nvPr/>
          </p:nvSpPr>
          <p:spPr>
            <a:xfrm>
              <a:off x="-4319640" y="4475160"/>
              <a:ext cx="164160" cy="103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57" h="288">
                  <a:moveTo>
                    <a:pt x="457" y="288"/>
                  </a:moveTo>
                  <a:cubicBezTo>
                    <a:pt x="284" y="217"/>
                    <a:pt x="129" y="119"/>
                    <a:pt x="0" y="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8" name="Straight Connector 567"/>
            <p:cNvSpPr/>
            <p:nvPr/>
          </p:nvSpPr>
          <p:spPr>
            <a:xfrm>
              <a:off x="-425664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9" name="Straight Connector 568"/>
            <p:cNvSpPr/>
            <p:nvPr/>
          </p:nvSpPr>
          <p:spPr>
            <a:xfrm>
              <a:off x="-4208400" y="4553640"/>
              <a:ext cx="0" cy="936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0" name="Straight Connector 569"/>
            <p:cNvSpPr/>
            <p:nvPr/>
          </p:nvSpPr>
          <p:spPr>
            <a:xfrm>
              <a:off x="-4159080" y="4578840"/>
              <a:ext cx="0" cy="53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1" name="Freeform: Shape 566"/>
            <p:cNvSpPr/>
            <p:nvPr/>
          </p:nvSpPr>
          <p:spPr>
            <a:xfrm>
              <a:off x="3089160" y="3954240"/>
              <a:ext cx="279360" cy="702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77" h="1951" fill="none">
                  <a:moveTo>
                    <a:pt x="0" y="1949"/>
                  </a:moveTo>
                  <a:lnTo>
                    <a:pt x="399" y="0"/>
                  </a:lnTo>
                  <a:lnTo>
                    <a:pt x="777" y="195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2" name="Freeform: Shape 567"/>
            <p:cNvSpPr/>
            <p:nvPr/>
          </p:nvSpPr>
          <p:spPr>
            <a:xfrm>
              <a:off x="3156479" y="4094280"/>
              <a:ext cx="150480" cy="1965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9" h="547" fill="none">
                  <a:moveTo>
                    <a:pt x="20" y="547"/>
                  </a:moveTo>
                  <a:lnTo>
                    <a:pt x="0" y="0"/>
                  </a:lnTo>
                  <a:lnTo>
                    <a:pt x="419" y="0"/>
                  </a:lnTo>
                  <a:lnTo>
                    <a:pt x="390" y="5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3" name="Straight Connector 572"/>
            <p:cNvSpPr/>
            <p:nvPr/>
          </p:nvSpPr>
          <p:spPr>
            <a:xfrm>
              <a:off x="3219839" y="4127040"/>
              <a:ext cx="219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4" name="Straight Connector 573"/>
            <p:cNvSpPr/>
            <p:nvPr/>
          </p:nvSpPr>
          <p:spPr>
            <a:xfrm>
              <a:off x="3213720" y="4158720"/>
              <a:ext cx="338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5" name="Straight Connector 574"/>
            <p:cNvSpPr/>
            <p:nvPr/>
          </p:nvSpPr>
          <p:spPr>
            <a:xfrm>
              <a:off x="3208320" y="4190399"/>
              <a:ext cx="4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6" name="Straight Connector 575"/>
            <p:cNvSpPr/>
            <p:nvPr/>
          </p:nvSpPr>
          <p:spPr>
            <a:xfrm>
              <a:off x="3202560" y="4221719"/>
              <a:ext cx="55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7" name="Straight Connector 576"/>
            <p:cNvSpPr/>
            <p:nvPr/>
          </p:nvSpPr>
          <p:spPr>
            <a:xfrm>
              <a:off x="3196800" y="4253400"/>
              <a:ext cx="67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8" name="Straight Connector 577"/>
            <p:cNvSpPr/>
            <p:nvPr/>
          </p:nvSpPr>
          <p:spPr>
            <a:xfrm>
              <a:off x="3191040" y="4285080"/>
              <a:ext cx="784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9" name="Straight Connector 578"/>
            <p:cNvSpPr/>
            <p:nvPr/>
          </p:nvSpPr>
          <p:spPr>
            <a:xfrm>
              <a:off x="3185279" y="4316760"/>
              <a:ext cx="90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0" name="Straight Connector 579"/>
            <p:cNvSpPr/>
            <p:nvPr/>
          </p:nvSpPr>
          <p:spPr>
            <a:xfrm>
              <a:off x="3179880" y="4348440"/>
              <a:ext cx="1011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1" name="Straight Connector 580"/>
            <p:cNvSpPr/>
            <p:nvPr/>
          </p:nvSpPr>
          <p:spPr>
            <a:xfrm>
              <a:off x="3174120" y="4380120"/>
              <a:ext cx="112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2" name="Straight Connector 581"/>
            <p:cNvSpPr/>
            <p:nvPr/>
          </p:nvSpPr>
          <p:spPr>
            <a:xfrm>
              <a:off x="3168360" y="4411800"/>
              <a:ext cx="1234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3" name="Straight Connector 582"/>
            <p:cNvSpPr/>
            <p:nvPr/>
          </p:nvSpPr>
          <p:spPr>
            <a:xfrm>
              <a:off x="3162600" y="4443120"/>
              <a:ext cx="135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4" name="Straight Connector 583"/>
            <p:cNvSpPr/>
            <p:nvPr/>
          </p:nvSpPr>
          <p:spPr>
            <a:xfrm>
              <a:off x="3156840" y="4474440"/>
              <a:ext cx="146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5" name="Straight Connector 584"/>
            <p:cNvSpPr/>
            <p:nvPr/>
          </p:nvSpPr>
          <p:spPr>
            <a:xfrm>
              <a:off x="3151080" y="4506120"/>
              <a:ext cx="1576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6" name="Straight Connector 585"/>
            <p:cNvSpPr/>
            <p:nvPr/>
          </p:nvSpPr>
          <p:spPr>
            <a:xfrm>
              <a:off x="3145679" y="4537800"/>
              <a:ext cx="1684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7" name="Straight Connector 586"/>
            <p:cNvSpPr/>
            <p:nvPr/>
          </p:nvSpPr>
          <p:spPr>
            <a:xfrm>
              <a:off x="3139559" y="4569480"/>
              <a:ext cx="1803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8" name="Straight Connector 587"/>
            <p:cNvSpPr/>
            <p:nvPr/>
          </p:nvSpPr>
          <p:spPr>
            <a:xfrm>
              <a:off x="3134160" y="4601160"/>
              <a:ext cx="1915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9" name="Straight Connector 588"/>
            <p:cNvSpPr/>
            <p:nvPr/>
          </p:nvSpPr>
          <p:spPr>
            <a:xfrm>
              <a:off x="3128400" y="4632840"/>
              <a:ext cx="202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65544660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_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6"/>
          <p:cNvSpPr>
            <a:spLocks noChangeAspect="1" noEditPoints="1"/>
          </p:cNvSpPr>
          <p:nvPr userDrawn="1"/>
        </p:nvSpPr>
        <p:spPr bwMode="auto">
          <a:xfrm>
            <a:off x="3762994" y="2129076"/>
            <a:ext cx="1618012" cy="859571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5073"/>
              </a:solidFill>
            </a:endParaRPr>
          </a:p>
        </p:txBody>
      </p:sp>
      <p:grpSp>
        <p:nvGrpSpPr>
          <p:cNvPr id="6" name="Group 5"/>
          <p:cNvGrpSpPr>
            <a:grpSpLocks noChangeAspect="1"/>
          </p:cNvGrpSpPr>
          <p:nvPr userDrawn="1"/>
        </p:nvGrpSpPr>
        <p:grpSpPr>
          <a:xfrm>
            <a:off x="151952" y="3800884"/>
            <a:ext cx="8840097" cy="1216152"/>
            <a:chOff x="-5539320" y="3765960"/>
            <a:chExt cx="9964800" cy="1370880"/>
          </a:xfrm>
        </p:grpSpPr>
        <p:sp>
          <p:nvSpPr>
            <p:cNvPr id="7" name="Freeform: Shape 2"/>
            <p:cNvSpPr/>
            <p:nvPr/>
          </p:nvSpPr>
          <p:spPr>
            <a:xfrm>
              <a:off x="-777239" y="4393080"/>
              <a:ext cx="321840" cy="321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95" h="895">
                  <a:moveTo>
                    <a:pt x="895" y="448"/>
                  </a:moveTo>
                  <a:cubicBezTo>
                    <a:pt x="895" y="530"/>
                    <a:pt x="876" y="600"/>
                    <a:pt x="835" y="672"/>
                  </a:cubicBezTo>
                  <a:cubicBezTo>
                    <a:pt x="794" y="743"/>
                    <a:pt x="742" y="793"/>
                    <a:pt x="671" y="835"/>
                  </a:cubicBezTo>
                  <a:cubicBezTo>
                    <a:pt x="599" y="876"/>
                    <a:pt x="529" y="895"/>
                    <a:pt x="447" y="895"/>
                  </a:cubicBezTo>
                  <a:cubicBezTo>
                    <a:pt x="364" y="895"/>
                    <a:pt x="294" y="876"/>
                    <a:pt x="223" y="835"/>
                  </a:cubicBezTo>
                  <a:cubicBezTo>
                    <a:pt x="151" y="793"/>
                    <a:pt x="101" y="743"/>
                    <a:pt x="60" y="672"/>
                  </a:cubicBezTo>
                  <a:cubicBezTo>
                    <a:pt x="18" y="600"/>
                    <a:pt x="0" y="530"/>
                    <a:pt x="0" y="448"/>
                  </a:cubicBezTo>
                  <a:cubicBezTo>
                    <a:pt x="0" y="365"/>
                    <a:pt x="18" y="295"/>
                    <a:pt x="60" y="224"/>
                  </a:cubicBezTo>
                  <a:cubicBezTo>
                    <a:pt x="101" y="153"/>
                    <a:pt x="151" y="101"/>
                    <a:pt x="223" y="60"/>
                  </a:cubicBezTo>
                  <a:cubicBezTo>
                    <a:pt x="294" y="19"/>
                    <a:pt x="365" y="0"/>
                    <a:pt x="447" y="0"/>
                  </a:cubicBezTo>
                  <a:cubicBezTo>
                    <a:pt x="530" y="0"/>
                    <a:pt x="599" y="19"/>
                    <a:pt x="671" y="60"/>
                  </a:cubicBezTo>
                  <a:cubicBezTo>
                    <a:pt x="742" y="101"/>
                    <a:pt x="794" y="153"/>
                    <a:pt x="835" y="224"/>
                  </a:cubicBezTo>
                  <a:cubicBezTo>
                    <a:pt x="876" y="295"/>
                    <a:pt x="895" y="365"/>
                    <a:pt x="895" y="44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" name="Straight Connector 7"/>
            <p:cNvSpPr/>
            <p:nvPr/>
          </p:nvSpPr>
          <p:spPr>
            <a:xfrm>
              <a:off x="-616320" y="4386240"/>
              <a:ext cx="0" cy="212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" name="Straight Connector 8"/>
            <p:cNvSpPr/>
            <p:nvPr/>
          </p:nvSpPr>
          <p:spPr>
            <a:xfrm>
              <a:off x="-616320" y="4707360"/>
              <a:ext cx="0" cy="2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Straight Connector 9"/>
            <p:cNvSpPr/>
            <p:nvPr/>
          </p:nvSpPr>
          <p:spPr>
            <a:xfrm flipH="1">
              <a:off x="-559080" y="4399200"/>
              <a:ext cx="792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Straight Connector 10"/>
            <p:cNvSpPr/>
            <p:nvPr/>
          </p:nvSpPr>
          <p:spPr>
            <a:xfrm flipH="1">
              <a:off x="-681120" y="4696200"/>
              <a:ext cx="792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Straight Connector 11"/>
            <p:cNvSpPr/>
            <p:nvPr/>
          </p:nvSpPr>
          <p:spPr>
            <a:xfrm flipH="1">
              <a:off x="-509399" y="4437360"/>
              <a:ext cx="14759" cy="14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Straight Connector 12"/>
            <p:cNvSpPr/>
            <p:nvPr/>
          </p:nvSpPr>
          <p:spPr>
            <a:xfrm flipH="1">
              <a:off x="-737999" y="4663080"/>
              <a:ext cx="15119" cy="14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Straight Connector 13"/>
            <p:cNvSpPr/>
            <p:nvPr/>
          </p:nvSpPr>
          <p:spPr>
            <a:xfrm flipH="1">
              <a:off x="-477360" y="4492800"/>
              <a:ext cx="19440" cy="7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Straight Connector 14"/>
            <p:cNvSpPr/>
            <p:nvPr/>
          </p:nvSpPr>
          <p:spPr>
            <a:xfrm flipH="1">
              <a:off x="-775080" y="4613760"/>
              <a:ext cx="19800" cy="7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" name="Straight Connector 15"/>
            <p:cNvSpPr/>
            <p:nvPr/>
          </p:nvSpPr>
          <p:spPr>
            <a:xfrm flipH="1">
              <a:off x="-466560" y="4556880"/>
              <a:ext cx="212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" name="Straight Connector 16"/>
            <p:cNvSpPr/>
            <p:nvPr/>
          </p:nvSpPr>
          <p:spPr>
            <a:xfrm flipH="1">
              <a:off x="-787320" y="4557600"/>
              <a:ext cx="2088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" name="Straight Connector 17"/>
            <p:cNvSpPr/>
            <p:nvPr/>
          </p:nvSpPr>
          <p:spPr>
            <a:xfrm flipH="1" flipV="1">
              <a:off x="-477360" y="4613760"/>
              <a:ext cx="19801" cy="75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" name="Straight Connector 18"/>
            <p:cNvSpPr/>
            <p:nvPr/>
          </p:nvSpPr>
          <p:spPr>
            <a:xfrm flipH="1" flipV="1">
              <a:off x="-775080" y="4493160"/>
              <a:ext cx="19800" cy="7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" name="Straight Connector 19"/>
            <p:cNvSpPr/>
            <p:nvPr/>
          </p:nvSpPr>
          <p:spPr>
            <a:xfrm>
              <a:off x="-736559" y="4435920"/>
              <a:ext cx="14759" cy="14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Straight Connector 20"/>
            <p:cNvSpPr/>
            <p:nvPr/>
          </p:nvSpPr>
          <p:spPr>
            <a:xfrm>
              <a:off x="-510839" y="4664160"/>
              <a:ext cx="14759" cy="14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Straight Connector 21"/>
            <p:cNvSpPr/>
            <p:nvPr/>
          </p:nvSpPr>
          <p:spPr>
            <a:xfrm>
              <a:off x="-685079" y="4400639"/>
              <a:ext cx="8639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Straight Connector 22"/>
            <p:cNvSpPr/>
            <p:nvPr/>
          </p:nvSpPr>
          <p:spPr>
            <a:xfrm>
              <a:off x="-555840" y="4694759"/>
              <a:ext cx="828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Freeform: Shape 19"/>
            <p:cNvSpPr/>
            <p:nvPr/>
          </p:nvSpPr>
          <p:spPr>
            <a:xfrm>
              <a:off x="-667080" y="4551120"/>
              <a:ext cx="100800" cy="299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81" h="834" fill="none">
                  <a:moveTo>
                    <a:pt x="0" y="834"/>
                  </a:moveTo>
                  <a:lnTo>
                    <a:pt x="159" y="0"/>
                  </a:lnTo>
                  <a:lnTo>
                    <a:pt x="281" y="65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Straight Connector 24"/>
            <p:cNvSpPr/>
            <p:nvPr/>
          </p:nvSpPr>
          <p:spPr>
            <a:xfrm>
              <a:off x="-765000" y="4831200"/>
              <a:ext cx="0" cy="10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Freeform: Shape 21"/>
            <p:cNvSpPr/>
            <p:nvPr/>
          </p:nvSpPr>
          <p:spPr>
            <a:xfrm>
              <a:off x="-375480" y="4592880"/>
              <a:ext cx="149400" cy="335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Freeform: Shape 22"/>
            <p:cNvSpPr/>
            <p:nvPr/>
          </p:nvSpPr>
          <p:spPr>
            <a:xfrm>
              <a:off x="-344160" y="4791600"/>
              <a:ext cx="87120" cy="143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60" y="0"/>
                  </a:lnTo>
                  <a:cubicBezTo>
                    <a:pt x="206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Straight Connector 27"/>
            <p:cNvSpPr/>
            <p:nvPr/>
          </p:nvSpPr>
          <p:spPr>
            <a:xfrm>
              <a:off x="-353880" y="4683240"/>
              <a:ext cx="106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Freeform: Shape 24"/>
            <p:cNvSpPr/>
            <p:nvPr/>
          </p:nvSpPr>
          <p:spPr>
            <a:xfrm>
              <a:off x="-737280" y="4592880"/>
              <a:ext cx="355320" cy="309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8" h="860">
                  <a:moveTo>
                    <a:pt x="988" y="0"/>
                  </a:moveTo>
                  <a:cubicBezTo>
                    <a:pt x="909" y="478"/>
                    <a:pt x="499" y="846"/>
                    <a:pt x="0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Straight Connector 29"/>
            <p:cNvSpPr/>
            <p:nvPr/>
          </p:nvSpPr>
          <p:spPr>
            <a:xfrm>
              <a:off x="-563400" y="4858560"/>
              <a:ext cx="170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Freeform: Shape 26"/>
            <p:cNvSpPr/>
            <p:nvPr/>
          </p:nvSpPr>
          <p:spPr>
            <a:xfrm>
              <a:off x="314280" y="4592880"/>
              <a:ext cx="354960" cy="309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7" h="860">
                  <a:moveTo>
                    <a:pt x="0" y="0"/>
                  </a:moveTo>
                  <a:cubicBezTo>
                    <a:pt x="79" y="478"/>
                    <a:pt x="489" y="846"/>
                    <a:pt x="987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Straight Connector 31"/>
            <p:cNvSpPr/>
            <p:nvPr/>
          </p:nvSpPr>
          <p:spPr>
            <a:xfrm flipH="1">
              <a:off x="325080" y="4858560"/>
              <a:ext cx="171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Straight Connector 32"/>
            <p:cNvSpPr/>
            <p:nvPr/>
          </p:nvSpPr>
          <p:spPr>
            <a:xfrm>
              <a:off x="-723959" y="4946040"/>
              <a:ext cx="201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Straight Connector 33"/>
            <p:cNvSpPr/>
            <p:nvPr/>
          </p:nvSpPr>
          <p:spPr>
            <a:xfrm>
              <a:off x="-225720" y="460260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Straight Connector 34"/>
            <p:cNvSpPr/>
            <p:nvPr/>
          </p:nvSpPr>
          <p:spPr>
            <a:xfrm>
              <a:off x="-225720" y="462780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Straight Connector 35"/>
            <p:cNvSpPr/>
            <p:nvPr/>
          </p:nvSpPr>
          <p:spPr>
            <a:xfrm>
              <a:off x="-225720" y="467568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Straight Connector 36"/>
            <p:cNvSpPr/>
            <p:nvPr/>
          </p:nvSpPr>
          <p:spPr>
            <a:xfrm>
              <a:off x="-225720" y="484632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Straight Connector 37"/>
            <p:cNvSpPr/>
            <p:nvPr/>
          </p:nvSpPr>
          <p:spPr>
            <a:xfrm>
              <a:off x="-225720" y="489528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Freeform: Shape 34"/>
            <p:cNvSpPr/>
            <p:nvPr/>
          </p:nvSpPr>
          <p:spPr>
            <a:xfrm>
              <a:off x="-378720" y="4497840"/>
              <a:ext cx="3672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2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Freeform: Shape 35"/>
            <p:cNvSpPr/>
            <p:nvPr/>
          </p:nvSpPr>
          <p:spPr>
            <a:xfrm>
              <a:off x="-257760" y="4497840"/>
              <a:ext cx="3636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0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Freeform: Shape 36"/>
            <p:cNvSpPr/>
            <p:nvPr/>
          </p:nvSpPr>
          <p:spPr>
            <a:xfrm>
              <a:off x="-354600" y="4426560"/>
              <a:ext cx="107640" cy="13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49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Freeform: Shape 37"/>
            <p:cNvSpPr/>
            <p:nvPr/>
          </p:nvSpPr>
          <p:spPr>
            <a:xfrm>
              <a:off x="-314640" y="4617720"/>
              <a:ext cx="27720" cy="33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Freeform: Shape 38"/>
            <p:cNvSpPr/>
            <p:nvPr/>
          </p:nvSpPr>
          <p:spPr>
            <a:xfrm>
              <a:off x="158040" y="4592880"/>
              <a:ext cx="149400" cy="335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Freeform: Shape 39"/>
            <p:cNvSpPr/>
            <p:nvPr/>
          </p:nvSpPr>
          <p:spPr>
            <a:xfrm>
              <a:off x="189360" y="4791600"/>
              <a:ext cx="87120" cy="143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59" y="0"/>
                  </a:lnTo>
                  <a:cubicBezTo>
                    <a:pt x="205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Straight Connector 44"/>
            <p:cNvSpPr/>
            <p:nvPr/>
          </p:nvSpPr>
          <p:spPr>
            <a:xfrm>
              <a:off x="179280" y="4683240"/>
              <a:ext cx="1072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Freeform: Shape 41"/>
            <p:cNvSpPr/>
            <p:nvPr/>
          </p:nvSpPr>
          <p:spPr>
            <a:xfrm>
              <a:off x="154800" y="4497840"/>
              <a:ext cx="3636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2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Freeform: Shape 42"/>
            <p:cNvSpPr/>
            <p:nvPr/>
          </p:nvSpPr>
          <p:spPr>
            <a:xfrm>
              <a:off x="275400" y="4497840"/>
              <a:ext cx="3672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1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Freeform: Shape 43"/>
            <p:cNvSpPr/>
            <p:nvPr/>
          </p:nvSpPr>
          <p:spPr>
            <a:xfrm>
              <a:off x="178560" y="4426560"/>
              <a:ext cx="107640" cy="13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51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Freeform: Shape 44"/>
            <p:cNvSpPr/>
            <p:nvPr/>
          </p:nvSpPr>
          <p:spPr>
            <a:xfrm>
              <a:off x="1934639" y="4760280"/>
              <a:ext cx="256680" cy="38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14" h="107">
                  <a:moveTo>
                    <a:pt x="357" y="0"/>
                  </a:moveTo>
                  <a:lnTo>
                    <a:pt x="0" y="107"/>
                  </a:lnTo>
                  <a:lnTo>
                    <a:pt x="714" y="10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Freeform: Shape 45"/>
            <p:cNvSpPr/>
            <p:nvPr/>
          </p:nvSpPr>
          <p:spPr>
            <a:xfrm>
              <a:off x="218880" y="4617720"/>
              <a:ext cx="27720" cy="33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Straight Connector 50"/>
            <p:cNvSpPr/>
            <p:nvPr/>
          </p:nvSpPr>
          <p:spPr>
            <a:xfrm>
              <a:off x="-419760" y="4946040"/>
              <a:ext cx="7484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" name="Straight Connector 51"/>
            <p:cNvSpPr/>
            <p:nvPr/>
          </p:nvSpPr>
          <p:spPr>
            <a:xfrm>
              <a:off x="-309960" y="4977720"/>
              <a:ext cx="0" cy="51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" name="Straight Connector 52"/>
            <p:cNvSpPr/>
            <p:nvPr/>
          </p:nvSpPr>
          <p:spPr>
            <a:xfrm>
              <a:off x="-252000" y="4975200"/>
              <a:ext cx="4294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" name="Straight Connector 53"/>
            <p:cNvSpPr/>
            <p:nvPr/>
          </p:nvSpPr>
          <p:spPr>
            <a:xfrm>
              <a:off x="-122400" y="5016960"/>
              <a:ext cx="156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" name="Straight Connector 54"/>
            <p:cNvSpPr/>
            <p:nvPr/>
          </p:nvSpPr>
          <p:spPr>
            <a:xfrm>
              <a:off x="-78480" y="5043600"/>
              <a:ext cx="75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" name="Straight Connector 55"/>
            <p:cNvSpPr/>
            <p:nvPr/>
          </p:nvSpPr>
          <p:spPr>
            <a:xfrm>
              <a:off x="1734119" y="5067000"/>
              <a:ext cx="1569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" name="Straight Connector 56"/>
            <p:cNvSpPr/>
            <p:nvPr/>
          </p:nvSpPr>
          <p:spPr>
            <a:xfrm>
              <a:off x="1778040" y="5094000"/>
              <a:ext cx="75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" name="Straight Connector 57"/>
            <p:cNvSpPr/>
            <p:nvPr/>
          </p:nvSpPr>
          <p:spPr>
            <a:xfrm>
              <a:off x="1966680" y="5038920"/>
              <a:ext cx="3779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" name="Straight Connector 58"/>
            <p:cNvSpPr/>
            <p:nvPr/>
          </p:nvSpPr>
          <p:spPr>
            <a:xfrm>
              <a:off x="321480" y="4970160"/>
              <a:ext cx="0" cy="75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0" name="Straight Connector 59"/>
            <p:cNvSpPr/>
            <p:nvPr/>
          </p:nvSpPr>
          <p:spPr>
            <a:xfrm flipH="1">
              <a:off x="344880" y="4979880"/>
              <a:ext cx="342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1" name="Straight Connector 60"/>
            <p:cNvSpPr/>
            <p:nvPr/>
          </p:nvSpPr>
          <p:spPr>
            <a:xfrm flipV="1">
              <a:off x="344880" y="4865040"/>
              <a:ext cx="0" cy="431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2" name="Freeform: Shape 57"/>
            <p:cNvSpPr/>
            <p:nvPr/>
          </p:nvSpPr>
          <p:spPr>
            <a:xfrm>
              <a:off x="382680" y="4920480"/>
              <a:ext cx="286560" cy="39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7" h="112">
                  <a:moveTo>
                    <a:pt x="399" y="112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797" y="0"/>
                  </a:lnTo>
                  <a:lnTo>
                    <a:pt x="797" y="11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3" name="Freeform: Shape 58"/>
            <p:cNvSpPr/>
            <p:nvPr/>
          </p:nvSpPr>
          <p:spPr>
            <a:xfrm>
              <a:off x="473760" y="4308120"/>
              <a:ext cx="79200" cy="556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1" h="1548" fill="none">
                  <a:moveTo>
                    <a:pt x="0" y="1421"/>
                  </a:moveTo>
                  <a:lnTo>
                    <a:pt x="0" y="0"/>
                  </a:lnTo>
                  <a:lnTo>
                    <a:pt x="221" y="0"/>
                  </a:lnTo>
                  <a:lnTo>
                    <a:pt x="221" y="154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4" name="Freeform: Shape 59"/>
            <p:cNvSpPr/>
            <p:nvPr/>
          </p:nvSpPr>
          <p:spPr>
            <a:xfrm>
              <a:off x="523079" y="4191479"/>
              <a:ext cx="269640" cy="691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50" h="1922" fill="none">
                  <a:moveTo>
                    <a:pt x="0" y="1839"/>
                  </a:moveTo>
                  <a:lnTo>
                    <a:pt x="0" y="0"/>
                  </a:lnTo>
                  <a:lnTo>
                    <a:pt x="276" y="0"/>
                  </a:lnTo>
                  <a:lnTo>
                    <a:pt x="276" y="1922"/>
                  </a:lnTo>
                  <a:lnTo>
                    <a:pt x="750" y="1922"/>
                  </a:lnTo>
                  <a:lnTo>
                    <a:pt x="550" y="1831"/>
                  </a:lnTo>
                  <a:lnTo>
                    <a:pt x="407" y="183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5" name="Freeform: Shape 60"/>
            <p:cNvSpPr/>
            <p:nvPr/>
          </p:nvSpPr>
          <p:spPr>
            <a:xfrm>
              <a:off x="553320" y="4240440"/>
              <a:ext cx="99000" cy="624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6" h="1736" fill="none">
                  <a:moveTo>
                    <a:pt x="276" y="1736"/>
                  </a:moveTo>
                  <a:lnTo>
                    <a:pt x="276" y="0"/>
                  </a:lnTo>
                  <a:lnTo>
                    <a:pt x="0" y="0"/>
                  </a:lnTo>
                  <a:lnTo>
                    <a:pt x="0" y="19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6" name="Straight Connector 65"/>
            <p:cNvSpPr/>
            <p:nvPr/>
          </p:nvSpPr>
          <p:spPr>
            <a:xfrm>
              <a:off x="673560" y="4639680"/>
              <a:ext cx="28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7" name="Straight Connector 66"/>
            <p:cNvSpPr/>
            <p:nvPr/>
          </p:nvSpPr>
          <p:spPr>
            <a:xfrm>
              <a:off x="686160" y="4679280"/>
              <a:ext cx="0" cy="20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8" name="Freeform: Shape 63"/>
            <p:cNvSpPr/>
            <p:nvPr/>
          </p:nvSpPr>
          <p:spPr>
            <a:xfrm>
              <a:off x="721080" y="4161240"/>
              <a:ext cx="72000" cy="689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1" h="1915" fill="none">
                  <a:moveTo>
                    <a:pt x="0" y="1915"/>
                  </a:moveTo>
                  <a:lnTo>
                    <a:pt x="0" y="617"/>
                  </a:lnTo>
                  <a:lnTo>
                    <a:pt x="201" y="474"/>
                  </a:lnTo>
                  <a:lnTo>
                    <a:pt x="95" y="474"/>
                  </a:lnTo>
                  <a:lnTo>
                    <a:pt x="95" y="0"/>
                  </a:lnTo>
                  <a:lnTo>
                    <a:pt x="20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9" name="Freeform: Shape 64"/>
            <p:cNvSpPr/>
            <p:nvPr/>
          </p:nvSpPr>
          <p:spPr>
            <a:xfrm>
              <a:off x="793440" y="3839400"/>
              <a:ext cx="105840" cy="1087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5" h="3023" fill="none">
                  <a:moveTo>
                    <a:pt x="0" y="3023"/>
                  </a:moveTo>
                  <a:lnTo>
                    <a:pt x="0" y="503"/>
                  </a:lnTo>
                  <a:lnTo>
                    <a:pt x="198" y="306"/>
                  </a:lnTo>
                  <a:lnTo>
                    <a:pt x="198" y="0"/>
                  </a:lnTo>
                  <a:lnTo>
                    <a:pt x="295" y="190"/>
                  </a:lnTo>
                  <a:lnTo>
                    <a:pt x="295" y="89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0" name="Straight Connector 69"/>
            <p:cNvSpPr/>
            <p:nvPr/>
          </p:nvSpPr>
          <p:spPr>
            <a:xfrm>
              <a:off x="813960" y="4029480"/>
              <a:ext cx="0" cy="898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1" name="Freeform: Shape 66"/>
            <p:cNvSpPr/>
            <p:nvPr/>
          </p:nvSpPr>
          <p:spPr>
            <a:xfrm>
              <a:off x="793440" y="4106520"/>
              <a:ext cx="152640" cy="821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5" h="2283" fill="none">
                  <a:moveTo>
                    <a:pt x="0" y="2283"/>
                  </a:moveTo>
                  <a:lnTo>
                    <a:pt x="138" y="2283"/>
                  </a:lnTo>
                  <a:lnTo>
                    <a:pt x="138" y="356"/>
                  </a:lnTo>
                  <a:lnTo>
                    <a:pt x="425" y="70"/>
                  </a:lnTo>
                  <a:lnTo>
                    <a:pt x="295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2" name="Freeform: Shape 67"/>
            <p:cNvSpPr/>
            <p:nvPr/>
          </p:nvSpPr>
          <p:spPr>
            <a:xfrm>
              <a:off x="899639" y="4081320"/>
              <a:ext cx="106920" cy="68939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916" fill="none">
                  <a:moveTo>
                    <a:pt x="0" y="0"/>
                  </a:moveTo>
                  <a:lnTo>
                    <a:pt x="200" y="106"/>
                  </a:lnTo>
                  <a:lnTo>
                    <a:pt x="200" y="1916"/>
                  </a:lnTo>
                  <a:lnTo>
                    <a:pt x="298" y="1916"/>
                  </a:lnTo>
                  <a:lnTo>
                    <a:pt x="298" y="654"/>
                  </a:lnTo>
                  <a:lnTo>
                    <a:pt x="207" y="58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3" name="Straight Connector 72"/>
            <p:cNvSpPr/>
            <p:nvPr/>
          </p:nvSpPr>
          <p:spPr>
            <a:xfrm>
              <a:off x="939240" y="4200120"/>
              <a:ext cx="0" cy="551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4" name="Freeform: Shape 69"/>
            <p:cNvSpPr/>
            <p:nvPr/>
          </p:nvSpPr>
          <p:spPr>
            <a:xfrm>
              <a:off x="897119" y="4787640"/>
              <a:ext cx="377280" cy="138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49" h="385" fill="none">
                  <a:moveTo>
                    <a:pt x="0" y="385"/>
                  </a:moveTo>
                  <a:lnTo>
                    <a:pt x="0" y="0"/>
                  </a:lnTo>
                  <a:lnTo>
                    <a:pt x="437" y="0"/>
                  </a:lnTo>
                  <a:lnTo>
                    <a:pt x="437" y="335"/>
                  </a:lnTo>
                  <a:lnTo>
                    <a:pt x="512" y="335"/>
                  </a:lnTo>
                  <a:lnTo>
                    <a:pt x="512" y="0"/>
                  </a:lnTo>
                  <a:lnTo>
                    <a:pt x="793" y="0"/>
                  </a:lnTo>
                  <a:lnTo>
                    <a:pt x="793" y="344"/>
                  </a:lnTo>
                  <a:lnTo>
                    <a:pt x="1049" y="34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5" name="Straight Connector 74"/>
            <p:cNvSpPr/>
            <p:nvPr/>
          </p:nvSpPr>
          <p:spPr>
            <a:xfrm>
              <a:off x="779760" y="4958280"/>
              <a:ext cx="1854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6" name="Straight Connector 75"/>
            <p:cNvSpPr/>
            <p:nvPr/>
          </p:nvSpPr>
          <p:spPr>
            <a:xfrm>
              <a:off x="762480" y="4970160"/>
              <a:ext cx="0" cy="56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7" name="Straight Connector 76"/>
            <p:cNvSpPr/>
            <p:nvPr/>
          </p:nvSpPr>
          <p:spPr>
            <a:xfrm>
              <a:off x="1021679" y="4606560"/>
              <a:ext cx="748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8" name="Straight Connector 77"/>
            <p:cNvSpPr/>
            <p:nvPr/>
          </p:nvSpPr>
          <p:spPr>
            <a:xfrm>
              <a:off x="1042919" y="4552560"/>
              <a:ext cx="0" cy="54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9" name="Straight Connector 78"/>
            <p:cNvSpPr/>
            <p:nvPr/>
          </p:nvSpPr>
          <p:spPr>
            <a:xfrm>
              <a:off x="1065600" y="4552560"/>
              <a:ext cx="0" cy="54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0" name="Freeform: Shape 75"/>
            <p:cNvSpPr/>
            <p:nvPr/>
          </p:nvSpPr>
          <p:spPr>
            <a:xfrm>
              <a:off x="1042919" y="4679280"/>
              <a:ext cx="38160" cy="86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7" h="240">
                  <a:moveTo>
                    <a:pt x="54" y="240"/>
                  </a:moveTo>
                  <a:lnTo>
                    <a:pt x="0" y="240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2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1" name="Freeform: Shape 76"/>
            <p:cNvSpPr/>
            <p:nvPr/>
          </p:nvSpPr>
          <p:spPr>
            <a:xfrm>
              <a:off x="934199" y="4899960"/>
              <a:ext cx="72720" cy="29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3" h="84">
                  <a:moveTo>
                    <a:pt x="101" y="84"/>
                  </a:moveTo>
                  <a:lnTo>
                    <a:pt x="0" y="84"/>
                  </a:lnTo>
                  <a:lnTo>
                    <a:pt x="0" y="0"/>
                  </a:lnTo>
                  <a:lnTo>
                    <a:pt x="203" y="0"/>
                  </a:lnTo>
                  <a:lnTo>
                    <a:pt x="203" y="8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2" name="Freeform: Shape 77"/>
            <p:cNvSpPr/>
            <p:nvPr/>
          </p:nvSpPr>
          <p:spPr>
            <a:xfrm>
              <a:off x="1074600" y="4926240"/>
              <a:ext cx="168840" cy="41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70" h="117">
                  <a:moveTo>
                    <a:pt x="235" y="117"/>
                  </a:moveTo>
                  <a:lnTo>
                    <a:pt x="0" y="117"/>
                  </a:lnTo>
                  <a:lnTo>
                    <a:pt x="0" y="0"/>
                  </a:lnTo>
                  <a:lnTo>
                    <a:pt x="470" y="0"/>
                  </a:lnTo>
                  <a:lnTo>
                    <a:pt x="470" y="11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3" name="Freeform: Shape 78"/>
            <p:cNvSpPr/>
            <p:nvPr/>
          </p:nvSpPr>
          <p:spPr>
            <a:xfrm>
              <a:off x="741600" y="4759200"/>
              <a:ext cx="51480" cy="85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4" h="238" fill="none">
                  <a:moveTo>
                    <a:pt x="144" y="238"/>
                  </a:moveTo>
                  <a:lnTo>
                    <a:pt x="0" y="238"/>
                  </a:lnTo>
                  <a:lnTo>
                    <a:pt x="0" y="0"/>
                  </a:lnTo>
                  <a:lnTo>
                    <a:pt x="144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4" name="Straight Connector 83"/>
            <p:cNvSpPr/>
            <p:nvPr/>
          </p:nvSpPr>
          <p:spPr>
            <a:xfrm>
              <a:off x="736200" y="43902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5" name="Straight Connector 84"/>
            <p:cNvSpPr/>
            <p:nvPr/>
          </p:nvSpPr>
          <p:spPr>
            <a:xfrm>
              <a:off x="736200" y="44190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6" name="Straight Connector 85"/>
            <p:cNvSpPr/>
            <p:nvPr/>
          </p:nvSpPr>
          <p:spPr>
            <a:xfrm>
              <a:off x="736200" y="44478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" name="Straight Connector 86"/>
            <p:cNvSpPr/>
            <p:nvPr/>
          </p:nvSpPr>
          <p:spPr>
            <a:xfrm>
              <a:off x="736200" y="44762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8" name="Straight Connector 87"/>
            <p:cNvSpPr/>
            <p:nvPr/>
          </p:nvSpPr>
          <p:spPr>
            <a:xfrm>
              <a:off x="736200" y="45050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9" name="Straight Connector 88"/>
            <p:cNvSpPr/>
            <p:nvPr/>
          </p:nvSpPr>
          <p:spPr>
            <a:xfrm>
              <a:off x="736200" y="45338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0" name="Straight Connector 89"/>
            <p:cNvSpPr/>
            <p:nvPr/>
          </p:nvSpPr>
          <p:spPr>
            <a:xfrm>
              <a:off x="736200" y="45626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1" name="Straight Connector 90"/>
            <p:cNvSpPr/>
            <p:nvPr/>
          </p:nvSpPr>
          <p:spPr>
            <a:xfrm>
              <a:off x="736200" y="45914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2" name="Straight Connector 91"/>
            <p:cNvSpPr/>
            <p:nvPr/>
          </p:nvSpPr>
          <p:spPr>
            <a:xfrm>
              <a:off x="736200" y="46202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3" name="Straight Connector 92"/>
            <p:cNvSpPr/>
            <p:nvPr/>
          </p:nvSpPr>
          <p:spPr>
            <a:xfrm>
              <a:off x="736200" y="46494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4" name="Straight Connector 93"/>
            <p:cNvSpPr/>
            <p:nvPr/>
          </p:nvSpPr>
          <p:spPr>
            <a:xfrm>
              <a:off x="736200" y="46778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5" name="Straight Connector 94"/>
            <p:cNvSpPr/>
            <p:nvPr/>
          </p:nvSpPr>
          <p:spPr>
            <a:xfrm>
              <a:off x="736200" y="47066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6" name="Straight Connector 95"/>
            <p:cNvSpPr/>
            <p:nvPr/>
          </p:nvSpPr>
          <p:spPr>
            <a:xfrm>
              <a:off x="974160" y="4316760"/>
              <a:ext cx="32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7" name="Straight Connector 96"/>
            <p:cNvSpPr/>
            <p:nvPr/>
          </p:nvSpPr>
          <p:spPr>
            <a:xfrm>
              <a:off x="1169640" y="4992480"/>
              <a:ext cx="2077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8" name="Straight Connector 97"/>
            <p:cNvSpPr/>
            <p:nvPr/>
          </p:nvSpPr>
          <p:spPr>
            <a:xfrm>
              <a:off x="1305000" y="4922640"/>
              <a:ext cx="250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9" name="Freeform: Shape 94"/>
            <p:cNvSpPr/>
            <p:nvPr/>
          </p:nvSpPr>
          <p:spPr>
            <a:xfrm>
              <a:off x="1096560" y="4136760"/>
              <a:ext cx="285480" cy="740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4" h="2058">
                  <a:moveTo>
                    <a:pt x="0" y="1774"/>
                  </a:moveTo>
                  <a:lnTo>
                    <a:pt x="0" y="0"/>
                  </a:lnTo>
                  <a:lnTo>
                    <a:pt x="541" y="0"/>
                  </a:lnTo>
                  <a:lnTo>
                    <a:pt x="794" y="1518"/>
                  </a:lnTo>
                  <a:lnTo>
                    <a:pt x="655" y="1518"/>
                  </a:lnTo>
                  <a:lnTo>
                    <a:pt x="655" y="1746"/>
                  </a:lnTo>
                  <a:lnTo>
                    <a:pt x="541" y="1746"/>
                  </a:lnTo>
                  <a:lnTo>
                    <a:pt x="541" y="2058"/>
                  </a:lnTo>
                  <a:lnTo>
                    <a:pt x="456" y="2058"/>
                  </a:lnTo>
                  <a:lnTo>
                    <a:pt x="158" y="78"/>
                  </a:lnTo>
                  <a:lnTo>
                    <a:pt x="77" y="78"/>
                  </a:lnTo>
                  <a:lnTo>
                    <a:pt x="77" y="177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0" name="Freeform: Shape 95"/>
            <p:cNvSpPr/>
            <p:nvPr/>
          </p:nvSpPr>
          <p:spPr>
            <a:xfrm>
              <a:off x="1348920" y="4669560"/>
              <a:ext cx="316440" cy="212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0" h="592" fill="none">
                  <a:moveTo>
                    <a:pt x="0" y="85"/>
                  </a:moveTo>
                  <a:lnTo>
                    <a:pt x="275" y="85"/>
                  </a:lnTo>
                  <a:lnTo>
                    <a:pt x="275" y="0"/>
                  </a:lnTo>
                  <a:lnTo>
                    <a:pt x="412" y="0"/>
                  </a:lnTo>
                  <a:lnTo>
                    <a:pt x="412" y="209"/>
                  </a:lnTo>
                  <a:lnTo>
                    <a:pt x="582" y="209"/>
                  </a:lnTo>
                  <a:lnTo>
                    <a:pt x="582" y="592"/>
                  </a:lnTo>
                  <a:lnTo>
                    <a:pt x="880" y="59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1" name="Straight Connector 100"/>
            <p:cNvSpPr/>
            <p:nvPr/>
          </p:nvSpPr>
          <p:spPr>
            <a:xfrm>
              <a:off x="1428120" y="4977720"/>
              <a:ext cx="516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2" name="Freeform: Shape 97"/>
            <p:cNvSpPr/>
            <p:nvPr/>
          </p:nvSpPr>
          <p:spPr>
            <a:xfrm>
              <a:off x="1352520" y="4721760"/>
              <a:ext cx="54000" cy="176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490">
                  <a:moveTo>
                    <a:pt x="76" y="490"/>
                  </a:moveTo>
                  <a:lnTo>
                    <a:pt x="0" y="490"/>
                  </a:lnTo>
                  <a:lnTo>
                    <a:pt x="0" y="0"/>
                  </a:lnTo>
                  <a:lnTo>
                    <a:pt x="151" y="0"/>
                  </a:lnTo>
                  <a:lnTo>
                    <a:pt x="151" y="49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3" name="Freeform: Shape 98"/>
            <p:cNvSpPr/>
            <p:nvPr/>
          </p:nvSpPr>
          <p:spPr>
            <a:xfrm>
              <a:off x="1435320" y="4842720"/>
              <a:ext cx="104760" cy="24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2" h="69">
                  <a:moveTo>
                    <a:pt x="146" y="69"/>
                  </a:moveTo>
                  <a:lnTo>
                    <a:pt x="0" y="69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292" y="6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4" name="Straight Connector 103"/>
            <p:cNvSpPr/>
            <p:nvPr/>
          </p:nvSpPr>
          <p:spPr>
            <a:xfrm>
              <a:off x="1377359" y="4548239"/>
              <a:ext cx="0" cy="31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5" name="Freeform: Shape 100"/>
            <p:cNvSpPr/>
            <p:nvPr/>
          </p:nvSpPr>
          <p:spPr>
            <a:xfrm>
              <a:off x="1396439" y="4129200"/>
              <a:ext cx="240480" cy="694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69" h="1929">
                  <a:moveTo>
                    <a:pt x="4" y="1419"/>
                  </a:moveTo>
                  <a:cubicBezTo>
                    <a:pt x="4" y="1419"/>
                    <a:pt x="-63" y="664"/>
                    <a:pt x="337" y="0"/>
                  </a:cubicBezTo>
                  <a:cubicBezTo>
                    <a:pt x="337" y="0"/>
                    <a:pt x="845" y="812"/>
                    <a:pt x="603" y="192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6" name="Freeform: Shape 101"/>
            <p:cNvSpPr/>
            <p:nvPr/>
          </p:nvSpPr>
          <p:spPr>
            <a:xfrm>
              <a:off x="1485359" y="4201560"/>
              <a:ext cx="99360" cy="114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7" h="320">
                  <a:moveTo>
                    <a:pt x="0" y="0"/>
                  </a:moveTo>
                  <a:cubicBezTo>
                    <a:pt x="0" y="0"/>
                    <a:pt x="103" y="215"/>
                    <a:pt x="277" y="32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7" name="Freeform: Shape 102"/>
            <p:cNvSpPr/>
            <p:nvPr/>
          </p:nvSpPr>
          <p:spPr>
            <a:xfrm>
              <a:off x="1468800" y="4279680"/>
              <a:ext cx="127080" cy="144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0" y="0"/>
                  </a:moveTo>
                  <a:cubicBezTo>
                    <a:pt x="0" y="0"/>
                    <a:pt x="132" y="269"/>
                    <a:pt x="354" y="40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8" name="Freeform: Shape 103"/>
            <p:cNvSpPr/>
            <p:nvPr/>
          </p:nvSpPr>
          <p:spPr>
            <a:xfrm>
              <a:off x="1452240" y="4358520"/>
              <a:ext cx="149400" cy="168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0" y="0"/>
                  </a:moveTo>
                  <a:cubicBezTo>
                    <a:pt x="0" y="0"/>
                    <a:pt x="155" y="315"/>
                    <a:pt x="416" y="46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9" name="Freeform: Shape 104"/>
            <p:cNvSpPr/>
            <p:nvPr/>
          </p:nvSpPr>
          <p:spPr>
            <a:xfrm>
              <a:off x="1435320" y="4435920"/>
              <a:ext cx="175320" cy="195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8" h="543">
                  <a:moveTo>
                    <a:pt x="0" y="0"/>
                  </a:moveTo>
                  <a:cubicBezTo>
                    <a:pt x="0" y="0"/>
                    <a:pt x="181" y="365"/>
                    <a:pt x="488" y="5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0" name="Freeform: Shape 105"/>
            <p:cNvSpPr/>
            <p:nvPr/>
          </p:nvSpPr>
          <p:spPr>
            <a:xfrm>
              <a:off x="1418760" y="4515480"/>
              <a:ext cx="194400" cy="2178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41" h="606">
                  <a:moveTo>
                    <a:pt x="0" y="0"/>
                  </a:moveTo>
                  <a:cubicBezTo>
                    <a:pt x="0" y="0"/>
                    <a:pt x="202" y="407"/>
                    <a:pt x="541" y="606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1" name="Freeform: Shape 106"/>
            <p:cNvSpPr/>
            <p:nvPr/>
          </p:nvSpPr>
          <p:spPr>
            <a:xfrm>
              <a:off x="1449719" y="4208760"/>
              <a:ext cx="99720" cy="115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321">
                  <a:moveTo>
                    <a:pt x="278" y="0"/>
                  </a:moveTo>
                  <a:cubicBezTo>
                    <a:pt x="278" y="0"/>
                    <a:pt x="174" y="216"/>
                    <a:pt x="0" y="32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2" name="Freeform: Shape 107"/>
            <p:cNvSpPr/>
            <p:nvPr/>
          </p:nvSpPr>
          <p:spPr>
            <a:xfrm>
              <a:off x="1438559" y="4286880"/>
              <a:ext cx="127080" cy="144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354" y="0"/>
                  </a:moveTo>
                  <a:cubicBezTo>
                    <a:pt x="354" y="0"/>
                    <a:pt x="222" y="270"/>
                    <a:pt x="0" y="40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3" name="Freeform: Shape 108"/>
            <p:cNvSpPr/>
            <p:nvPr/>
          </p:nvSpPr>
          <p:spPr>
            <a:xfrm>
              <a:off x="1432800" y="4366079"/>
              <a:ext cx="149400" cy="168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416" y="0"/>
                  </a:moveTo>
                  <a:cubicBezTo>
                    <a:pt x="416" y="0"/>
                    <a:pt x="261" y="315"/>
                    <a:pt x="0" y="46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4" name="Freeform: Shape 109"/>
            <p:cNvSpPr/>
            <p:nvPr/>
          </p:nvSpPr>
          <p:spPr>
            <a:xfrm>
              <a:off x="1424159" y="4443120"/>
              <a:ext cx="174960" cy="195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7" h="543">
                  <a:moveTo>
                    <a:pt x="487" y="0"/>
                  </a:moveTo>
                  <a:cubicBezTo>
                    <a:pt x="487" y="0"/>
                    <a:pt x="306" y="365"/>
                    <a:pt x="0" y="5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5" name="Freeform: Shape 110"/>
            <p:cNvSpPr/>
            <p:nvPr/>
          </p:nvSpPr>
          <p:spPr>
            <a:xfrm>
              <a:off x="1510199" y="4523040"/>
              <a:ext cx="105480" cy="146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4" h="409">
                  <a:moveTo>
                    <a:pt x="294" y="0"/>
                  </a:moveTo>
                  <a:cubicBezTo>
                    <a:pt x="294" y="0"/>
                    <a:pt x="188" y="215"/>
                    <a:pt x="0" y="40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6" name="Freeform: Shape 111"/>
            <p:cNvSpPr/>
            <p:nvPr/>
          </p:nvSpPr>
          <p:spPr>
            <a:xfrm>
              <a:off x="1690919" y="4317120"/>
              <a:ext cx="233280" cy="557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49" h="1549">
                  <a:moveTo>
                    <a:pt x="67" y="1549"/>
                  </a:moveTo>
                  <a:cubicBezTo>
                    <a:pt x="67" y="1549"/>
                    <a:pt x="-71" y="262"/>
                    <a:pt x="48" y="48"/>
                  </a:cubicBezTo>
                  <a:cubicBezTo>
                    <a:pt x="48" y="48"/>
                    <a:pt x="366" y="-69"/>
                    <a:pt x="605" y="61"/>
                  </a:cubicBezTo>
                  <a:cubicBezTo>
                    <a:pt x="605" y="61"/>
                    <a:pt x="723" y="431"/>
                    <a:pt x="573" y="1548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7" name="Freeform: Shape 112"/>
            <p:cNvSpPr/>
            <p:nvPr/>
          </p:nvSpPr>
          <p:spPr>
            <a:xfrm>
              <a:off x="1654919" y="4283280"/>
              <a:ext cx="54000" cy="585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1626">
                  <a:moveTo>
                    <a:pt x="79" y="1626"/>
                  </a:moveTo>
                  <a:cubicBezTo>
                    <a:pt x="79" y="1626"/>
                    <a:pt x="-95" y="347"/>
                    <a:pt x="73" y="0"/>
                  </a:cubicBezTo>
                  <a:lnTo>
                    <a:pt x="151" y="11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8" name="Freeform: Shape 113"/>
            <p:cNvSpPr/>
            <p:nvPr/>
          </p:nvSpPr>
          <p:spPr>
            <a:xfrm>
              <a:off x="1689479" y="4257720"/>
              <a:ext cx="252360" cy="511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2" h="1422">
                  <a:moveTo>
                    <a:pt x="0" y="47"/>
                  </a:moveTo>
                  <a:cubicBezTo>
                    <a:pt x="0" y="47"/>
                    <a:pt x="380" y="-73"/>
                    <a:pt x="608" y="71"/>
                  </a:cubicBezTo>
                  <a:cubicBezTo>
                    <a:pt x="608" y="71"/>
                    <a:pt x="782" y="185"/>
                    <a:pt x="657" y="142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9" name="Straight Connector 118"/>
            <p:cNvSpPr/>
            <p:nvPr/>
          </p:nvSpPr>
          <p:spPr>
            <a:xfrm flipV="1">
              <a:off x="1715039" y="4365000"/>
              <a:ext cx="188641" cy="107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0" name="Straight Connector 119"/>
            <p:cNvSpPr/>
            <p:nvPr/>
          </p:nvSpPr>
          <p:spPr>
            <a:xfrm flipV="1">
              <a:off x="1716480" y="4392720"/>
              <a:ext cx="18576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1" name="Straight Connector 120"/>
            <p:cNvSpPr/>
            <p:nvPr/>
          </p:nvSpPr>
          <p:spPr>
            <a:xfrm flipV="1">
              <a:off x="1718280" y="4420440"/>
              <a:ext cx="18252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2" name="Straight Connector 121"/>
            <p:cNvSpPr/>
            <p:nvPr/>
          </p:nvSpPr>
          <p:spPr>
            <a:xfrm flipV="1">
              <a:off x="1720080" y="4448160"/>
              <a:ext cx="17928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3" name="Straight Connector 122"/>
            <p:cNvSpPr/>
            <p:nvPr/>
          </p:nvSpPr>
          <p:spPr>
            <a:xfrm flipV="1">
              <a:off x="1721880" y="4475520"/>
              <a:ext cx="17640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4" name="Straight Connector 123"/>
            <p:cNvSpPr/>
            <p:nvPr/>
          </p:nvSpPr>
          <p:spPr>
            <a:xfrm flipV="1">
              <a:off x="1723680" y="4503240"/>
              <a:ext cx="17316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5" name="Straight Connector 124"/>
            <p:cNvSpPr/>
            <p:nvPr/>
          </p:nvSpPr>
          <p:spPr>
            <a:xfrm flipV="1">
              <a:off x="1725480" y="4530960"/>
              <a:ext cx="17028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6" name="Straight Connector 125"/>
            <p:cNvSpPr/>
            <p:nvPr/>
          </p:nvSpPr>
          <p:spPr>
            <a:xfrm flipV="1">
              <a:off x="1727280" y="4558680"/>
              <a:ext cx="16668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7" name="Straight Connector 126"/>
            <p:cNvSpPr/>
            <p:nvPr/>
          </p:nvSpPr>
          <p:spPr>
            <a:xfrm flipV="1">
              <a:off x="1728719" y="4586399"/>
              <a:ext cx="16380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8" name="Straight Connector 127"/>
            <p:cNvSpPr/>
            <p:nvPr/>
          </p:nvSpPr>
          <p:spPr>
            <a:xfrm flipV="1">
              <a:off x="1730519" y="4614120"/>
              <a:ext cx="16092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9" name="Straight Connector 128"/>
            <p:cNvSpPr/>
            <p:nvPr/>
          </p:nvSpPr>
          <p:spPr>
            <a:xfrm flipV="1">
              <a:off x="1732319" y="4641840"/>
              <a:ext cx="157681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0" name="Straight Connector 129"/>
            <p:cNvSpPr/>
            <p:nvPr/>
          </p:nvSpPr>
          <p:spPr>
            <a:xfrm>
              <a:off x="1734119" y="4669560"/>
              <a:ext cx="1548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1" name="Straight Connector 130"/>
            <p:cNvSpPr/>
            <p:nvPr/>
          </p:nvSpPr>
          <p:spPr>
            <a:xfrm flipV="1">
              <a:off x="1735919" y="4697279"/>
              <a:ext cx="151561" cy="3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2" name="Straight Connector 131"/>
            <p:cNvSpPr/>
            <p:nvPr/>
          </p:nvSpPr>
          <p:spPr>
            <a:xfrm>
              <a:off x="1737719" y="4725000"/>
              <a:ext cx="1483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3" name="Straight Connector 132"/>
            <p:cNvSpPr/>
            <p:nvPr/>
          </p:nvSpPr>
          <p:spPr>
            <a:xfrm>
              <a:off x="1739160" y="4752720"/>
              <a:ext cx="1454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4" name="Straight Connector 133"/>
            <p:cNvSpPr/>
            <p:nvPr/>
          </p:nvSpPr>
          <p:spPr>
            <a:xfrm>
              <a:off x="1740960" y="4780440"/>
              <a:ext cx="142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5" name="Straight Connector 134"/>
            <p:cNvSpPr/>
            <p:nvPr/>
          </p:nvSpPr>
          <p:spPr>
            <a:xfrm>
              <a:off x="1742760" y="4808160"/>
              <a:ext cx="139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6" name="Straight Connector 135"/>
            <p:cNvSpPr/>
            <p:nvPr/>
          </p:nvSpPr>
          <p:spPr>
            <a:xfrm>
              <a:off x="1744560" y="4835880"/>
              <a:ext cx="1360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7" name="Straight Connector 136"/>
            <p:cNvSpPr/>
            <p:nvPr/>
          </p:nvSpPr>
          <p:spPr>
            <a:xfrm>
              <a:off x="1745999" y="4863600"/>
              <a:ext cx="1332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8" name="Straight Connector 137"/>
            <p:cNvSpPr/>
            <p:nvPr/>
          </p:nvSpPr>
          <p:spPr>
            <a:xfrm>
              <a:off x="1628999" y="4732560"/>
              <a:ext cx="392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9" name="Straight Connector 138"/>
            <p:cNvSpPr/>
            <p:nvPr/>
          </p:nvSpPr>
          <p:spPr>
            <a:xfrm>
              <a:off x="1646640" y="4785120"/>
              <a:ext cx="0" cy="576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0" name="Straight Connector 139"/>
            <p:cNvSpPr/>
            <p:nvPr/>
          </p:nvSpPr>
          <p:spPr>
            <a:xfrm>
              <a:off x="1704240" y="4898160"/>
              <a:ext cx="1537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1" name="Straight Connector 140"/>
            <p:cNvSpPr/>
            <p:nvPr/>
          </p:nvSpPr>
          <p:spPr>
            <a:xfrm>
              <a:off x="1907280" y="4919400"/>
              <a:ext cx="46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2" name="Straight Connector 141"/>
            <p:cNvSpPr/>
            <p:nvPr/>
          </p:nvSpPr>
          <p:spPr>
            <a:xfrm>
              <a:off x="2045880" y="4927680"/>
              <a:ext cx="0" cy="82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3" name="Straight Connector 142"/>
            <p:cNvSpPr/>
            <p:nvPr/>
          </p:nvSpPr>
          <p:spPr>
            <a:xfrm>
              <a:off x="2111760" y="4963320"/>
              <a:ext cx="65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4" name="Straight Connector 143"/>
            <p:cNvSpPr/>
            <p:nvPr/>
          </p:nvSpPr>
          <p:spPr>
            <a:xfrm>
              <a:off x="2116800" y="4997160"/>
              <a:ext cx="56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5" name="Straight Connector 144"/>
            <p:cNvSpPr/>
            <p:nvPr/>
          </p:nvSpPr>
          <p:spPr>
            <a:xfrm>
              <a:off x="1916639" y="4771440"/>
              <a:ext cx="878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6" name="Straight Connector 145"/>
            <p:cNvSpPr/>
            <p:nvPr/>
          </p:nvSpPr>
          <p:spPr>
            <a:xfrm>
              <a:off x="2136240" y="4767839"/>
              <a:ext cx="511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7" name="Straight Connector 146"/>
            <p:cNvSpPr/>
            <p:nvPr/>
          </p:nvSpPr>
          <p:spPr>
            <a:xfrm>
              <a:off x="2167920" y="4729319"/>
              <a:ext cx="0" cy="38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8" name="Straight Connector 147"/>
            <p:cNvSpPr/>
            <p:nvPr/>
          </p:nvSpPr>
          <p:spPr>
            <a:xfrm>
              <a:off x="2180160" y="4842720"/>
              <a:ext cx="0" cy="694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9" name="Straight Connector 148"/>
            <p:cNvSpPr/>
            <p:nvPr/>
          </p:nvSpPr>
          <p:spPr>
            <a:xfrm>
              <a:off x="1990079" y="4697279"/>
              <a:ext cx="0" cy="486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0" name="Straight Connector 149"/>
            <p:cNvSpPr/>
            <p:nvPr/>
          </p:nvSpPr>
          <p:spPr>
            <a:xfrm>
              <a:off x="2014200" y="4697640"/>
              <a:ext cx="0" cy="48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1" name="Straight Connector 150"/>
            <p:cNvSpPr/>
            <p:nvPr/>
          </p:nvSpPr>
          <p:spPr>
            <a:xfrm>
              <a:off x="2038679" y="4697640"/>
              <a:ext cx="0" cy="48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2" name="Straight Connector 151"/>
            <p:cNvSpPr/>
            <p:nvPr/>
          </p:nvSpPr>
          <p:spPr>
            <a:xfrm>
              <a:off x="2063160" y="4697640"/>
              <a:ext cx="0" cy="48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3" name="Straight Connector 152"/>
            <p:cNvSpPr/>
            <p:nvPr/>
          </p:nvSpPr>
          <p:spPr>
            <a:xfrm>
              <a:off x="2087640" y="4698000"/>
              <a:ext cx="0" cy="47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4" name="Straight Connector 153"/>
            <p:cNvSpPr/>
            <p:nvPr/>
          </p:nvSpPr>
          <p:spPr>
            <a:xfrm>
              <a:off x="2111760" y="4698000"/>
              <a:ext cx="0" cy="47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5" name="Straight Connector 154"/>
            <p:cNvSpPr/>
            <p:nvPr/>
          </p:nvSpPr>
          <p:spPr>
            <a:xfrm>
              <a:off x="2136240" y="4698360"/>
              <a:ext cx="0" cy="47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6" name="Straight Connector 155"/>
            <p:cNvSpPr/>
            <p:nvPr/>
          </p:nvSpPr>
          <p:spPr>
            <a:xfrm>
              <a:off x="1971360" y="479880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7" name="Straight Connector 156"/>
            <p:cNvSpPr/>
            <p:nvPr/>
          </p:nvSpPr>
          <p:spPr>
            <a:xfrm>
              <a:off x="2156760" y="479880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8" name="Straight Connector 157"/>
            <p:cNvSpPr/>
            <p:nvPr/>
          </p:nvSpPr>
          <p:spPr>
            <a:xfrm>
              <a:off x="1979640" y="467280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9" name="Freeform: Shape 154"/>
            <p:cNvSpPr/>
            <p:nvPr/>
          </p:nvSpPr>
          <p:spPr>
            <a:xfrm>
              <a:off x="1982160" y="4551480"/>
              <a:ext cx="160920" cy="96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48" h="268">
                  <a:moveTo>
                    <a:pt x="448" y="268"/>
                  </a:moveTo>
                  <a:lnTo>
                    <a:pt x="0" y="268"/>
                  </a:lnTo>
                  <a:cubicBezTo>
                    <a:pt x="0" y="268"/>
                    <a:pt x="60" y="0"/>
                    <a:pt x="225" y="0"/>
                  </a:cubicBezTo>
                  <a:cubicBezTo>
                    <a:pt x="390" y="0"/>
                    <a:pt x="448" y="268"/>
                    <a:pt x="448" y="26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0" name="Straight Connector 159"/>
            <p:cNvSpPr/>
            <p:nvPr/>
          </p:nvSpPr>
          <p:spPr>
            <a:xfrm>
              <a:off x="2045880" y="4528440"/>
              <a:ext cx="34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1" name="Straight Connector 160"/>
            <p:cNvSpPr/>
            <p:nvPr/>
          </p:nvSpPr>
          <p:spPr>
            <a:xfrm>
              <a:off x="2052000" y="4505760"/>
              <a:ext cx="241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2" name="Straight Connector 161"/>
            <p:cNvSpPr/>
            <p:nvPr/>
          </p:nvSpPr>
          <p:spPr>
            <a:xfrm>
              <a:off x="2064240" y="4431960"/>
              <a:ext cx="0" cy="43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3" name="Straight Connector 162"/>
            <p:cNvSpPr/>
            <p:nvPr/>
          </p:nvSpPr>
          <p:spPr>
            <a:xfrm>
              <a:off x="2031480" y="4878720"/>
              <a:ext cx="644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4" name="Straight Connector 163"/>
            <p:cNvSpPr/>
            <p:nvPr/>
          </p:nvSpPr>
          <p:spPr>
            <a:xfrm>
              <a:off x="2223360" y="4723559"/>
              <a:ext cx="72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5" name="Straight Connector 164"/>
            <p:cNvSpPr/>
            <p:nvPr/>
          </p:nvSpPr>
          <p:spPr>
            <a:xfrm>
              <a:off x="2210040" y="4627440"/>
              <a:ext cx="0" cy="84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6" name="Straight Connector 165"/>
            <p:cNvSpPr/>
            <p:nvPr/>
          </p:nvSpPr>
          <p:spPr>
            <a:xfrm>
              <a:off x="2305080" y="4627440"/>
              <a:ext cx="0" cy="84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7" name="Straight Connector 166"/>
            <p:cNvSpPr/>
            <p:nvPr/>
          </p:nvSpPr>
          <p:spPr>
            <a:xfrm>
              <a:off x="2214719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8" name="Straight Connector 167"/>
            <p:cNvSpPr/>
            <p:nvPr/>
          </p:nvSpPr>
          <p:spPr>
            <a:xfrm>
              <a:off x="223704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9" name="Straight Connector 168"/>
            <p:cNvSpPr/>
            <p:nvPr/>
          </p:nvSpPr>
          <p:spPr>
            <a:xfrm>
              <a:off x="225900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0" name="Straight Connector 169"/>
            <p:cNvSpPr/>
            <p:nvPr/>
          </p:nvSpPr>
          <p:spPr>
            <a:xfrm>
              <a:off x="228096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1" name="Straight Connector 170"/>
            <p:cNvSpPr/>
            <p:nvPr/>
          </p:nvSpPr>
          <p:spPr>
            <a:xfrm>
              <a:off x="230292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2" name="Freeform: Shape 167"/>
            <p:cNvSpPr/>
            <p:nvPr/>
          </p:nvSpPr>
          <p:spPr>
            <a:xfrm>
              <a:off x="2206440" y="4525560"/>
              <a:ext cx="99720" cy="85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239" fill="none">
                  <a:moveTo>
                    <a:pt x="0" y="239"/>
                  </a:moveTo>
                  <a:lnTo>
                    <a:pt x="72" y="123"/>
                  </a:lnTo>
                  <a:lnTo>
                    <a:pt x="72" y="0"/>
                  </a:lnTo>
                  <a:lnTo>
                    <a:pt x="204" y="0"/>
                  </a:lnTo>
                  <a:lnTo>
                    <a:pt x="204" y="119"/>
                  </a:lnTo>
                  <a:lnTo>
                    <a:pt x="278" y="2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3" name="Freeform: Shape 168"/>
            <p:cNvSpPr/>
            <p:nvPr/>
          </p:nvSpPr>
          <p:spPr>
            <a:xfrm>
              <a:off x="2235960" y="4650120"/>
              <a:ext cx="43920" cy="43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3" h="123">
                  <a:moveTo>
                    <a:pt x="123" y="61"/>
                  </a:moveTo>
                  <a:cubicBezTo>
                    <a:pt x="123" y="73"/>
                    <a:pt x="121" y="82"/>
                    <a:pt x="115" y="92"/>
                  </a:cubicBezTo>
                  <a:cubicBezTo>
                    <a:pt x="109" y="102"/>
                    <a:pt x="101" y="109"/>
                    <a:pt x="92" y="115"/>
                  </a:cubicBezTo>
                  <a:cubicBezTo>
                    <a:pt x="82" y="120"/>
                    <a:pt x="73" y="123"/>
                    <a:pt x="62" y="123"/>
                  </a:cubicBezTo>
                  <a:cubicBezTo>
                    <a:pt x="50" y="123"/>
                    <a:pt x="41" y="120"/>
                    <a:pt x="31" y="115"/>
                  </a:cubicBezTo>
                  <a:cubicBezTo>
                    <a:pt x="21" y="109"/>
                    <a:pt x="14" y="102"/>
                    <a:pt x="8" y="92"/>
                  </a:cubicBezTo>
                  <a:cubicBezTo>
                    <a:pt x="2" y="82"/>
                    <a:pt x="0" y="72"/>
                    <a:pt x="0" y="61"/>
                  </a:cubicBezTo>
                  <a:cubicBezTo>
                    <a:pt x="0" y="49"/>
                    <a:pt x="2" y="40"/>
                    <a:pt x="8" y="30"/>
                  </a:cubicBezTo>
                  <a:cubicBezTo>
                    <a:pt x="14" y="20"/>
                    <a:pt x="21" y="14"/>
                    <a:pt x="31" y="8"/>
                  </a:cubicBezTo>
                  <a:cubicBezTo>
                    <a:pt x="41" y="2"/>
                    <a:pt x="50" y="0"/>
                    <a:pt x="62" y="0"/>
                  </a:cubicBezTo>
                  <a:cubicBezTo>
                    <a:pt x="73" y="0"/>
                    <a:pt x="82" y="2"/>
                    <a:pt x="92" y="8"/>
                  </a:cubicBezTo>
                  <a:cubicBezTo>
                    <a:pt x="101" y="14"/>
                    <a:pt x="109" y="20"/>
                    <a:pt x="115" y="30"/>
                  </a:cubicBezTo>
                  <a:cubicBezTo>
                    <a:pt x="121" y="39"/>
                    <a:pt x="123" y="50"/>
                    <a:pt x="123" y="61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4" name="Straight Connector 173"/>
            <p:cNvSpPr/>
            <p:nvPr/>
          </p:nvSpPr>
          <p:spPr>
            <a:xfrm>
              <a:off x="2231640" y="4603320"/>
              <a:ext cx="50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5" name="Straight Connector 174"/>
            <p:cNvSpPr/>
            <p:nvPr/>
          </p:nvSpPr>
          <p:spPr>
            <a:xfrm>
              <a:off x="2231640" y="4620600"/>
              <a:ext cx="50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6" name="Straight Connector 175"/>
            <p:cNvSpPr/>
            <p:nvPr/>
          </p:nvSpPr>
          <p:spPr>
            <a:xfrm>
              <a:off x="2232360" y="4569840"/>
              <a:ext cx="47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7" name="Freeform: Shape 172"/>
            <p:cNvSpPr/>
            <p:nvPr/>
          </p:nvSpPr>
          <p:spPr>
            <a:xfrm>
              <a:off x="2232360" y="4487760"/>
              <a:ext cx="47160" cy="37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2" h="105" fill="none">
                  <a:moveTo>
                    <a:pt x="0" y="105"/>
                  </a:moveTo>
                  <a:lnTo>
                    <a:pt x="67" y="0"/>
                  </a:lnTo>
                  <a:lnTo>
                    <a:pt x="132" y="10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8" name="Straight Connector 177"/>
            <p:cNvSpPr/>
            <p:nvPr/>
          </p:nvSpPr>
          <p:spPr>
            <a:xfrm>
              <a:off x="2257200" y="4539600"/>
              <a:ext cx="0" cy="20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9" name="Straight Connector 178"/>
            <p:cNvSpPr/>
            <p:nvPr/>
          </p:nvSpPr>
          <p:spPr>
            <a:xfrm flipV="1">
              <a:off x="2256480" y="4451760"/>
              <a:ext cx="0" cy="36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0" name="Straight Connector 179"/>
            <p:cNvSpPr/>
            <p:nvPr/>
          </p:nvSpPr>
          <p:spPr>
            <a:xfrm>
              <a:off x="2345039" y="4777560"/>
              <a:ext cx="0" cy="81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1" name="Straight Connector 180"/>
            <p:cNvSpPr/>
            <p:nvPr/>
          </p:nvSpPr>
          <p:spPr>
            <a:xfrm>
              <a:off x="2319120" y="4858920"/>
              <a:ext cx="50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2" name="Straight Connector 181"/>
            <p:cNvSpPr/>
            <p:nvPr/>
          </p:nvSpPr>
          <p:spPr>
            <a:xfrm>
              <a:off x="2247480" y="4997160"/>
              <a:ext cx="4143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3" name="Freeform: Shape 178"/>
            <p:cNvSpPr/>
            <p:nvPr/>
          </p:nvSpPr>
          <p:spPr>
            <a:xfrm>
              <a:off x="2357280" y="3765960"/>
              <a:ext cx="304200" cy="1213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46" h="3372" fill="none">
                  <a:moveTo>
                    <a:pt x="0" y="3372"/>
                  </a:moveTo>
                  <a:lnTo>
                    <a:pt x="348" y="0"/>
                  </a:lnTo>
                  <a:lnTo>
                    <a:pt x="408" y="169"/>
                  </a:lnTo>
                  <a:lnTo>
                    <a:pt x="468" y="0"/>
                  </a:lnTo>
                  <a:lnTo>
                    <a:pt x="846" y="336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4" name="Straight Connector 183"/>
            <p:cNvSpPr/>
            <p:nvPr/>
          </p:nvSpPr>
          <p:spPr>
            <a:xfrm>
              <a:off x="2508841" y="3855598"/>
              <a:ext cx="123081" cy="111600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5" name="Straight Connector 184"/>
            <p:cNvSpPr/>
            <p:nvPr/>
          </p:nvSpPr>
          <p:spPr>
            <a:xfrm>
              <a:off x="2644560" y="4823280"/>
              <a:ext cx="121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6" name="Straight Connector 185"/>
            <p:cNvSpPr/>
            <p:nvPr/>
          </p:nvSpPr>
          <p:spPr>
            <a:xfrm>
              <a:off x="2693520" y="4893480"/>
              <a:ext cx="0" cy="11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7" name="Straight Connector 186"/>
            <p:cNvSpPr/>
            <p:nvPr/>
          </p:nvSpPr>
          <p:spPr>
            <a:xfrm>
              <a:off x="3372120" y="4893480"/>
              <a:ext cx="0" cy="11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8" name="Straight Connector 187"/>
            <p:cNvSpPr/>
            <p:nvPr/>
          </p:nvSpPr>
          <p:spPr>
            <a:xfrm>
              <a:off x="2856960" y="4997160"/>
              <a:ext cx="2509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9" name="Straight Connector 188"/>
            <p:cNvSpPr/>
            <p:nvPr/>
          </p:nvSpPr>
          <p:spPr>
            <a:xfrm>
              <a:off x="2905560" y="5026680"/>
              <a:ext cx="72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0" name="Straight Connector 189"/>
            <p:cNvSpPr/>
            <p:nvPr/>
          </p:nvSpPr>
          <p:spPr>
            <a:xfrm>
              <a:off x="2657880" y="4673160"/>
              <a:ext cx="64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1" name="Straight Connector 190"/>
            <p:cNvSpPr/>
            <p:nvPr/>
          </p:nvSpPr>
          <p:spPr>
            <a:xfrm>
              <a:off x="2809800" y="4673160"/>
              <a:ext cx="1411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2" name="Straight Connector 191"/>
            <p:cNvSpPr/>
            <p:nvPr/>
          </p:nvSpPr>
          <p:spPr>
            <a:xfrm>
              <a:off x="2724480" y="4582440"/>
              <a:ext cx="0" cy="189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3" name="Freeform: Shape 188"/>
            <p:cNvSpPr/>
            <p:nvPr/>
          </p:nvSpPr>
          <p:spPr>
            <a:xfrm>
              <a:off x="2809800" y="4582440"/>
              <a:ext cx="333720" cy="307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8" h="855" fill="none">
                  <a:moveTo>
                    <a:pt x="0" y="0"/>
                  </a:moveTo>
                  <a:lnTo>
                    <a:pt x="0" y="855"/>
                  </a:lnTo>
                  <a:lnTo>
                    <a:pt x="928" y="855"/>
                  </a:lnTo>
                  <a:lnTo>
                    <a:pt x="883" y="782"/>
                  </a:lnTo>
                  <a:lnTo>
                    <a:pt x="77" y="78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4" name="Straight Connector 193"/>
            <p:cNvSpPr/>
            <p:nvPr/>
          </p:nvSpPr>
          <p:spPr>
            <a:xfrm>
              <a:off x="2765880" y="4582440"/>
              <a:ext cx="0" cy="42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5" name="Straight Connector 194"/>
            <p:cNvSpPr/>
            <p:nvPr/>
          </p:nvSpPr>
          <p:spPr>
            <a:xfrm>
              <a:off x="2765880" y="4669920"/>
              <a:ext cx="0" cy="18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6" name="Straight Connector 195"/>
            <p:cNvSpPr/>
            <p:nvPr/>
          </p:nvSpPr>
          <p:spPr>
            <a:xfrm>
              <a:off x="2700000" y="4565160"/>
              <a:ext cx="133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7" name="Freeform: Shape 192"/>
            <p:cNvSpPr/>
            <p:nvPr/>
          </p:nvSpPr>
          <p:spPr>
            <a:xfrm>
              <a:off x="2710800" y="4506840"/>
              <a:ext cx="106920" cy="44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8" name="Straight Connector 197"/>
            <p:cNvSpPr/>
            <p:nvPr/>
          </p:nvSpPr>
          <p:spPr>
            <a:xfrm>
              <a:off x="2766960" y="4424040"/>
              <a:ext cx="0" cy="83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9" name="Freeform: Shape 194"/>
            <p:cNvSpPr/>
            <p:nvPr/>
          </p:nvSpPr>
          <p:spPr>
            <a:xfrm>
              <a:off x="3039120" y="4673160"/>
              <a:ext cx="411480" cy="626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44" h="175" fill="none">
                  <a:moveTo>
                    <a:pt x="0" y="0"/>
                  </a:moveTo>
                  <a:lnTo>
                    <a:pt x="1144" y="0"/>
                  </a:lnTo>
                  <a:lnTo>
                    <a:pt x="1144" y="175"/>
                  </a:lnTo>
                  <a:lnTo>
                    <a:pt x="780" y="175"/>
                  </a:lnTo>
                  <a:lnTo>
                    <a:pt x="780" y="8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0" name="Straight Connector 199"/>
            <p:cNvSpPr/>
            <p:nvPr/>
          </p:nvSpPr>
          <p:spPr>
            <a:xfrm>
              <a:off x="2953800" y="4582440"/>
              <a:ext cx="0" cy="189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1" name="Straight Connector 200"/>
            <p:cNvSpPr/>
            <p:nvPr/>
          </p:nvSpPr>
          <p:spPr>
            <a:xfrm>
              <a:off x="3039120" y="4582440"/>
              <a:ext cx="0" cy="189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2" name="Straight Connector 201"/>
            <p:cNvSpPr/>
            <p:nvPr/>
          </p:nvSpPr>
          <p:spPr>
            <a:xfrm>
              <a:off x="2995560" y="4582440"/>
              <a:ext cx="0" cy="42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3" name="Straight Connector 202"/>
            <p:cNvSpPr/>
            <p:nvPr/>
          </p:nvSpPr>
          <p:spPr>
            <a:xfrm>
              <a:off x="2995560" y="4669920"/>
              <a:ext cx="0" cy="18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4" name="Straight Connector 203"/>
            <p:cNvSpPr/>
            <p:nvPr/>
          </p:nvSpPr>
          <p:spPr>
            <a:xfrm>
              <a:off x="2929679" y="4565160"/>
              <a:ext cx="1339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5" name="Freeform: Shape 200"/>
            <p:cNvSpPr/>
            <p:nvPr/>
          </p:nvSpPr>
          <p:spPr>
            <a:xfrm>
              <a:off x="2940479" y="4506840"/>
              <a:ext cx="106920" cy="44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6" name="Straight Connector 205"/>
            <p:cNvSpPr/>
            <p:nvPr/>
          </p:nvSpPr>
          <p:spPr>
            <a:xfrm>
              <a:off x="2996640" y="4424040"/>
              <a:ext cx="0" cy="83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7" name="Freeform: Shape 202"/>
            <p:cNvSpPr/>
            <p:nvPr/>
          </p:nvSpPr>
          <p:spPr>
            <a:xfrm>
              <a:off x="3064320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8" name="Freeform: Shape 203"/>
            <p:cNvSpPr/>
            <p:nvPr/>
          </p:nvSpPr>
          <p:spPr>
            <a:xfrm>
              <a:off x="3151440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9" name="Freeform: Shape 204"/>
            <p:cNvSpPr/>
            <p:nvPr/>
          </p:nvSpPr>
          <p:spPr>
            <a:xfrm>
              <a:off x="3238560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0" name="Freeform: Shape 205"/>
            <p:cNvSpPr/>
            <p:nvPr/>
          </p:nvSpPr>
          <p:spPr>
            <a:xfrm>
              <a:off x="3325679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1" name="Freeform: Shape 206"/>
            <p:cNvSpPr/>
            <p:nvPr/>
          </p:nvSpPr>
          <p:spPr>
            <a:xfrm>
              <a:off x="2714040" y="4930200"/>
              <a:ext cx="18900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2" name="Freeform: Shape 207"/>
            <p:cNvSpPr/>
            <p:nvPr/>
          </p:nvSpPr>
          <p:spPr>
            <a:xfrm>
              <a:off x="2940120" y="4930200"/>
              <a:ext cx="18864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5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5" y="132"/>
                    <a:pt x="525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3" name="Freeform: Shape 208"/>
            <p:cNvSpPr/>
            <p:nvPr/>
          </p:nvSpPr>
          <p:spPr>
            <a:xfrm>
              <a:off x="3166200" y="4930200"/>
              <a:ext cx="18900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3" y="0"/>
                    <a:pt x="277" y="0"/>
                  </a:cubicBezTo>
                  <a:cubicBezTo>
                    <a:pt x="491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4" name="Straight Connector 213"/>
            <p:cNvSpPr/>
            <p:nvPr/>
          </p:nvSpPr>
          <p:spPr>
            <a:xfrm>
              <a:off x="3506039" y="4715280"/>
              <a:ext cx="5212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5" name="Straight Connector 214"/>
            <p:cNvSpPr/>
            <p:nvPr/>
          </p:nvSpPr>
          <p:spPr>
            <a:xfrm>
              <a:off x="3629160" y="4756680"/>
              <a:ext cx="274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6" name="Straight Connector 215"/>
            <p:cNvSpPr/>
            <p:nvPr/>
          </p:nvSpPr>
          <p:spPr>
            <a:xfrm>
              <a:off x="3711960" y="4797360"/>
              <a:ext cx="109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7" name="Freeform: Shape 212"/>
            <p:cNvSpPr/>
            <p:nvPr/>
          </p:nvSpPr>
          <p:spPr>
            <a:xfrm>
              <a:off x="4082040" y="4701600"/>
              <a:ext cx="54720" cy="1368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3" h="381">
                  <a:moveTo>
                    <a:pt x="153" y="0"/>
                  </a:moveTo>
                  <a:lnTo>
                    <a:pt x="153" y="381"/>
                  </a:lnTo>
                  <a:lnTo>
                    <a:pt x="0" y="25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8" name="Straight Connector 217"/>
            <p:cNvSpPr/>
            <p:nvPr/>
          </p:nvSpPr>
          <p:spPr>
            <a:xfrm>
              <a:off x="4082040" y="4852440"/>
              <a:ext cx="414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9" name="Freeform: Shape 214"/>
            <p:cNvSpPr/>
            <p:nvPr/>
          </p:nvSpPr>
          <p:spPr>
            <a:xfrm>
              <a:off x="3835440" y="4838760"/>
              <a:ext cx="95400" cy="191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6" h="533">
                  <a:moveTo>
                    <a:pt x="266" y="0"/>
                  </a:moveTo>
                  <a:lnTo>
                    <a:pt x="266" y="533"/>
                  </a:lnTo>
                  <a:lnTo>
                    <a:pt x="0" y="35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0" name="Straight Connector 219"/>
            <p:cNvSpPr/>
            <p:nvPr/>
          </p:nvSpPr>
          <p:spPr>
            <a:xfrm>
              <a:off x="3835440" y="5044320"/>
              <a:ext cx="54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1" name="Straight Connector 220"/>
            <p:cNvSpPr/>
            <p:nvPr/>
          </p:nvSpPr>
          <p:spPr>
            <a:xfrm>
              <a:off x="3506039" y="4866120"/>
              <a:ext cx="1094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2" name="Straight Connector 221"/>
            <p:cNvSpPr/>
            <p:nvPr/>
          </p:nvSpPr>
          <p:spPr>
            <a:xfrm>
              <a:off x="3409920" y="4618440"/>
              <a:ext cx="0" cy="55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3" name="Straight Connector 222"/>
            <p:cNvSpPr/>
            <p:nvPr/>
          </p:nvSpPr>
          <p:spPr>
            <a:xfrm>
              <a:off x="4205880" y="4715280"/>
              <a:ext cx="219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4" name="Straight Connector 223"/>
            <p:cNvSpPr/>
            <p:nvPr/>
          </p:nvSpPr>
          <p:spPr>
            <a:xfrm>
              <a:off x="-5216400" y="4862160"/>
              <a:ext cx="190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5" name="Straight Connector 224"/>
            <p:cNvSpPr/>
            <p:nvPr/>
          </p:nvSpPr>
          <p:spPr>
            <a:xfrm>
              <a:off x="-5132520" y="4893480"/>
              <a:ext cx="0" cy="1162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6" name="Straight Connector 225"/>
            <p:cNvSpPr/>
            <p:nvPr/>
          </p:nvSpPr>
          <p:spPr>
            <a:xfrm>
              <a:off x="-4992480" y="4796640"/>
              <a:ext cx="535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7" name="Straight Connector 226"/>
            <p:cNvSpPr/>
            <p:nvPr/>
          </p:nvSpPr>
          <p:spPr>
            <a:xfrm>
              <a:off x="-4873320" y="4839120"/>
              <a:ext cx="289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8" name="Straight Connector 227"/>
            <p:cNvSpPr/>
            <p:nvPr/>
          </p:nvSpPr>
          <p:spPr>
            <a:xfrm>
              <a:off x="-4781520" y="4879440"/>
              <a:ext cx="106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9" name="Straight Connector 228"/>
            <p:cNvSpPr/>
            <p:nvPr/>
          </p:nvSpPr>
          <p:spPr>
            <a:xfrm>
              <a:off x="-4398840" y="4768559"/>
              <a:ext cx="0" cy="32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0" name="Straight Connector 229"/>
            <p:cNvSpPr/>
            <p:nvPr/>
          </p:nvSpPr>
          <p:spPr>
            <a:xfrm>
              <a:off x="-4361040" y="4801320"/>
              <a:ext cx="358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1" name="Freeform: Shape 226"/>
            <p:cNvSpPr/>
            <p:nvPr/>
          </p:nvSpPr>
          <p:spPr>
            <a:xfrm>
              <a:off x="-4316040" y="4453920"/>
              <a:ext cx="516599" cy="330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36" h="918" fill="none">
                  <a:moveTo>
                    <a:pt x="0" y="918"/>
                  </a:moveTo>
                  <a:lnTo>
                    <a:pt x="718" y="0"/>
                  </a:lnTo>
                  <a:lnTo>
                    <a:pt x="1436" y="918"/>
                  </a:lnTo>
                  <a:lnTo>
                    <a:pt x="1436" y="75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2" name="Freeform: Shape 227"/>
            <p:cNvSpPr/>
            <p:nvPr/>
          </p:nvSpPr>
          <p:spPr>
            <a:xfrm>
              <a:off x="-3766320" y="4149360"/>
              <a:ext cx="319680" cy="6735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9" h="1872" fill="none">
                  <a:moveTo>
                    <a:pt x="0" y="1872"/>
                  </a:moveTo>
                  <a:lnTo>
                    <a:pt x="0" y="0"/>
                  </a:lnTo>
                  <a:lnTo>
                    <a:pt x="889" y="0"/>
                  </a:lnTo>
                  <a:lnTo>
                    <a:pt x="889" y="142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3" name="Freeform: Shape 228"/>
            <p:cNvSpPr/>
            <p:nvPr/>
          </p:nvSpPr>
          <p:spPr>
            <a:xfrm>
              <a:off x="-3577320" y="4686480"/>
              <a:ext cx="262080" cy="204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29" h="570" fill="none">
                  <a:moveTo>
                    <a:pt x="0" y="570"/>
                  </a:moveTo>
                  <a:lnTo>
                    <a:pt x="0" y="0"/>
                  </a:lnTo>
                  <a:lnTo>
                    <a:pt x="729" y="0"/>
                  </a:lnTo>
                  <a:lnTo>
                    <a:pt x="729" y="56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4" name="Straight Connector 233"/>
            <p:cNvSpPr/>
            <p:nvPr/>
          </p:nvSpPr>
          <p:spPr>
            <a:xfrm>
              <a:off x="-3409920" y="4643280"/>
              <a:ext cx="7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5" name="Straight Connector 234"/>
            <p:cNvSpPr/>
            <p:nvPr/>
          </p:nvSpPr>
          <p:spPr>
            <a:xfrm>
              <a:off x="-3385440" y="4595040"/>
              <a:ext cx="0" cy="27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6" name="Straight Connector 235"/>
            <p:cNvSpPr/>
            <p:nvPr/>
          </p:nvSpPr>
          <p:spPr>
            <a:xfrm>
              <a:off x="-3625560" y="4035240"/>
              <a:ext cx="39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7" name="Straight Connector 236"/>
            <p:cNvSpPr/>
            <p:nvPr/>
          </p:nvSpPr>
          <p:spPr>
            <a:xfrm>
              <a:off x="-3654360" y="4070160"/>
              <a:ext cx="97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8" name="Freeform: Shape 233"/>
            <p:cNvSpPr/>
            <p:nvPr/>
          </p:nvSpPr>
          <p:spPr>
            <a:xfrm>
              <a:off x="-3675959" y="4097160"/>
              <a:ext cx="142920" cy="51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98" h="145" fill="none">
                  <a:moveTo>
                    <a:pt x="0" y="145"/>
                  </a:moveTo>
                  <a:lnTo>
                    <a:pt x="0" y="0"/>
                  </a:lnTo>
                  <a:lnTo>
                    <a:pt x="398" y="0"/>
                  </a:lnTo>
                  <a:lnTo>
                    <a:pt x="398" y="14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9" name="Straight Connector 238"/>
            <p:cNvSpPr/>
            <p:nvPr/>
          </p:nvSpPr>
          <p:spPr>
            <a:xfrm>
              <a:off x="-3684600" y="4907520"/>
              <a:ext cx="1864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0" name="Straight Connector 239"/>
            <p:cNvSpPr/>
            <p:nvPr/>
          </p:nvSpPr>
          <p:spPr>
            <a:xfrm flipV="1">
              <a:off x="-3395520" y="4727159"/>
              <a:ext cx="0" cy="158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1" name="Straight Connector 240"/>
            <p:cNvSpPr/>
            <p:nvPr/>
          </p:nvSpPr>
          <p:spPr>
            <a:xfrm flipV="1">
              <a:off x="-3260880" y="4207320"/>
              <a:ext cx="0" cy="497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2" name="Straight Connector 241"/>
            <p:cNvSpPr/>
            <p:nvPr/>
          </p:nvSpPr>
          <p:spPr>
            <a:xfrm flipV="1">
              <a:off x="-3137039" y="4207320"/>
              <a:ext cx="0" cy="497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3" name="Freeform: Shape 238"/>
            <p:cNvSpPr/>
            <p:nvPr/>
          </p:nvSpPr>
          <p:spPr>
            <a:xfrm>
              <a:off x="-3254759" y="4184639"/>
              <a:ext cx="110160" cy="33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95" fill="none">
                  <a:moveTo>
                    <a:pt x="0" y="95"/>
                  </a:moveTo>
                  <a:lnTo>
                    <a:pt x="155" y="0"/>
                  </a:lnTo>
                  <a:lnTo>
                    <a:pt x="307" y="9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4" name="Straight Connector 243"/>
            <p:cNvSpPr/>
            <p:nvPr/>
          </p:nvSpPr>
          <p:spPr>
            <a:xfrm flipV="1">
              <a:off x="-3198960" y="4076640"/>
              <a:ext cx="0" cy="107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5" name="Freeform: Shape 240"/>
            <p:cNvSpPr/>
            <p:nvPr/>
          </p:nvSpPr>
          <p:spPr>
            <a:xfrm>
              <a:off x="-3226680" y="4241520"/>
              <a:ext cx="54720" cy="30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3" h="85">
                  <a:moveTo>
                    <a:pt x="76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153" y="0"/>
                  </a:lnTo>
                  <a:lnTo>
                    <a:pt x="153" y="8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6" name="Freeform: Shape 241"/>
            <p:cNvSpPr/>
            <p:nvPr/>
          </p:nvSpPr>
          <p:spPr>
            <a:xfrm>
              <a:off x="-3241080" y="4300560"/>
              <a:ext cx="82080" cy="15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9" h="44">
                  <a:moveTo>
                    <a:pt x="115" y="44"/>
                  </a:moveTo>
                  <a:lnTo>
                    <a:pt x="0" y="44"/>
                  </a:lnTo>
                  <a:lnTo>
                    <a:pt x="0" y="0"/>
                  </a:lnTo>
                  <a:lnTo>
                    <a:pt x="229" y="0"/>
                  </a:lnTo>
                  <a:lnTo>
                    <a:pt x="229" y="4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7" name="Freeform: Shape 242"/>
            <p:cNvSpPr/>
            <p:nvPr/>
          </p:nvSpPr>
          <p:spPr>
            <a:xfrm>
              <a:off x="-3244320" y="433836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8" name="Freeform: Shape 243"/>
            <p:cNvSpPr/>
            <p:nvPr/>
          </p:nvSpPr>
          <p:spPr>
            <a:xfrm>
              <a:off x="-3244320" y="4368239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9" name="Freeform: Shape 244"/>
            <p:cNvSpPr/>
            <p:nvPr/>
          </p:nvSpPr>
          <p:spPr>
            <a:xfrm>
              <a:off x="-3244320" y="439776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0" name="Freeform: Shape 245"/>
            <p:cNvSpPr/>
            <p:nvPr/>
          </p:nvSpPr>
          <p:spPr>
            <a:xfrm>
              <a:off x="-3244320" y="4427279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1" name="Freeform: Shape 246"/>
            <p:cNvSpPr/>
            <p:nvPr/>
          </p:nvSpPr>
          <p:spPr>
            <a:xfrm>
              <a:off x="-3244320" y="445680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2" name="Freeform: Shape 247"/>
            <p:cNvSpPr/>
            <p:nvPr/>
          </p:nvSpPr>
          <p:spPr>
            <a:xfrm>
              <a:off x="-3244320" y="448632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3" name="Freeform: Shape 248"/>
            <p:cNvSpPr/>
            <p:nvPr/>
          </p:nvSpPr>
          <p:spPr>
            <a:xfrm>
              <a:off x="-3244320" y="45158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4" name="Freeform: Shape 249"/>
            <p:cNvSpPr/>
            <p:nvPr/>
          </p:nvSpPr>
          <p:spPr>
            <a:xfrm>
              <a:off x="-3244320" y="454572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5" name="Freeform: Shape 250"/>
            <p:cNvSpPr/>
            <p:nvPr/>
          </p:nvSpPr>
          <p:spPr>
            <a:xfrm>
              <a:off x="-3244320" y="45752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6" name="Freeform: Shape 251"/>
            <p:cNvSpPr/>
            <p:nvPr/>
          </p:nvSpPr>
          <p:spPr>
            <a:xfrm>
              <a:off x="-3244320" y="4604759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7" name="Freeform: Shape 252"/>
            <p:cNvSpPr/>
            <p:nvPr/>
          </p:nvSpPr>
          <p:spPr>
            <a:xfrm>
              <a:off x="-3244320" y="46346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8" name="Freeform: Shape 253"/>
            <p:cNvSpPr/>
            <p:nvPr/>
          </p:nvSpPr>
          <p:spPr>
            <a:xfrm>
              <a:off x="-3244320" y="466452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9" name="Freeform: Shape 254"/>
            <p:cNvSpPr/>
            <p:nvPr/>
          </p:nvSpPr>
          <p:spPr>
            <a:xfrm>
              <a:off x="-3244320" y="46940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0" name="Freeform: Shape 255"/>
            <p:cNvSpPr/>
            <p:nvPr/>
          </p:nvSpPr>
          <p:spPr>
            <a:xfrm>
              <a:off x="-3121200" y="441252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1" name="Freeform: Shape 256"/>
            <p:cNvSpPr/>
            <p:nvPr/>
          </p:nvSpPr>
          <p:spPr>
            <a:xfrm>
              <a:off x="-3121200" y="443268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2" name="Freeform: Shape 257"/>
            <p:cNvSpPr/>
            <p:nvPr/>
          </p:nvSpPr>
          <p:spPr>
            <a:xfrm>
              <a:off x="-3121200" y="445248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3" name="Freeform: Shape 258"/>
            <p:cNvSpPr/>
            <p:nvPr/>
          </p:nvSpPr>
          <p:spPr>
            <a:xfrm>
              <a:off x="-3121200" y="44726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4" name="Freeform: Shape 259"/>
            <p:cNvSpPr/>
            <p:nvPr/>
          </p:nvSpPr>
          <p:spPr>
            <a:xfrm>
              <a:off x="-3121200" y="449280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5" name="Freeform: Shape 260"/>
            <p:cNvSpPr/>
            <p:nvPr/>
          </p:nvSpPr>
          <p:spPr>
            <a:xfrm>
              <a:off x="-3121200" y="451296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6" name="Freeform: Shape 261"/>
            <p:cNvSpPr/>
            <p:nvPr/>
          </p:nvSpPr>
          <p:spPr>
            <a:xfrm>
              <a:off x="-3121200" y="453312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7" name="Freeform: Shape 262"/>
            <p:cNvSpPr/>
            <p:nvPr/>
          </p:nvSpPr>
          <p:spPr>
            <a:xfrm>
              <a:off x="-3121200" y="45536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8" name="Freeform: Shape 263"/>
            <p:cNvSpPr/>
            <p:nvPr/>
          </p:nvSpPr>
          <p:spPr>
            <a:xfrm>
              <a:off x="-3121200" y="45734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9" name="Freeform: Shape 264"/>
            <p:cNvSpPr/>
            <p:nvPr/>
          </p:nvSpPr>
          <p:spPr>
            <a:xfrm>
              <a:off x="-3121200" y="459360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0" name="Freeform: Shape 265"/>
            <p:cNvSpPr/>
            <p:nvPr/>
          </p:nvSpPr>
          <p:spPr>
            <a:xfrm>
              <a:off x="-3121200" y="461376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1" name="Freeform: Shape 266"/>
            <p:cNvSpPr/>
            <p:nvPr/>
          </p:nvSpPr>
          <p:spPr>
            <a:xfrm>
              <a:off x="-3121200" y="463392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2" name="Freeform: Shape 267"/>
            <p:cNvSpPr/>
            <p:nvPr/>
          </p:nvSpPr>
          <p:spPr>
            <a:xfrm>
              <a:off x="-3121200" y="465408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3" name="Freeform: Shape 268"/>
            <p:cNvSpPr/>
            <p:nvPr/>
          </p:nvSpPr>
          <p:spPr>
            <a:xfrm>
              <a:off x="-3121200" y="46742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4" name="Freeform: Shape 269"/>
            <p:cNvSpPr/>
            <p:nvPr/>
          </p:nvSpPr>
          <p:spPr>
            <a:xfrm>
              <a:off x="-3121200" y="4694759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5" name="Straight Connector 274"/>
            <p:cNvSpPr/>
            <p:nvPr/>
          </p:nvSpPr>
          <p:spPr>
            <a:xfrm>
              <a:off x="-2967839" y="4408200"/>
              <a:ext cx="0" cy="29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6" name="Freeform: Shape 271"/>
            <p:cNvSpPr/>
            <p:nvPr/>
          </p:nvSpPr>
          <p:spPr>
            <a:xfrm>
              <a:off x="-3223800" y="4715640"/>
              <a:ext cx="615240" cy="100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10" h="279" fill="none">
                  <a:moveTo>
                    <a:pt x="0" y="0"/>
                  </a:moveTo>
                  <a:lnTo>
                    <a:pt x="1034" y="0"/>
                  </a:lnTo>
                  <a:lnTo>
                    <a:pt x="1034" y="170"/>
                  </a:lnTo>
                  <a:lnTo>
                    <a:pt x="1710" y="170"/>
                  </a:lnTo>
                  <a:lnTo>
                    <a:pt x="1710" y="27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7" name="Freeform: Shape 272"/>
            <p:cNvSpPr/>
            <p:nvPr/>
          </p:nvSpPr>
          <p:spPr>
            <a:xfrm>
              <a:off x="-2857680" y="4826160"/>
              <a:ext cx="456119" cy="49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68" h="138" fill="none">
                  <a:moveTo>
                    <a:pt x="0" y="0"/>
                  </a:moveTo>
                  <a:lnTo>
                    <a:pt x="491" y="0"/>
                  </a:lnTo>
                  <a:lnTo>
                    <a:pt x="491" y="138"/>
                  </a:lnTo>
                  <a:lnTo>
                    <a:pt x="1268" y="13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8" name="Straight Connector 277"/>
            <p:cNvSpPr/>
            <p:nvPr/>
          </p:nvSpPr>
          <p:spPr>
            <a:xfrm>
              <a:off x="-3296520" y="4572360"/>
              <a:ext cx="0" cy="136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9" name="Straight Connector 278"/>
            <p:cNvSpPr/>
            <p:nvPr/>
          </p:nvSpPr>
          <p:spPr>
            <a:xfrm>
              <a:off x="-3279600" y="4572360"/>
              <a:ext cx="0" cy="136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0" name="Freeform: Shape 275"/>
            <p:cNvSpPr/>
            <p:nvPr/>
          </p:nvSpPr>
          <p:spPr>
            <a:xfrm>
              <a:off x="-3272400" y="4766040"/>
              <a:ext cx="179280" cy="95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99" h="267" fill="none">
                  <a:moveTo>
                    <a:pt x="0" y="267"/>
                  </a:moveTo>
                  <a:lnTo>
                    <a:pt x="0" y="0"/>
                  </a:lnTo>
                  <a:lnTo>
                    <a:pt x="499" y="0"/>
                  </a:lnTo>
                  <a:lnTo>
                    <a:pt x="499" y="26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1" name="Freeform: Shape 276"/>
            <p:cNvSpPr/>
            <p:nvPr/>
          </p:nvSpPr>
          <p:spPr>
            <a:xfrm>
              <a:off x="-3244320" y="4791240"/>
              <a:ext cx="97200" cy="24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1" h="70">
                  <a:moveTo>
                    <a:pt x="135" y="70"/>
                  </a:moveTo>
                  <a:lnTo>
                    <a:pt x="0" y="70"/>
                  </a:lnTo>
                  <a:lnTo>
                    <a:pt x="0" y="0"/>
                  </a:lnTo>
                  <a:lnTo>
                    <a:pt x="271" y="0"/>
                  </a:lnTo>
                  <a:lnTo>
                    <a:pt x="271" y="7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2" name="Freeform: Shape 277"/>
            <p:cNvSpPr/>
            <p:nvPr/>
          </p:nvSpPr>
          <p:spPr>
            <a:xfrm>
              <a:off x="-3013560" y="4733279"/>
              <a:ext cx="138240" cy="22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85" h="64">
                  <a:moveTo>
                    <a:pt x="192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385" y="0"/>
                  </a:lnTo>
                  <a:lnTo>
                    <a:pt x="385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3" name="Freeform: Shape 278"/>
            <p:cNvSpPr/>
            <p:nvPr/>
          </p:nvSpPr>
          <p:spPr>
            <a:xfrm>
              <a:off x="-2806920" y="4721760"/>
              <a:ext cx="83880" cy="22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4" h="64">
                  <a:moveTo>
                    <a:pt x="117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234" y="0"/>
                  </a:lnTo>
                  <a:lnTo>
                    <a:pt x="234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4" name="Freeform: Shape 279"/>
            <p:cNvSpPr/>
            <p:nvPr/>
          </p:nvSpPr>
          <p:spPr>
            <a:xfrm>
              <a:off x="-2592360" y="4716000"/>
              <a:ext cx="77760" cy="52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7" h="146">
                  <a:moveTo>
                    <a:pt x="109" y="146"/>
                  </a:moveTo>
                  <a:lnTo>
                    <a:pt x="0" y="146"/>
                  </a:lnTo>
                  <a:lnTo>
                    <a:pt x="0" y="0"/>
                  </a:lnTo>
                  <a:lnTo>
                    <a:pt x="217" y="0"/>
                  </a:lnTo>
                  <a:lnTo>
                    <a:pt x="217" y="14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5" name="Freeform: Shape 280"/>
            <p:cNvSpPr/>
            <p:nvPr/>
          </p:nvSpPr>
          <p:spPr>
            <a:xfrm>
              <a:off x="-2577240" y="4798080"/>
              <a:ext cx="29520" cy="50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3" h="141">
                  <a:moveTo>
                    <a:pt x="42" y="141"/>
                  </a:moveTo>
                  <a:lnTo>
                    <a:pt x="0" y="141"/>
                  </a:lnTo>
                  <a:lnTo>
                    <a:pt x="0" y="0"/>
                  </a:lnTo>
                  <a:lnTo>
                    <a:pt x="83" y="0"/>
                  </a:lnTo>
                  <a:lnTo>
                    <a:pt x="83" y="141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6" name="Freeform: Shape 281"/>
            <p:cNvSpPr/>
            <p:nvPr/>
          </p:nvSpPr>
          <p:spPr>
            <a:xfrm>
              <a:off x="-2904480" y="4563000"/>
              <a:ext cx="56880" cy="18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9" h="53">
                  <a:moveTo>
                    <a:pt x="80" y="53"/>
                  </a:moveTo>
                  <a:lnTo>
                    <a:pt x="0" y="53"/>
                  </a:lnTo>
                  <a:lnTo>
                    <a:pt x="0" y="0"/>
                  </a:lnTo>
                  <a:lnTo>
                    <a:pt x="159" y="0"/>
                  </a:lnTo>
                  <a:lnTo>
                    <a:pt x="159" y="5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7" name="Freeform: Shape 282"/>
            <p:cNvSpPr/>
            <p:nvPr/>
          </p:nvSpPr>
          <p:spPr>
            <a:xfrm>
              <a:off x="-2922479" y="4545720"/>
              <a:ext cx="129240" cy="151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0" h="421" fill="none">
                  <a:moveTo>
                    <a:pt x="0" y="421"/>
                  </a:moveTo>
                  <a:lnTo>
                    <a:pt x="0" y="0"/>
                  </a:lnTo>
                  <a:lnTo>
                    <a:pt x="360" y="0"/>
                  </a:lnTo>
                  <a:lnTo>
                    <a:pt x="360" y="42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8" name="Freeform: Shape 283"/>
            <p:cNvSpPr/>
            <p:nvPr/>
          </p:nvSpPr>
          <p:spPr>
            <a:xfrm>
              <a:off x="-3839400" y="4632120"/>
              <a:ext cx="39960" cy="57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" h="162">
                  <a:moveTo>
                    <a:pt x="56" y="162"/>
                  </a:moveTo>
                  <a:lnTo>
                    <a:pt x="0" y="162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16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9" name="Freeform: Shape 284"/>
            <p:cNvSpPr/>
            <p:nvPr/>
          </p:nvSpPr>
          <p:spPr>
            <a:xfrm>
              <a:off x="-3866039" y="4824360"/>
              <a:ext cx="69840" cy="23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95" h="65">
                  <a:moveTo>
                    <a:pt x="98" y="65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195" y="0"/>
                  </a:lnTo>
                  <a:lnTo>
                    <a:pt x="195" y="6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0" name="Freeform: Shape 285"/>
            <p:cNvSpPr/>
            <p:nvPr/>
          </p:nvSpPr>
          <p:spPr>
            <a:xfrm>
              <a:off x="-1710720" y="4671000"/>
              <a:ext cx="32400" cy="59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1" h="166">
                  <a:moveTo>
                    <a:pt x="46" y="166"/>
                  </a:moveTo>
                  <a:lnTo>
                    <a:pt x="0" y="166"/>
                  </a:lnTo>
                  <a:lnTo>
                    <a:pt x="0" y="0"/>
                  </a:lnTo>
                  <a:lnTo>
                    <a:pt x="91" y="0"/>
                  </a:lnTo>
                  <a:lnTo>
                    <a:pt x="91" y="16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1" name="Freeform: Shape 286"/>
            <p:cNvSpPr/>
            <p:nvPr/>
          </p:nvSpPr>
          <p:spPr>
            <a:xfrm>
              <a:off x="-1661759" y="4772520"/>
              <a:ext cx="56160" cy="21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7" h="60">
                  <a:moveTo>
                    <a:pt x="79" y="60"/>
                  </a:moveTo>
                  <a:lnTo>
                    <a:pt x="0" y="60"/>
                  </a:lnTo>
                  <a:lnTo>
                    <a:pt x="0" y="0"/>
                  </a:lnTo>
                  <a:lnTo>
                    <a:pt x="157" y="0"/>
                  </a:lnTo>
                  <a:lnTo>
                    <a:pt x="157" y="6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2" name="Freeform: Shape 287"/>
            <p:cNvSpPr/>
            <p:nvPr/>
          </p:nvSpPr>
          <p:spPr>
            <a:xfrm>
              <a:off x="-1556279" y="4707360"/>
              <a:ext cx="15120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1" h="132">
                  <a:moveTo>
                    <a:pt x="211" y="132"/>
                  </a:moveTo>
                  <a:lnTo>
                    <a:pt x="0" y="132"/>
                  </a:lnTo>
                  <a:lnTo>
                    <a:pt x="0" y="0"/>
                  </a:lnTo>
                  <a:lnTo>
                    <a:pt x="421" y="0"/>
                  </a:lnTo>
                  <a:lnTo>
                    <a:pt x="421" y="13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3" name="Straight Connector 292"/>
            <p:cNvSpPr/>
            <p:nvPr/>
          </p:nvSpPr>
          <p:spPr>
            <a:xfrm>
              <a:off x="-3120120" y="4336200"/>
              <a:ext cx="47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4" name="Straight Connector 293"/>
            <p:cNvSpPr/>
            <p:nvPr/>
          </p:nvSpPr>
          <p:spPr>
            <a:xfrm>
              <a:off x="-3120120" y="4360680"/>
              <a:ext cx="47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5" name="Straight Connector 294"/>
            <p:cNvSpPr/>
            <p:nvPr/>
          </p:nvSpPr>
          <p:spPr>
            <a:xfrm>
              <a:off x="-3120120" y="4385520"/>
              <a:ext cx="47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6" name="Straight Connector 295"/>
            <p:cNvSpPr/>
            <p:nvPr/>
          </p:nvSpPr>
          <p:spPr>
            <a:xfrm>
              <a:off x="-3106079" y="4290480"/>
              <a:ext cx="0" cy="27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7" name="Straight Connector 296"/>
            <p:cNvSpPr/>
            <p:nvPr/>
          </p:nvSpPr>
          <p:spPr>
            <a:xfrm>
              <a:off x="-2738519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8" name="Straight Connector 297"/>
            <p:cNvSpPr/>
            <p:nvPr/>
          </p:nvSpPr>
          <p:spPr>
            <a:xfrm>
              <a:off x="-271764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9" name="Straight Connector 298"/>
            <p:cNvSpPr/>
            <p:nvPr/>
          </p:nvSpPr>
          <p:spPr>
            <a:xfrm>
              <a:off x="-269676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0" name="Straight Connector 299"/>
            <p:cNvSpPr/>
            <p:nvPr/>
          </p:nvSpPr>
          <p:spPr>
            <a:xfrm>
              <a:off x="-267588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1" name="Straight Connector 300"/>
            <p:cNvSpPr/>
            <p:nvPr/>
          </p:nvSpPr>
          <p:spPr>
            <a:xfrm>
              <a:off x="-265500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2" name="Straight Connector 301"/>
            <p:cNvSpPr/>
            <p:nvPr/>
          </p:nvSpPr>
          <p:spPr>
            <a:xfrm>
              <a:off x="-2634119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3" name="Straight Connector 302"/>
            <p:cNvSpPr/>
            <p:nvPr/>
          </p:nvSpPr>
          <p:spPr>
            <a:xfrm>
              <a:off x="-261288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4" name="Straight Connector 303"/>
            <p:cNvSpPr/>
            <p:nvPr/>
          </p:nvSpPr>
          <p:spPr>
            <a:xfrm>
              <a:off x="-259236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5" name="Straight Connector 304"/>
            <p:cNvSpPr/>
            <p:nvPr/>
          </p:nvSpPr>
          <p:spPr>
            <a:xfrm>
              <a:off x="-1901520" y="4359240"/>
              <a:ext cx="0" cy="460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6" name="Straight Connector 305"/>
            <p:cNvSpPr/>
            <p:nvPr/>
          </p:nvSpPr>
          <p:spPr>
            <a:xfrm>
              <a:off x="-1745640" y="4359240"/>
              <a:ext cx="0" cy="460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7" name="Freeform: Shape 302"/>
            <p:cNvSpPr/>
            <p:nvPr/>
          </p:nvSpPr>
          <p:spPr>
            <a:xfrm>
              <a:off x="-2757960" y="4209840"/>
              <a:ext cx="182520" cy="500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08" h="1390" fill="none">
                  <a:moveTo>
                    <a:pt x="0" y="1390"/>
                  </a:moveTo>
                  <a:lnTo>
                    <a:pt x="0" y="0"/>
                  </a:lnTo>
                  <a:lnTo>
                    <a:pt x="508" y="0"/>
                  </a:lnTo>
                  <a:lnTo>
                    <a:pt x="508" y="138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8" name="Straight Connector 307"/>
            <p:cNvSpPr/>
            <p:nvPr/>
          </p:nvSpPr>
          <p:spPr>
            <a:xfrm>
              <a:off x="-2769480" y="4182479"/>
              <a:ext cx="2084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9" name="Straight Connector 308"/>
            <p:cNvSpPr/>
            <p:nvPr/>
          </p:nvSpPr>
          <p:spPr>
            <a:xfrm>
              <a:off x="-2526480" y="4595040"/>
              <a:ext cx="0" cy="514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0" name="Straight Connector 309"/>
            <p:cNvSpPr/>
            <p:nvPr/>
          </p:nvSpPr>
          <p:spPr>
            <a:xfrm>
              <a:off x="-2555640" y="4651560"/>
              <a:ext cx="58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1" name="Straight Connector 310"/>
            <p:cNvSpPr/>
            <p:nvPr/>
          </p:nvSpPr>
          <p:spPr>
            <a:xfrm>
              <a:off x="-2212560" y="4663800"/>
              <a:ext cx="1022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2" name="Straight Connector 311"/>
            <p:cNvSpPr/>
            <p:nvPr/>
          </p:nvSpPr>
          <p:spPr>
            <a:xfrm>
              <a:off x="-2124720" y="4632120"/>
              <a:ext cx="0" cy="291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3" name="Straight Connector 312"/>
            <p:cNvSpPr/>
            <p:nvPr/>
          </p:nvSpPr>
          <p:spPr>
            <a:xfrm>
              <a:off x="-2022840" y="4656600"/>
              <a:ext cx="1094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4" name="Straight Connector 313"/>
            <p:cNvSpPr/>
            <p:nvPr/>
          </p:nvSpPr>
          <p:spPr>
            <a:xfrm>
              <a:off x="-1966680" y="4598640"/>
              <a:ext cx="0" cy="424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5" name="Straight Connector 314"/>
            <p:cNvSpPr/>
            <p:nvPr/>
          </p:nvSpPr>
          <p:spPr>
            <a:xfrm>
              <a:off x="-1980360" y="4830480"/>
              <a:ext cx="0" cy="80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6" name="Straight Connector 315"/>
            <p:cNvSpPr/>
            <p:nvPr/>
          </p:nvSpPr>
          <p:spPr>
            <a:xfrm>
              <a:off x="-1877760" y="4881960"/>
              <a:ext cx="175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7" name="Straight Connector 316"/>
            <p:cNvSpPr/>
            <p:nvPr/>
          </p:nvSpPr>
          <p:spPr>
            <a:xfrm>
              <a:off x="-1885680" y="4794120"/>
              <a:ext cx="124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8" name="Straight Connector 317"/>
            <p:cNvSpPr/>
            <p:nvPr/>
          </p:nvSpPr>
          <p:spPr>
            <a:xfrm>
              <a:off x="-1885680" y="4643640"/>
              <a:ext cx="124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9" name="Straight Connector 318"/>
            <p:cNvSpPr/>
            <p:nvPr/>
          </p:nvSpPr>
          <p:spPr>
            <a:xfrm>
              <a:off x="-1885680" y="4496760"/>
              <a:ext cx="124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0" name="Straight Connector 319"/>
            <p:cNvSpPr/>
            <p:nvPr/>
          </p:nvSpPr>
          <p:spPr>
            <a:xfrm>
              <a:off x="-1866599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1" name="Straight Connector 320"/>
            <p:cNvSpPr/>
            <p:nvPr/>
          </p:nvSpPr>
          <p:spPr>
            <a:xfrm>
              <a:off x="-1837799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2" name="Straight Connector 321"/>
            <p:cNvSpPr/>
            <p:nvPr/>
          </p:nvSpPr>
          <p:spPr>
            <a:xfrm>
              <a:off x="-1808999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3" name="Straight Connector 322"/>
            <p:cNvSpPr/>
            <p:nvPr/>
          </p:nvSpPr>
          <p:spPr>
            <a:xfrm>
              <a:off x="-1780560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4" name="Straight Connector 323"/>
            <p:cNvSpPr/>
            <p:nvPr/>
          </p:nvSpPr>
          <p:spPr>
            <a:xfrm>
              <a:off x="-1866599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5" name="Straight Connector 324"/>
            <p:cNvSpPr/>
            <p:nvPr/>
          </p:nvSpPr>
          <p:spPr>
            <a:xfrm>
              <a:off x="-1837799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6" name="Straight Connector 325"/>
            <p:cNvSpPr/>
            <p:nvPr/>
          </p:nvSpPr>
          <p:spPr>
            <a:xfrm>
              <a:off x="-1808999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7" name="Straight Connector 326"/>
            <p:cNvSpPr/>
            <p:nvPr/>
          </p:nvSpPr>
          <p:spPr>
            <a:xfrm>
              <a:off x="-1780560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8" name="Straight Connector 327"/>
            <p:cNvSpPr/>
            <p:nvPr/>
          </p:nvSpPr>
          <p:spPr>
            <a:xfrm>
              <a:off x="-1866599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9" name="Straight Connector 328"/>
            <p:cNvSpPr/>
            <p:nvPr/>
          </p:nvSpPr>
          <p:spPr>
            <a:xfrm>
              <a:off x="-1837799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0" name="Straight Connector 329"/>
            <p:cNvSpPr/>
            <p:nvPr/>
          </p:nvSpPr>
          <p:spPr>
            <a:xfrm>
              <a:off x="-1808999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1" name="Straight Connector 330"/>
            <p:cNvSpPr/>
            <p:nvPr/>
          </p:nvSpPr>
          <p:spPr>
            <a:xfrm>
              <a:off x="-1780560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2" name="Freeform: Shape 327"/>
            <p:cNvSpPr/>
            <p:nvPr/>
          </p:nvSpPr>
          <p:spPr>
            <a:xfrm>
              <a:off x="-1891800" y="4267800"/>
              <a:ext cx="136080" cy="78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79" h="218">
                  <a:moveTo>
                    <a:pt x="0" y="218"/>
                  </a:moveTo>
                  <a:lnTo>
                    <a:pt x="379" y="218"/>
                  </a:lnTo>
                  <a:lnTo>
                    <a:pt x="309" y="0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3" name="Freeform: Shape 328"/>
            <p:cNvSpPr/>
            <p:nvPr/>
          </p:nvSpPr>
          <p:spPr>
            <a:xfrm>
              <a:off x="-3009240" y="4879440"/>
              <a:ext cx="981000" cy="39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26" h="111" fill="none">
                  <a:moveTo>
                    <a:pt x="0" y="90"/>
                  </a:moveTo>
                  <a:lnTo>
                    <a:pt x="190" y="0"/>
                  </a:lnTo>
                  <a:lnTo>
                    <a:pt x="782" y="0"/>
                  </a:lnTo>
                  <a:lnTo>
                    <a:pt x="782" y="111"/>
                  </a:lnTo>
                  <a:lnTo>
                    <a:pt x="2726" y="11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4" name="Freeform: Shape 329"/>
            <p:cNvSpPr/>
            <p:nvPr/>
          </p:nvSpPr>
          <p:spPr>
            <a:xfrm>
              <a:off x="-2525400" y="4731480"/>
              <a:ext cx="414720" cy="110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53" h="307" fill="none">
                  <a:moveTo>
                    <a:pt x="0" y="307"/>
                  </a:moveTo>
                  <a:lnTo>
                    <a:pt x="658" y="307"/>
                  </a:lnTo>
                  <a:lnTo>
                    <a:pt x="658" y="88"/>
                  </a:lnTo>
                  <a:lnTo>
                    <a:pt x="973" y="88"/>
                  </a:lnTo>
                  <a:lnTo>
                    <a:pt x="973" y="0"/>
                  </a:lnTo>
                  <a:lnTo>
                    <a:pt x="1153" y="0"/>
                  </a:lnTo>
                  <a:lnTo>
                    <a:pt x="1153" y="236"/>
                  </a:lnTo>
                  <a:lnTo>
                    <a:pt x="936" y="23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5" name="Freeform: Shape 330"/>
            <p:cNvSpPr/>
            <p:nvPr/>
          </p:nvSpPr>
          <p:spPr>
            <a:xfrm>
              <a:off x="-2084040" y="4683240"/>
              <a:ext cx="55800" cy="38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6" h="107" fill="none">
                  <a:moveTo>
                    <a:pt x="0" y="95"/>
                  </a:moveTo>
                  <a:lnTo>
                    <a:pt x="0" y="0"/>
                  </a:lnTo>
                  <a:lnTo>
                    <a:pt x="156" y="0"/>
                  </a:lnTo>
                  <a:lnTo>
                    <a:pt x="156" y="10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6" name="Freeform: Shape 331"/>
            <p:cNvSpPr/>
            <p:nvPr/>
          </p:nvSpPr>
          <p:spPr>
            <a:xfrm>
              <a:off x="-2032560" y="4742280"/>
              <a:ext cx="95760" cy="39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7" h="110" fill="none">
                  <a:moveTo>
                    <a:pt x="267" y="0"/>
                  </a:moveTo>
                  <a:lnTo>
                    <a:pt x="0" y="0"/>
                  </a:lnTo>
                  <a:lnTo>
                    <a:pt x="0" y="110"/>
                  </a:lnTo>
                  <a:lnTo>
                    <a:pt x="267" y="11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7" name="Freeform: Shape 332"/>
            <p:cNvSpPr/>
            <p:nvPr/>
          </p:nvSpPr>
          <p:spPr>
            <a:xfrm>
              <a:off x="-1643039" y="4342320"/>
              <a:ext cx="252000" cy="36899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1" h="1026">
                  <a:moveTo>
                    <a:pt x="0" y="1026"/>
                  </a:moveTo>
                  <a:lnTo>
                    <a:pt x="0" y="93"/>
                  </a:lnTo>
                  <a:cubicBezTo>
                    <a:pt x="0" y="93"/>
                    <a:pt x="-13" y="0"/>
                    <a:pt x="340" y="0"/>
                  </a:cubicBezTo>
                  <a:cubicBezTo>
                    <a:pt x="718" y="0"/>
                    <a:pt x="701" y="98"/>
                    <a:pt x="701" y="98"/>
                  </a:cubicBezTo>
                  <a:lnTo>
                    <a:pt x="701" y="1003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8" name="Straight Connector 337"/>
            <p:cNvSpPr/>
            <p:nvPr/>
          </p:nvSpPr>
          <p:spPr>
            <a:xfrm>
              <a:off x="-1589040" y="4842720"/>
              <a:ext cx="806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9" name="Straight Connector 338"/>
            <p:cNvSpPr/>
            <p:nvPr/>
          </p:nvSpPr>
          <p:spPr>
            <a:xfrm>
              <a:off x="-1377000" y="4817160"/>
              <a:ext cx="3128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0" name="Straight Connector 339"/>
            <p:cNvSpPr/>
            <p:nvPr/>
          </p:nvSpPr>
          <p:spPr>
            <a:xfrm>
              <a:off x="-1046520" y="4794120"/>
              <a:ext cx="0" cy="1094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1" name="Freeform: Shape 336"/>
            <p:cNvSpPr/>
            <p:nvPr/>
          </p:nvSpPr>
          <p:spPr>
            <a:xfrm>
              <a:off x="-1307519" y="4671000"/>
              <a:ext cx="417240" cy="1713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60" h="477" fill="none">
                  <a:moveTo>
                    <a:pt x="840" y="282"/>
                  </a:moveTo>
                  <a:lnTo>
                    <a:pt x="840" y="477"/>
                  </a:lnTo>
                  <a:lnTo>
                    <a:pt x="1160" y="477"/>
                  </a:lnTo>
                  <a:lnTo>
                    <a:pt x="1160" y="312"/>
                  </a:lnTo>
                  <a:lnTo>
                    <a:pt x="1020" y="312"/>
                  </a:lnTo>
                  <a:lnTo>
                    <a:pt x="1020" y="176"/>
                  </a:lnTo>
                  <a:lnTo>
                    <a:pt x="288" y="176"/>
                  </a:lnTo>
                  <a:lnTo>
                    <a:pt x="288" y="0"/>
                  </a:lnTo>
                  <a:lnTo>
                    <a:pt x="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2" name="Straight Connector 341"/>
            <p:cNvSpPr/>
            <p:nvPr/>
          </p:nvSpPr>
          <p:spPr>
            <a:xfrm>
              <a:off x="-1122120" y="4694040"/>
              <a:ext cx="0" cy="377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3" name="Straight Connector 342"/>
            <p:cNvSpPr/>
            <p:nvPr/>
          </p:nvSpPr>
          <p:spPr>
            <a:xfrm>
              <a:off x="-1715400" y="4609800"/>
              <a:ext cx="0" cy="262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4" name="Freeform: Shape 339"/>
            <p:cNvSpPr/>
            <p:nvPr/>
          </p:nvSpPr>
          <p:spPr>
            <a:xfrm>
              <a:off x="-1364760" y="4393800"/>
              <a:ext cx="32760" cy="337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" h="939">
                  <a:moveTo>
                    <a:pt x="46" y="939"/>
                  </a:moveTo>
                  <a:lnTo>
                    <a:pt x="0" y="939"/>
                  </a:lnTo>
                  <a:lnTo>
                    <a:pt x="0" y="0"/>
                  </a:lnTo>
                  <a:lnTo>
                    <a:pt x="92" y="0"/>
                  </a:lnTo>
                  <a:lnTo>
                    <a:pt x="92" y="93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5" name="Straight Connector 344"/>
            <p:cNvSpPr/>
            <p:nvPr/>
          </p:nvSpPr>
          <p:spPr>
            <a:xfrm>
              <a:off x="-3700440" y="4998600"/>
              <a:ext cx="0" cy="72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6" name="Straight Connector 345"/>
            <p:cNvSpPr/>
            <p:nvPr/>
          </p:nvSpPr>
          <p:spPr>
            <a:xfrm>
              <a:off x="-2594520" y="5011200"/>
              <a:ext cx="0" cy="64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7" name="Freeform: Shape 342"/>
            <p:cNvSpPr/>
            <p:nvPr/>
          </p:nvSpPr>
          <p:spPr>
            <a:xfrm>
              <a:off x="-4553279" y="4837680"/>
              <a:ext cx="3673080" cy="111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04" h="311">
                  <a:moveTo>
                    <a:pt x="10204" y="309"/>
                  </a:moveTo>
                  <a:lnTo>
                    <a:pt x="3216" y="309"/>
                  </a:lnTo>
                  <a:cubicBezTo>
                    <a:pt x="3216" y="309"/>
                    <a:pt x="0" y="336"/>
                    <a:pt x="0" y="129"/>
                  </a:cubicBezTo>
                  <a:cubicBezTo>
                    <a:pt x="0" y="-37"/>
                    <a:pt x="1652" y="4"/>
                    <a:pt x="1652" y="4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8" name="Freeform: Shape 343"/>
            <p:cNvSpPr/>
            <p:nvPr/>
          </p:nvSpPr>
          <p:spPr>
            <a:xfrm>
              <a:off x="-4382640" y="4862160"/>
              <a:ext cx="478440" cy="30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30" h="87" fill="none">
                  <a:moveTo>
                    <a:pt x="0" y="87"/>
                  </a:moveTo>
                  <a:lnTo>
                    <a:pt x="248" y="0"/>
                  </a:lnTo>
                  <a:lnTo>
                    <a:pt x="133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9" name="Straight Connector 348"/>
            <p:cNvSpPr/>
            <p:nvPr/>
          </p:nvSpPr>
          <p:spPr>
            <a:xfrm>
              <a:off x="-4212720" y="4979160"/>
              <a:ext cx="3232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0" name="Straight Connector 349"/>
            <p:cNvSpPr/>
            <p:nvPr/>
          </p:nvSpPr>
          <p:spPr>
            <a:xfrm>
              <a:off x="-4090320" y="5024520"/>
              <a:ext cx="103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1" name="Straight Connector 350"/>
            <p:cNvSpPr/>
            <p:nvPr/>
          </p:nvSpPr>
          <p:spPr>
            <a:xfrm>
              <a:off x="-3622320" y="4978080"/>
              <a:ext cx="148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2" name="Straight Connector 351"/>
            <p:cNvSpPr/>
            <p:nvPr/>
          </p:nvSpPr>
          <p:spPr>
            <a:xfrm>
              <a:off x="-2055960" y="4992840"/>
              <a:ext cx="295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3" name="Straight Connector 352"/>
            <p:cNvSpPr/>
            <p:nvPr/>
          </p:nvSpPr>
          <p:spPr>
            <a:xfrm>
              <a:off x="-1899720" y="5032800"/>
              <a:ext cx="149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4" name="Straight Connector 353"/>
            <p:cNvSpPr/>
            <p:nvPr/>
          </p:nvSpPr>
          <p:spPr>
            <a:xfrm>
              <a:off x="-1457280" y="4979160"/>
              <a:ext cx="5522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5" name="Straight Connector 354"/>
            <p:cNvSpPr/>
            <p:nvPr/>
          </p:nvSpPr>
          <p:spPr>
            <a:xfrm>
              <a:off x="-3120120" y="4881960"/>
              <a:ext cx="500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6" name="Freeform: Shape 351"/>
            <p:cNvSpPr/>
            <p:nvPr/>
          </p:nvSpPr>
          <p:spPr>
            <a:xfrm>
              <a:off x="-2479320" y="4246200"/>
              <a:ext cx="265680" cy="587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39" h="1634" fill="none">
                  <a:moveTo>
                    <a:pt x="0" y="1634"/>
                  </a:moveTo>
                  <a:lnTo>
                    <a:pt x="0" y="0"/>
                  </a:lnTo>
                  <a:lnTo>
                    <a:pt x="739" y="0"/>
                  </a:lnTo>
                  <a:lnTo>
                    <a:pt x="739" y="136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7" name="Straight Connector 356"/>
            <p:cNvSpPr/>
            <p:nvPr/>
          </p:nvSpPr>
          <p:spPr>
            <a:xfrm>
              <a:off x="-2479320" y="43326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8" name="Straight Connector 357"/>
            <p:cNvSpPr/>
            <p:nvPr/>
          </p:nvSpPr>
          <p:spPr>
            <a:xfrm>
              <a:off x="-2479320" y="437256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9" name="Straight Connector 358"/>
            <p:cNvSpPr/>
            <p:nvPr/>
          </p:nvSpPr>
          <p:spPr>
            <a:xfrm>
              <a:off x="-2479320" y="4402799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0" name="Straight Connector 359"/>
            <p:cNvSpPr/>
            <p:nvPr/>
          </p:nvSpPr>
          <p:spPr>
            <a:xfrm>
              <a:off x="-2479320" y="443304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1" name="Straight Connector 360"/>
            <p:cNvSpPr/>
            <p:nvPr/>
          </p:nvSpPr>
          <p:spPr>
            <a:xfrm>
              <a:off x="-2479320" y="446292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2" name="Straight Connector 361"/>
            <p:cNvSpPr/>
            <p:nvPr/>
          </p:nvSpPr>
          <p:spPr>
            <a:xfrm>
              <a:off x="-2479320" y="44928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3" name="Straight Connector 362"/>
            <p:cNvSpPr/>
            <p:nvPr/>
          </p:nvSpPr>
          <p:spPr>
            <a:xfrm>
              <a:off x="-2479320" y="452304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4" name="Straight Connector 363"/>
            <p:cNvSpPr/>
            <p:nvPr/>
          </p:nvSpPr>
          <p:spPr>
            <a:xfrm>
              <a:off x="-2479320" y="4553279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5" name="Straight Connector 364"/>
            <p:cNvSpPr/>
            <p:nvPr/>
          </p:nvSpPr>
          <p:spPr>
            <a:xfrm>
              <a:off x="-2479320" y="4583159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6" name="Straight Connector 365"/>
            <p:cNvSpPr/>
            <p:nvPr/>
          </p:nvSpPr>
          <p:spPr>
            <a:xfrm>
              <a:off x="-2479320" y="46134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7" name="Straight Connector 366"/>
            <p:cNvSpPr/>
            <p:nvPr/>
          </p:nvSpPr>
          <p:spPr>
            <a:xfrm>
              <a:off x="-2479320" y="464328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8" name="Straight Connector 367"/>
            <p:cNvSpPr/>
            <p:nvPr/>
          </p:nvSpPr>
          <p:spPr>
            <a:xfrm>
              <a:off x="-2479320" y="467352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9" name="Straight Connector 368"/>
            <p:cNvSpPr/>
            <p:nvPr/>
          </p:nvSpPr>
          <p:spPr>
            <a:xfrm>
              <a:off x="-2479320" y="470376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0" name="Straight Connector 369"/>
            <p:cNvSpPr/>
            <p:nvPr/>
          </p:nvSpPr>
          <p:spPr>
            <a:xfrm>
              <a:off x="-2479320" y="47340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1" name="Straight Connector 370"/>
            <p:cNvSpPr/>
            <p:nvPr/>
          </p:nvSpPr>
          <p:spPr>
            <a:xfrm>
              <a:off x="-2479320" y="476028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2" name="Straight Connector 371"/>
            <p:cNvSpPr/>
            <p:nvPr/>
          </p:nvSpPr>
          <p:spPr>
            <a:xfrm>
              <a:off x="-2479320" y="479052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3" name="Straight Connector 372"/>
            <p:cNvSpPr/>
            <p:nvPr/>
          </p:nvSpPr>
          <p:spPr>
            <a:xfrm>
              <a:off x="-2479320" y="482076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4" name="Freeform: Shape 369"/>
            <p:cNvSpPr/>
            <p:nvPr/>
          </p:nvSpPr>
          <p:spPr>
            <a:xfrm>
              <a:off x="-2432880" y="4208760"/>
              <a:ext cx="76680" cy="76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4" h="214">
                  <a:moveTo>
                    <a:pt x="214" y="107"/>
                  </a:moveTo>
                  <a:cubicBezTo>
                    <a:pt x="214" y="126"/>
                    <a:pt x="209" y="143"/>
                    <a:pt x="199" y="160"/>
                  </a:cubicBezTo>
                  <a:cubicBezTo>
                    <a:pt x="189" y="177"/>
                    <a:pt x="177" y="189"/>
                    <a:pt x="160" y="199"/>
                  </a:cubicBezTo>
                  <a:cubicBezTo>
                    <a:pt x="143" y="208"/>
                    <a:pt x="126" y="214"/>
                    <a:pt x="107" y="214"/>
                  </a:cubicBezTo>
                  <a:cubicBezTo>
                    <a:pt x="87" y="214"/>
                    <a:pt x="70" y="208"/>
                    <a:pt x="53" y="199"/>
                  </a:cubicBezTo>
                  <a:cubicBezTo>
                    <a:pt x="36" y="189"/>
                    <a:pt x="24" y="177"/>
                    <a:pt x="14" y="160"/>
                  </a:cubicBezTo>
                  <a:cubicBezTo>
                    <a:pt x="4" y="143"/>
                    <a:pt x="0" y="126"/>
                    <a:pt x="0" y="107"/>
                  </a:cubicBezTo>
                  <a:cubicBezTo>
                    <a:pt x="0" y="87"/>
                    <a:pt x="4" y="70"/>
                    <a:pt x="14" y="53"/>
                  </a:cubicBezTo>
                  <a:cubicBezTo>
                    <a:pt x="24" y="36"/>
                    <a:pt x="36" y="24"/>
                    <a:pt x="53" y="14"/>
                  </a:cubicBezTo>
                  <a:cubicBezTo>
                    <a:pt x="70" y="4"/>
                    <a:pt x="87" y="0"/>
                    <a:pt x="107" y="0"/>
                  </a:cubicBezTo>
                  <a:cubicBezTo>
                    <a:pt x="126" y="0"/>
                    <a:pt x="143" y="4"/>
                    <a:pt x="160" y="14"/>
                  </a:cubicBezTo>
                  <a:cubicBezTo>
                    <a:pt x="177" y="24"/>
                    <a:pt x="189" y="36"/>
                    <a:pt x="199" y="53"/>
                  </a:cubicBezTo>
                  <a:cubicBezTo>
                    <a:pt x="209" y="70"/>
                    <a:pt x="214" y="87"/>
                    <a:pt x="214" y="107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5" name="Straight Connector 374"/>
            <p:cNvSpPr/>
            <p:nvPr/>
          </p:nvSpPr>
          <p:spPr>
            <a:xfrm>
              <a:off x="-2336400" y="4272480"/>
              <a:ext cx="73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6" name="Straight Connector 375"/>
            <p:cNvSpPr/>
            <p:nvPr/>
          </p:nvSpPr>
          <p:spPr>
            <a:xfrm>
              <a:off x="-373716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7" name="Straight Connector 376"/>
            <p:cNvSpPr/>
            <p:nvPr/>
          </p:nvSpPr>
          <p:spPr>
            <a:xfrm>
              <a:off x="-373716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8" name="Straight Connector 377"/>
            <p:cNvSpPr/>
            <p:nvPr/>
          </p:nvSpPr>
          <p:spPr>
            <a:xfrm>
              <a:off x="-373716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9" name="Straight Connector 378"/>
            <p:cNvSpPr/>
            <p:nvPr/>
          </p:nvSpPr>
          <p:spPr>
            <a:xfrm>
              <a:off x="-373716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0" name="Straight Connector 379"/>
            <p:cNvSpPr/>
            <p:nvPr/>
          </p:nvSpPr>
          <p:spPr>
            <a:xfrm>
              <a:off x="-373716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1" name="Straight Connector 380"/>
            <p:cNvSpPr/>
            <p:nvPr/>
          </p:nvSpPr>
          <p:spPr>
            <a:xfrm>
              <a:off x="-373716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2" name="Straight Connector 381"/>
            <p:cNvSpPr/>
            <p:nvPr/>
          </p:nvSpPr>
          <p:spPr>
            <a:xfrm>
              <a:off x="-373716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3" name="Straight Connector 382"/>
            <p:cNvSpPr/>
            <p:nvPr/>
          </p:nvSpPr>
          <p:spPr>
            <a:xfrm>
              <a:off x="-373716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4" name="Straight Connector 383"/>
            <p:cNvSpPr/>
            <p:nvPr/>
          </p:nvSpPr>
          <p:spPr>
            <a:xfrm>
              <a:off x="-373716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5" name="Straight Connector 384"/>
            <p:cNvSpPr/>
            <p:nvPr/>
          </p:nvSpPr>
          <p:spPr>
            <a:xfrm>
              <a:off x="-373716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6" name="Straight Connector 385"/>
            <p:cNvSpPr/>
            <p:nvPr/>
          </p:nvSpPr>
          <p:spPr>
            <a:xfrm>
              <a:off x="-373716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7" name="Straight Connector 386"/>
            <p:cNvSpPr/>
            <p:nvPr/>
          </p:nvSpPr>
          <p:spPr>
            <a:xfrm>
              <a:off x="-373716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8" name="Straight Connector 387"/>
            <p:cNvSpPr/>
            <p:nvPr/>
          </p:nvSpPr>
          <p:spPr>
            <a:xfrm>
              <a:off x="-373716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9" name="Straight Connector 388"/>
            <p:cNvSpPr/>
            <p:nvPr/>
          </p:nvSpPr>
          <p:spPr>
            <a:xfrm>
              <a:off x="-373716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0" name="Straight Connector 389"/>
            <p:cNvSpPr/>
            <p:nvPr/>
          </p:nvSpPr>
          <p:spPr>
            <a:xfrm>
              <a:off x="-373716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1" name="Straight Connector 390"/>
            <p:cNvSpPr/>
            <p:nvPr/>
          </p:nvSpPr>
          <p:spPr>
            <a:xfrm>
              <a:off x="-373716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2" name="Straight Connector 391"/>
            <p:cNvSpPr/>
            <p:nvPr/>
          </p:nvSpPr>
          <p:spPr>
            <a:xfrm>
              <a:off x="-373716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3" name="Straight Connector 392"/>
            <p:cNvSpPr/>
            <p:nvPr/>
          </p:nvSpPr>
          <p:spPr>
            <a:xfrm>
              <a:off x="-37087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4" name="Straight Connector 393"/>
            <p:cNvSpPr/>
            <p:nvPr/>
          </p:nvSpPr>
          <p:spPr>
            <a:xfrm>
              <a:off x="-37087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5" name="Straight Connector 394"/>
            <p:cNvSpPr/>
            <p:nvPr/>
          </p:nvSpPr>
          <p:spPr>
            <a:xfrm>
              <a:off x="-37087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6" name="Straight Connector 395"/>
            <p:cNvSpPr/>
            <p:nvPr/>
          </p:nvSpPr>
          <p:spPr>
            <a:xfrm>
              <a:off x="-37087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7" name="Straight Connector 396"/>
            <p:cNvSpPr/>
            <p:nvPr/>
          </p:nvSpPr>
          <p:spPr>
            <a:xfrm>
              <a:off x="-37087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8" name="Straight Connector 397"/>
            <p:cNvSpPr/>
            <p:nvPr/>
          </p:nvSpPr>
          <p:spPr>
            <a:xfrm>
              <a:off x="-37087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9" name="Straight Connector 398"/>
            <p:cNvSpPr/>
            <p:nvPr/>
          </p:nvSpPr>
          <p:spPr>
            <a:xfrm>
              <a:off x="-37087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0" name="Straight Connector 399"/>
            <p:cNvSpPr/>
            <p:nvPr/>
          </p:nvSpPr>
          <p:spPr>
            <a:xfrm>
              <a:off x="-37087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1" name="Straight Connector 400"/>
            <p:cNvSpPr/>
            <p:nvPr/>
          </p:nvSpPr>
          <p:spPr>
            <a:xfrm>
              <a:off x="-37087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2" name="Straight Connector 401"/>
            <p:cNvSpPr/>
            <p:nvPr/>
          </p:nvSpPr>
          <p:spPr>
            <a:xfrm>
              <a:off x="-37087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3" name="Straight Connector 402"/>
            <p:cNvSpPr/>
            <p:nvPr/>
          </p:nvSpPr>
          <p:spPr>
            <a:xfrm>
              <a:off x="-37087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4" name="Straight Connector 403"/>
            <p:cNvSpPr/>
            <p:nvPr/>
          </p:nvSpPr>
          <p:spPr>
            <a:xfrm>
              <a:off x="-37087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5" name="Straight Connector 404"/>
            <p:cNvSpPr/>
            <p:nvPr/>
          </p:nvSpPr>
          <p:spPr>
            <a:xfrm>
              <a:off x="-37087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6" name="Straight Connector 405"/>
            <p:cNvSpPr/>
            <p:nvPr/>
          </p:nvSpPr>
          <p:spPr>
            <a:xfrm>
              <a:off x="-37087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7" name="Straight Connector 406"/>
            <p:cNvSpPr/>
            <p:nvPr/>
          </p:nvSpPr>
          <p:spPr>
            <a:xfrm>
              <a:off x="-37087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8" name="Straight Connector 407"/>
            <p:cNvSpPr/>
            <p:nvPr/>
          </p:nvSpPr>
          <p:spPr>
            <a:xfrm>
              <a:off x="-37087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9" name="Straight Connector 408"/>
            <p:cNvSpPr/>
            <p:nvPr/>
          </p:nvSpPr>
          <p:spPr>
            <a:xfrm>
              <a:off x="-37087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0" name="Straight Connector 409"/>
            <p:cNvSpPr/>
            <p:nvPr/>
          </p:nvSpPr>
          <p:spPr>
            <a:xfrm>
              <a:off x="-36799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1" name="Straight Connector 410"/>
            <p:cNvSpPr/>
            <p:nvPr/>
          </p:nvSpPr>
          <p:spPr>
            <a:xfrm>
              <a:off x="-36799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2" name="Straight Connector 411"/>
            <p:cNvSpPr/>
            <p:nvPr/>
          </p:nvSpPr>
          <p:spPr>
            <a:xfrm>
              <a:off x="-36799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3" name="Straight Connector 412"/>
            <p:cNvSpPr/>
            <p:nvPr/>
          </p:nvSpPr>
          <p:spPr>
            <a:xfrm>
              <a:off x="-36799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4" name="Straight Connector 413"/>
            <p:cNvSpPr/>
            <p:nvPr/>
          </p:nvSpPr>
          <p:spPr>
            <a:xfrm>
              <a:off x="-36799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5" name="Straight Connector 414"/>
            <p:cNvSpPr/>
            <p:nvPr/>
          </p:nvSpPr>
          <p:spPr>
            <a:xfrm>
              <a:off x="-36799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6" name="Straight Connector 415"/>
            <p:cNvSpPr/>
            <p:nvPr/>
          </p:nvSpPr>
          <p:spPr>
            <a:xfrm>
              <a:off x="-36799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7" name="Straight Connector 416"/>
            <p:cNvSpPr/>
            <p:nvPr/>
          </p:nvSpPr>
          <p:spPr>
            <a:xfrm>
              <a:off x="-36799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8" name="Straight Connector 417"/>
            <p:cNvSpPr/>
            <p:nvPr/>
          </p:nvSpPr>
          <p:spPr>
            <a:xfrm>
              <a:off x="-36799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9" name="Straight Connector 418"/>
            <p:cNvSpPr/>
            <p:nvPr/>
          </p:nvSpPr>
          <p:spPr>
            <a:xfrm>
              <a:off x="-36799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0" name="Straight Connector 419"/>
            <p:cNvSpPr/>
            <p:nvPr/>
          </p:nvSpPr>
          <p:spPr>
            <a:xfrm>
              <a:off x="-36799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1" name="Straight Connector 420"/>
            <p:cNvSpPr/>
            <p:nvPr/>
          </p:nvSpPr>
          <p:spPr>
            <a:xfrm>
              <a:off x="-36799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2" name="Straight Connector 421"/>
            <p:cNvSpPr/>
            <p:nvPr/>
          </p:nvSpPr>
          <p:spPr>
            <a:xfrm>
              <a:off x="-36799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3" name="Straight Connector 422"/>
            <p:cNvSpPr/>
            <p:nvPr/>
          </p:nvSpPr>
          <p:spPr>
            <a:xfrm>
              <a:off x="-36799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4" name="Straight Connector 423"/>
            <p:cNvSpPr/>
            <p:nvPr/>
          </p:nvSpPr>
          <p:spPr>
            <a:xfrm>
              <a:off x="-36799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5" name="Straight Connector 424"/>
            <p:cNvSpPr/>
            <p:nvPr/>
          </p:nvSpPr>
          <p:spPr>
            <a:xfrm>
              <a:off x="-36799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6" name="Straight Connector 425"/>
            <p:cNvSpPr/>
            <p:nvPr/>
          </p:nvSpPr>
          <p:spPr>
            <a:xfrm>
              <a:off x="-36799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7" name="Straight Connector 426"/>
            <p:cNvSpPr/>
            <p:nvPr/>
          </p:nvSpPr>
          <p:spPr>
            <a:xfrm>
              <a:off x="-36511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8" name="Straight Connector 427"/>
            <p:cNvSpPr/>
            <p:nvPr/>
          </p:nvSpPr>
          <p:spPr>
            <a:xfrm>
              <a:off x="-36511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9" name="Straight Connector 428"/>
            <p:cNvSpPr/>
            <p:nvPr/>
          </p:nvSpPr>
          <p:spPr>
            <a:xfrm>
              <a:off x="-36511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0" name="Straight Connector 429"/>
            <p:cNvSpPr/>
            <p:nvPr/>
          </p:nvSpPr>
          <p:spPr>
            <a:xfrm>
              <a:off x="-36511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1" name="Straight Connector 430"/>
            <p:cNvSpPr/>
            <p:nvPr/>
          </p:nvSpPr>
          <p:spPr>
            <a:xfrm>
              <a:off x="-36511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2" name="Straight Connector 431"/>
            <p:cNvSpPr/>
            <p:nvPr/>
          </p:nvSpPr>
          <p:spPr>
            <a:xfrm>
              <a:off x="-36511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3" name="Straight Connector 432"/>
            <p:cNvSpPr/>
            <p:nvPr/>
          </p:nvSpPr>
          <p:spPr>
            <a:xfrm>
              <a:off x="-36511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4" name="Straight Connector 433"/>
            <p:cNvSpPr/>
            <p:nvPr/>
          </p:nvSpPr>
          <p:spPr>
            <a:xfrm>
              <a:off x="-36511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5" name="Straight Connector 434"/>
            <p:cNvSpPr/>
            <p:nvPr/>
          </p:nvSpPr>
          <p:spPr>
            <a:xfrm>
              <a:off x="-36511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6" name="Straight Connector 435"/>
            <p:cNvSpPr/>
            <p:nvPr/>
          </p:nvSpPr>
          <p:spPr>
            <a:xfrm>
              <a:off x="-36511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7" name="Straight Connector 436"/>
            <p:cNvSpPr/>
            <p:nvPr/>
          </p:nvSpPr>
          <p:spPr>
            <a:xfrm>
              <a:off x="-36511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8" name="Straight Connector 437"/>
            <p:cNvSpPr/>
            <p:nvPr/>
          </p:nvSpPr>
          <p:spPr>
            <a:xfrm>
              <a:off x="-36511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9" name="Straight Connector 438"/>
            <p:cNvSpPr/>
            <p:nvPr/>
          </p:nvSpPr>
          <p:spPr>
            <a:xfrm>
              <a:off x="-36511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0" name="Straight Connector 439"/>
            <p:cNvSpPr/>
            <p:nvPr/>
          </p:nvSpPr>
          <p:spPr>
            <a:xfrm>
              <a:off x="-36511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1" name="Straight Connector 440"/>
            <p:cNvSpPr/>
            <p:nvPr/>
          </p:nvSpPr>
          <p:spPr>
            <a:xfrm>
              <a:off x="-36511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2" name="Straight Connector 441"/>
            <p:cNvSpPr/>
            <p:nvPr/>
          </p:nvSpPr>
          <p:spPr>
            <a:xfrm>
              <a:off x="-36511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3" name="Straight Connector 442"/>
            <p:cNvSpPr/>
            <p:nvPr/>
          </p:nvSpPr>
          <p:spPr>
            <a:xfrm>
              <a:off x="-36511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4" name="Straight Connector 443"/>
            <p:cNvSpPr/>
            <p:nvPr/>
          </p:nvSpPr>
          <p:spPr>
            <a:xfrm>
              <a:off x="-36223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5" name="Straight Connector 444"/>
            <p:cNvSpPr/>
            <p:nvPr/>
          </p:nvSpPr>
          <p:spPr>
            <a:xfrm>
              <a:off x="-36223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6" name="Straight Connector 445"/>
            <p:cNvSpPr/>
            <p:nvPr/>
          </p:nvSpPr>
          <p:spPr>
            <a:xfrm>
              <a:off x="-36223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7" name="Straight Connector 446"/>
            <p:cNvSpPr/>
            <p:nvPr/>
          </p:nvSpPr>
          <p:spPr>
            <a:xfrm>
              <a:off x="-36223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8" name="Straight Connector 447"/>
            <p:cNvSpPr/>
            <p:nvPr/>
          </p:nvSpPr>
          <p:spPr>
            <a:xfrm>
              <a:off x="-36223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9" name="Straight Connector 448"/>
            <p:cNvSpPr/>
            <p:nvPr/>
          </p:nvSpPr>
          <p:spPr>
            <a:xfrm>
              <a:off x="-36223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0" name="Straight Connector 449"/>
            <p:cNvSpPr/>
            <p:nvPr/>
          </p:nvSpPr>
          <p:spPr>
            <a:xfrm>
              <a:off x="-36223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1" name="Straight Connector 450"/>
            <p:cNvSpPr/>
            <p:nvPr/>
          </p:nvSpPr>
          <p:spPr>
            <a:xfrm>
              <a:off x="-36223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2" name="Straight Connector 451"/>
            <p:cNvSpPr/>
            <p:nvPr/>
          </p:nvSpPr>
          <p:spPr>
            <a:xfrm>
              <a:off x="-36223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3" name="Straight Connector 452"/>
            <p:cNvSpPr/>
            <p:nvPr/>
          </p:nvSpPr>
          <p:spPr>
            <a:xfrm>
              <a:off x="-36223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4" name="Straight Connector 453"/>
            <p:cNvSpPr/>
            <p:nvPr/>
          </p:nvSpPr>
          <p:spPr>
            <a:xfrm>
              <a:off x="-36223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5" name="Straight Connector 454"/>
            <p:cNvSpPr/>
            <p:nvPr/>
          </p:nvSpPr>
          <p:spPr>
            <a:xfrm>
              <a:off x="-36223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6" name="Straight Connector 455"/>
            <p:cNvSpPr/>
            <p:nvPr/>
          </p:nvSpPr>
          <p:spPr>
            <a:xfrm>
              <a:off x="-36223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7" name="Straight Connector 456"/>
            <p:cNvSpPr/>
            <p:nvPr/>
          </p:nvSpPr>
          <p:spPr>
            <a:xfrm>
              <a:off x="-36223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8" name="Straight Connector 457"/>
            <p:cNvSpPr/>
            <p:nvPr/>
          </p:nvSpPr>
          <p:spPr>
            <a:xfrm>
              <a:off x="-36223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9" name="Straight Connector 458"/>
            <p:cNvSpPr/>
            <p:nvPr/>
          </p:nvSpPr>
          <p:spPr>
            <a:xfrm>
              <a:off x="-36223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0" name="Straight Connector 459"/>
            <p:cNvSpPr/>
            <p:nvPr/>
          </p:nvSpPr>
          <p:spPr>
            <a:xfrm>
              <a:off x="-36223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1" name="Straight Connector 460"/>
            <p:cNvSpPr/>
            <p:nvPr/>
          </p:nvSpPr>
          <p:spPr>
            <a:xfrm>
              <a:off x="-35935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2" name="Straight Connector 461"/>
            <p:cNvSpPr/>
            <p:nvPr/>
          </p:nvSpPr>
          <p:spPr>
            <a:xfrm>
              <a:off x="-35935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3" name="Straight Connector 462"/>
            <p:cNvSpPr/>
            <p:nvPr/>
          </p:nvSpPr>
          <p:spPr>
            <a:xfrm>
              <a:off x="-35935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4" name="Straight Connector 463"/>
            <p:cNvSpPr/>
            <p:nvPr/>
          </p:nvSpPr>
          <p:spPr>
            <a:xfrm>
              <a:off x="-35935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5" name="Straight Connector 464"/>
            <p:cNvSpPr/>
            <p:nvPr/>
          </p:nvSpPr>
          <p:spPr>
            <a:xfrm>
              <a:off x="-35935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6" name="Straight Connector 465"/>
            <p:cNvSpPr/>
            <p:nvPr/>
          </p:nvSpPr>
          <p:spPr>
            <a:xfrm>
              <a:off x="-35935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7" name="Straight Connector 466"/>
            <p:cNvSpPr/>
            <p:nvPr/>
          </p:nvSpPr>
          <p:spPr>
            <a:xfrm>
              <a:off x="-35935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8" name="Straight Connector 467"/>
            <p:cNvSpPr/>
            <p:nvPr/>
          </p:nvSpPr>
          <p:spPr>
            <a:xfrm>
              <a:off x="-35935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9" name="Straight Connector 468"/>
            <p:cNvSpPr/>
            <p:nvPr/>
          </p:nvSpPr>
          <p:spPr>
            <a:xfrm>
              <a:off x="-35935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0" name="Straight Connector 469"/>
            <p:cNvSpPr/>
            <p:nvPr/>
          </p:nvSpPr>
          <p:spPr>
            <a:xfrm>
              <a:off x="-35935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1" name="Straight Connector 470"/>
            <p:cNvSpPr/>
            <p:nvPr/>
          </p:nvSpPr>
          <p:spPr>
            <a:xfrm>
              <a:off x="-35935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2" name="Straight Connector 471"/>
            <p:cNvSpPr/>
            <p:nvPr/>
          </p:nvSpPr>
          <p:spPr>
            <a:xfrm>
              <a:off x="-35935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3" name="Straight Connector 472"/>
            <p:cNvSpPr/>
            <p:nvPr/>
          </p:nvSpPr>
          <p:spPr>
            <a:xfrm>
              <a:off x="-35935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4" name="Straight Connector 473"/>
            <p:cNvSpPr/>
            <p:nvPr/>
          </p:nvSpPr>
          <p:spPr>
            <a:xfrm>
              <a:off x="-35935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5" name="Straight Connector 474"/>
            <p:cNvSpPr/>
            <p:nvPr/>
          </p:nvSpPr>
          <p:spPr>
            <a:xfrm>
              <a:off x="-35935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6" name="Straight Connector 475"/>
            <p:cNvSpPr/>
            <p:nvPr/>
          </p:nvSpPr>
          <p:spPr>
            <a:xfrm>
              <a:off x="-35935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7" name="Straight Connector 476"/>
            <p:cNvSpPr/>
            <p:nvPr/>
          </p:nvSpPr>
          <p:spPr>
            <a:xfrm>
              <a:off x="-35935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8" name="Straight Connector 477"/>
            <p:cNvSpPr/>
            <p:nvPr/>
          </p:nvSpPr>
          <p:spPr>
            <a:xfrm>
              <a:off x="-347868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9" name="Straight Connector 478"/>
            <p:cNvSpPr/>
            <p:nvPr/>
          </p:nvSpPr>
          <p:spPr>
            <a:xfrm>
              <a:off x="-347868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0" name="Straight Connector 479"/>
            <p:cNvSpPr/>
            <p:nvPr/>
          </p:nvSpPr>
          <p:spPr>
            <a:xfrm>
              <a:off x="-347868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1" name="Straight Connector 480"/>
            <p:cNvSpPr/>
            <p:nvPr/>
          </p:nvSpPr>
          <p:spPr>
            <a:xfrm>
              <a:off x="-347868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2" name="Straight Connector 481"/>
            <p:cNvSpPr/>
            <p:nvPr/>
          </p:nvSpPr>
          <p:spPr>
            <a:xfrm>
              <a:off x="-347868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3" name="Straight Connector 482"/>
            <p:cNvSpPr/>
            <p:nvPr/>
          </p:nvSpPr>
          <p:spPr>
            <a:xfrm>
              <a:off x="-347868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4" name="Straight Connector 483"/>
            <p:cNvSpPr/>
            <p:nvPr/>
          </p:nvSpPr>
          <p:spPr>
            <a:xfrm>
              <a:off x="-347868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5" name="Straight Connector 484"/>
            <p:cNvSpPr/>
            <p:nvPr/>
          </p:nvSpPr>
          <p:spPr>
            <a:xfrm>
              <a:off x="-347868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6" name="Straight Connector 485"/>
            <p:cNvSpPr/>
            <p:nvPr/>
          </p:nvSpPr>
          <p:spPr>
            <a:xfrm>
              <a:off x="-347868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7" name="Straight Connector 486"/>
            <p:cNvSpPr/>
            <p:nvPr/>
          </p:nvSpPr>
          <p:spPr>
            <a:xfrm>
              <a:off x="-347868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8" name="Straight Connector 487"/>
            <p:cNvSpPr/>
            <p:nvPr/>
          </p:nvSpPr>
          <p:spPr>
            <a:xfrm>
              <a:off x="-347868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9" name="Straight Connector 488"/>
            <p:cNvSpPr/>
            <p:nvPr/>
          </p:nvSpPr>
          <p:spPr>
            <a:xfrm>
              <a:off x="-347868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0" name="Straight Connector 489"/>
            <p:cNvSpPr/>
            <p:nvPr/>
          </p:nvSpPr>
          <p:spPr>
            <a:xfrm>
              <a:off x="-347868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1" name="Straight Connector 490"/>
            <p:cNvSpPr/>
            <p:nvPr/>
          </p:nvSpPr>
          <p:spPr>
            <a:xfrm>
              <a:off x="-3507479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2" name="Straight Connector 491"/>
            <p:cNvSpPr/>
            <p:nvPr/>
          </p:nvSpPr>
          <p:spPr>
            <a:xfrm>
              <a:off x="-3507479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3" name="Straight Connector 492"/>
            <p:cNvSpPr/>
            <p:nvPr/>
          </p:nvSpPr>
          <p:spPr>
            <a:xfrm>
              <a:off x="-3507479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4" name="Straight Connector 493"/>
            <p:cNvSpPr/>
            <p:nvPr/>
          </p:nvSpPr>
          <p:spPr>
            <a:xfrm>
              <a:off x="-3507479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5" name="Straight Connector 494"/>
            <p:cNvSpPr/>
            <p:nvPr/>
          </p:nvSpPr>
          <p:spPr>
            <a:xfrm>
              <a:off x="-3507479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6" name="Straight Connector 495"/>
            <p:cNvSpPr/>
            <p:nvPr/>
          </p:nvSpPr>
          <p:spPr>
            <a:xfrm>
              <a:off x="-3507479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7" name="Straight Connector 496"/>
            <p:cNvSpPr/>
            <p:nvPr/>
          </p:nvSpPr>
          <p:spPr>
            <a:xfrm>
              <a:off x="-3507479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8" name="Straight Connector 497"/>
            <p:cNvSpPr/>
            <p:nvPr/>
          </p:nvSpPr>
          <p:spPr>
            <a:xfrm>
              <a:off x="-3507479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9" name="Straight Connector 498"/>
            <p:cNvSpPr/>
            <p:nvPr/>
          </p:nvSpPr>
          <p:spPr>
            <a:xfrm>
              <a:off x="-3507479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0" name="Straight Connector 499"/>
            <p:cNvSpPr/>
            <p:nvPr/>
          </p:nvSpPr>
          <p:spPr>
            <a:xfrm>
              <a:off x="-3507479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1" name="Straight Connector 500"/>
            <p:cNvSpPr/>
            <p:nvPr/>
          </p:nvSpPr>
          <p:spPr>
            <a:xfrm>
              <a:off x="-3507479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2" name="Straight Connector 501"/>
            <p:cNvSpPr/>
            <p:nvPr/>
          </p:nvSpPr>
          <p:spPr>
            <a:xfrm>
              <a:off x="-3507479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3" name="Straight Connector 502"/>
            <p:cNvSpPr/>
            <p:nvPr/>
          </p:nvSpPr>
          <p:spPr>
            <a:xfrm>
              <a:off x="-3507479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4" name="Straight Connector 503"/>
            <p:cNvSpPr/>
            <p:nvPr/>
          </p:nvSpPr>
          <p:spPr>
            <a:xfrm>
              <a:off x="-353628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5" name="Straight Connector 504"/>
            <p:cNvSpPr/>
            <p:nvPr/>
          </p:nvSpPr>
          <p:spPr>
            <a:xfrm>
              <a:off x="-353628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6" name="Straight Connector 505"/>
            <p:cNvSpPr/>
            <p:nvPr/>
          </p:nvSpPr>
          <p:spPr>
            <a:xfrm>
              <a:off x="-353628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7" name="Straight Connector 506"/>
            <p:cNvSpPr/>
            <p:nvPr/>
          </p:nvSpPr>
          <p:spPr>
            <a:xfrm>
              <a:off x="-353628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8" name="Straight Connector 507"/>
            <p:cNvSpPr/>
            <p:nvPr/>
          </p:nvSpPr>
          <p:spPr>
            <a:xfrm>
              <a:off x="-353628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9" name="Straight Connector 508"/>
            <p:cNvSpPr/>
            <p:nvPr/>
          </p:nvSpPr>
          <p:spPr>
            <a:xfrm>
              <a:off x="-353628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0" name="Straight Connector 509"/>
            <p:cNvSpPr/>
            <p:nvPr/>
          </p:nvSpPr>
          <p:spPr>
            <a:xfrm>
              <a:off x="-353628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1" name="Straight Connector 510"/>
            <p:cNvSpPr/>
            <p:nvPr/>
          </p:nvSpPr>
          <p:spPr>
            <a:xfrm>
              <a:off x="-353628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2" name="Straight Connector 511"/>
            <p:cNvSpPr/>
            <p:nvPr/>
          </p:nvSpPr>
          <p:spPr>
            <a:xfrm>
              <a:off x="-353628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3" name="Straight Connector 512"/>
            <p:cNvSpPr/>
            <p:nvPr/>
          </p:nvSpPr>
          <p:spPr>
            <a:xfrm>
              <a:off x="-353628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4" name="Straight Connector 513"/>
            <p:cNvSpPr/>
            <p:nvPr/>
          </p:nvSpPr>
          <p:spPr>
            <a:xfrm>
              <a:off x="-353628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5" name="Straight Connector 514"/>
            <p:cNvSpPr/>
            <p:nvPr/>
          </p:nvSpPr>
          <p:spPr>
            <a:xfrm>
              <a:off x="-353628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6" name="Straight Connector 515"/>
            <p:cNvSpPr/>
            <p:nvPr/>
          </p:nvSpPr>
          <p:spPr>
            <a:xfrm>
              <a:off x="-353628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7" name="Straight Connector 516"/>
            <p:cNvSpPr/>
            <p:nvPr/>
          </p:nvSpPr>
          <p:spPr>
            <a:xfrm>
              <a:off x="-35647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8" name="Straight Connector 517"/>
            <p:cNvSpPr/>
            <p:nvPr/>
          </p:nvSpPr>
          <p:spPr>
            <a:xfrm>
              <a:off x="-35647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9" name="Straight Connector 518"/>
            <p:cNvSpPr/>
            <p:nvPr/>
          </p:nvSpPr>
          <p:spPr>
            <a:xfrm>
              <a:off x="-35647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0" name="Straight Connector 519"/>
            <p:cNvSpPr/>
            <p:nvPr/>
          </p:nvSpPr>
          <p:spPr>
            <a:xfrm>
              <a:off x="-35647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1" name="Straight Connector 520"/>
            <p:cNvSpPr/>
            <p:nvPr/>
          </p:nvSpPr>
          <p:spPr>
            <a:xfrm>
              <a:off x="-35647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2" name="Straight Connector 521"/>
            <p:cNvSpPr/>
            <p:nvPr/>
          </p:nvSpPr>
          <p:spPr>
            <a:xfrm>
              <a:off x="-35647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3" name="Straight Connector 522"/>
            <p:cNvSpPr/>
            <p:nvPr/>
          </p:nvSpPr>
          <p:spPr>
            <a:xfrm>
              <a:off x="-35647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4" name="Straight Connector 523"/>
            <p:cNvSpPr/>
            <p:nvPr/>
          </p:nvSpPr>
          <p:spPr>
            <a:xfrm>
              <a:off x="-35647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5" name="Straight Connector 524"/>
            <p:cNvSpPr/>
            <p:nvPr/>
          </p:nvSpPr>
          <p:spPr>
            <a:xfrm>
              <a:off x="-35647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6" name="Straight Connector 525"/>
            <p:cNvSpPr/>
            <p:nvPr/>
          </p:nvSpPr>
          <p:spPr>
            <a:xfrm>
              <a:off x="-35647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7" name="Straight Connector 526"/>
            <p:cNvSpPr/>
            <p:nvPr/>
          </p:nvSpPr>
          <p:spPr>
            <a:xfrm>
              <a:off x="-35647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8" name="Straight Connector 527"/>
            <p:cNvSpPr/>
            <p:nvPr/>
          </p:nvSpPr>
          <p:spPr>
            <a:xfrm>
              <a:off x="-35647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9" name="Straight Connector 528"/>
            <p:cNvSpPr/>
            <p:nvPr/>
          </p:nvSpPr>
          <p:spPr>
            <a:xfrm>
              <a:off x="-35647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0" name="Freeform: Shape 525"/>
            <p:cNvSpPr/>
            <p:nvPr/>
          </p:nvSpPr>
          <p:spPr>
            <a:xfrm>
              <a:off x="-4857120" y="4914360"/>
              <a:ext cx="64080" cy="151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9" h="423">
                  <a:moveTo>
                    <a:pt x="179" y="0"/>
                  </a:moveTo>
                  <a:lnTo>
                    <a:pt x="179" y="423"/>
                  </a:lnTo>
                  <a:lnTo>
                    <a:pt x="0" y="2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1" name="Straight Connector 530"/>
            <p:cNvSpPr/>
            <p:nvPr/>
          </p:nvSpPr>
          <p:spPr>
            <a:xfrm>
              <a:off x="-4856400" y="5070960"/>
              <a:ext cx="363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2" name="Freeform: Shape 527"/>
            <p:cNvSpPr/>
            <p:nvPr/>
          </p:nvSpPr>
          <p:spPr>
            <a:xfrm>
              <a:off x="-522720" y="4912919"/>
              <a:ext cx="54360" cy="128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2" h="358">
                  <a:moveTo>
                    <a:pt x="152" y="0"/>
                  </a:moveTo>
                  <a:lnTo>
                    <a:pt x="152" y="358"/>
                  </a:lnTo>
                  <a:lnTo>
                    <a:pt x="0" y="2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3" name="Straight Connector 532"/>
            <p:cNvSpPr/>
            <p:nvPr/>
          </p:nvSpPr>
          <p:spPr>
            <a:xfrm>
              <a:off x="-522000" y="5045400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4" name="Freeform: Shape 529"/>
            <p:cNvSpPr/>
            <p:nvPr/>
          </p:nvSpPr>
          <p:spPr>
            <a:xfrm>
              <a:off x="-4664520" y="4919400"/>
              <a:ext cx="89640" cy="210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50" h="587">
                  <a:moveTo>
                    <a:pt x="250" y="0"/>
                  </a:moveTo>
                  <a:lnTo>
                    <a:pt x="250" y="587"/>
                  </a:lnTo>
                  <a:lnTo>
                    <a:pt x="0" y="3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5" name="Straight Connector 534"/>
            <p:cNvSpPr/>
            <p:nvPr/>
          </p:nvSpPr>
          <p:spPr>
            <a:xfrm>
              <a:off x="-4662720" y="5136840"/>
              <a:ext cx="504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6" name="Freeform: Shape 531"/>
            <p:cNvSpPr/>
            <p:nvPr/>
          </p:nvSpPr>
          <p:spPr>
            <a:xfrm>
              <a:off x="-905039" y="4865040"/>
              <a:ext cx="110160" cy="260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724">
                  <a:moveTo>
                    <a:pt x="307" y="0"/>
                  </a:moveTo>
                  <a:lnTo>
                    <a:pt x="307" y="724"/>
                  </a:lnTo>
                  <a:lnTo>
                    <a:pt x="0" y="48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7" name="Straight Connector 536"/>
            <p:cNvSpPr/>
            <p:nvPr/>
          </p:nvSpPr>
          <p:spPr>
            <a:xfrm>
              <a:off x="-903240" y="5133240"/>
              <a:ext cx="619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8" name="Straight Connector 537"/>
            <p:cNvSpPr/>
            <p:nvPr/>
          </p:nvSpPr>
          <p:spPr>
            <a:xfrm>
              <a:off x="-5202360" y="4673160"/>
              <a:ext cx="967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9" name="Straight Connector 538"/>
            <p:cNvSpPr/>
            <p:nvPr/>
          </p:nvSpPr>
          <p:spPr>
            <a:xfrm>
              <a:off x="-5132520" y="4446000"/>
              <a:ext cx="0" cy="312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0" name="Straight Connector 539"/>
            <p:cNvSpPr/>
            <p:nvPr/>
          </p:nvSpPr>
          <p:spPr>
            <a:xfrm>
              <a:off x="-4321800" y="4446000"/>
              <a:ext cx="0" cy="312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1" name="Freeform: Shape 536"/>
            <p:cNvSpPr/>
            <p:nvPr/>
          </p:nvSpPr>
          <p:spPr>
            <a:xfrm>
              <a:off x="-5130720" y="4471200"/>
              <a:ext cx="808560" cy="153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47" h="426">
                  <a:moveTo>
                    <a:pt x="2247" y="0"/>
                  </a:moveTo>
                  <a:cubicBezTo>
                    <a:pt x="1971" y="261"/>
                    <a:pt x="1567" y="426"/>
                    <a:pt x="1117" y="426"/>
                  </a:cubicBezTo>
                  <a:cubicBezTo>
                    <a:pt x="674" y="426"/>
                    <a:pt x="276" y="266"/>
                    <a:pt x="0" y="1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2" name="Straight Connector 541"/>
            <p:cNvSpPr/>
            <p:nvPr/>
          </p:nvSpPr>
          <p:spPr>
            <a:xfrm>
              <a:off x="-506700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3" name="Straight Connector 542"/>
            <p:cNvSpPr/>
            <p:nvPr/>
          </p:nvSpPr>
          <p:spPr>
            <a:xfrm>
              <a:off x="-5019480" y="455364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4" name="Straight Connector 543"/>
            <p:cNvSpPr/>
            <p:nvPr/>
          </p:nvSpPr>
          <p:spPr>
            <a:xfrm>
              <a:off x="-4969800" y="457884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5" name="Straight Connector 544"/>
            <p:cNvSpPr/>
            <p:nvPr/>
          </p:nvSpPr>
          <p:spPr>
            <a:xfrm>
              <a:off x="-4921560" y="459648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6" name="Straight Connector 545"/>
            <p:cNvSpPr/>
            <p:nvPr/>
          </p:nvSpPr>
          <p:spPr>
            <a:xfrm>
              <a:off x="-4873320" y="460800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7" name="Straight Connector 546"/>
            <p:cNvSpPr/>
            <p:nvPr/>
          </p:nvSpPr>
          <p:spPr>
            <a:xfrm>
              <a:off x="-4825080" y="461844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8" name="Straight Connector 547"/>
            <p:cNvSpPr/>
            <p:nvPr/>
          </p:nvSpPr>
          <p:spPr>
            <a:xfrm>
              <a:off x="-4776480" y="4622760"/>
              <a:ext cx="0" cy="50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9" name="Straight Connector 548"/>
            <p:cNvSpPr/>
            <p:nvPr/>
          </p:nvSpPr>
          <p:spPr>
            <a:xfrm>
              <a:off x="-438984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0" name="Straight Connector 549"/>
            <p:cNvSpPr/>
            <p:nvPr/>
          </p:nvSpPr>
          <p:spPr>
            <a:xfrm>
              <a:off x="-4437720" y="455364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1" name="Straight Connector 550"/>
            <p:cNvSpPr/>
            <p:nvPr/>
          </p:nvSpPr>
          <p:spPr>
            <a:xfrm>
              <a:off x="-4487040" y="457884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2" name="Straight Connector 551"/>
            <p:cNvSpPr/>
            <p:nvPr/>
          </p:nvSpPr>
          <p:spPr>
            <a:xfrm>
              <a:off x="-4535280" y="459648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3" name="Straight Connector 552"/>
            <p:cNvSpPr/>
            <p:nvPr/>
          </p:nvSpPr>
          <p:spPr>
            <a:xfrm>
              <a:off x="-4583520" y="460800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4" name="Straight Connector 553"/>
            <p:cNvSpPr/>
            <p:nvPr/>
          </p:nvSpPr>
          <p:spPr>
            <a:xfrm>
              <a:off x="-4631760" y="461844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5" name="Straight Connector 554"/>
            <p:cNvSpPr/>
            <p:nvPr/>
          </p:nvSpPr>
          <p:spPr>
            <a:xfrm>
              <a:off x="-4680360" y="4622760"/>
              <a:ext cx="0" cy="50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6" name="Straight Connector 555"/>
            <p:cNvSpPr/>
            <p:nvPr/>
          </p:nvSpPr>
          <p:spPr>
            <a:xfrm>
              <a:off x="-4728239" y="4624560"/>
              <a:ext cx="0" cy="46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7" name="Straight Connector 556"/>
            <p:cNvSpPr/>
            <p:nvPr/>
          </p:nvSpPr>
          <p:spPr>
            <a:xfrm>
              <a:off x="-5539320" y="4673160"/>
              <a:ext cx="493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8" name="Freeform: Shape 553"/>
            <p:cNvSpPr/>
            <p:nvPr/>
          </p:nvSpPr>
          <p:spPr>
            <a:xfrm>
              <a:off x="-5539320" y="4471200"/>
              <a:ext cx="406080" cy="153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9" h="426">
                  <a:moveTo>
                    <a:pt x="1129" y="0"/>
                  </a:moveTo>
                  <a:cubicBezTo>
                    <a:pt x="853" y="261"/>
                    <a:pt x="450" y="426"/>
                    <a:pt x="0" y="426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9" name="Straight Connector 558"/>
            <p:cNvSpPr/>
            <p:nvPr/>
          </p:nvSpPr>
          <p:spPr>
            <a:xfrm>
              <a:off x="-520056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0" name="Straight Connector 559"/>
            <p:cNvSpPr/>
            <p:nvPr/>
          </p:nvSpPr>
          <p:spPr>
            <a:xfrm>
              <a:off x="-5248440" y="455364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1" name="Straight Connector 560"/>
            <p:cNvSpPr/>
            <p:nvPr/>
          </p:nvSpPr>
          <p:spPr>
            <a:xfrm>
              <a:off x="-5298120" y="457884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2" name="Straight Connector 561"/>
            <p:cNvSpPr/>
            <p:nvPr/>
          </p:nvSpPr>
          <p:spPr>
            <a:xfrm>
              <a:off x="-5346360" y="459648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3" name="Straight Connector 562"/>
            <p:cNvSpPr/>
            <p:nvPr/>
          </p:nvSpPr>
          <p:spPr>
            <a:xfrm>
              <a:off x="-5394960" y="460800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4" name="Straight Connector 563"/>
            <p:cNvSpPr/>
            <p:nvPr/>
          </p:nvSpPr>
          <p:spPr>
            <a:xfrm>
              <a:off x="-5443200" y="461844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5" name="Straight Connector 564"/>
            <p:cNvSpPr/>
            <p:nvPr/>
          </p:nvSpPr>
          <p:spPr>
            <a:xfrm>
              <a:off x="-5491440" y="4622760"/>
              <a:ext cx="0" cy="50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6" name="Straight Connector 565"/>
            <p:cNvSpPr/>
            <p:nvPr/>
          </p:nvSpPr>
          <p:spPr>
            <a:xfrm>
              <a:off x="-4391279" y="4673160"/>
              <a:ext cx="1623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7" name="Freeform: Shape 562"/>
            <p:cNvSpPr/>
            <p:nvPr/>
          </p:nvSpPr>
          <p:spPr>
            <a:xfrm>
              <a:off x="-4319640" y="4475160"/>
              <a:ext cx="164160" cy="103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57" h="288">
                  <a:moveTo>
                    <a:pt x="457" y="288"/>
                  </a:moveTo>
                  <a:cubicBezTo>
                    <a:pt x="284" y="217"/>
                    <a:pt x="129" y="119"/>
                    <a:pt x="0" y="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8" name="Straight Connector 567"/>
            <p:cNvSpPr/>
            <p:nvPr/>
          </p:nvSpPr>
          <p:spPr>
            <a:xfrm>
              <a:off x="-425664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9" name="Straight Connector 568"/>
            <p:cNvSpPr/>
            <p:nvPr/>
          </p:nvSpPr>
          <p:spPr>
            <a:xfrm>
              <a:off x="-4208400" y="4553640"/>
              <a:ext cx="0" cy="936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0" name="Straight Connector 569"/>
            <p:cNvSpPr/>
            <p:nvPr/>
          </p:nvSpPr>
          <p:spPr>
            <a:xfrm>
              <a:off x="-4159080" y="4578840"/>
              <a:ext cx="0" cy="53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1" name="Freeform: Shape 566"/>
            <p:cNvSpPr/>
            <p:nvPr/>
          </p:nvSpPr>
          <p:spPr>
            <a:xfrm>
              <a:off x="3089160" y="3954240"/>
              <a:ext cx="279360" cy="702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77" h="1951" fill="none">
                  <a:moveTo>
                    <a:pt x="0" y="1949"/>
                  </a:moveTo>
                  <a:lnTo>
                    <a:pt x="399" y="0"/>
                  </a:lnTo>
                  <a:lnTo>
                    <a:pt x="777" y="195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2" name="Freeform: Shape 567"/>
            <p:cNvSpPr/>
            <p:nvPr/>
          </p:nvSpPr>
          <p:spPr>
            <a:xfrm>
              <a:off x="3156479" y="4094280"/>
              <a:ext cx="150480" cy="1965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9" h="547" fill="none">
                  <a:moveTo>
                    <a:pt x="20" y="547"/>
                  </a:moveTo>
                  <a:lnTo>
                    <a:pt x="0" y="0"/>
                  </a:lnTo>
                  <a:lnTo>
                    <a:pt x="419" y="0"/>
                  </a:lnTo>
                  <a:lnTo>
                    <a:pt x="390" y="5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3" name="Straight Connector 572"/>
            <p:cNvSpPr/>
            <p:nvPr/>
          </p:nvSpPr>
          <p:spPr>
            <a:xfrm>
              <a:off x="3219839" y="4127040"/>
              <a:ext cx="219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4" name="Straight Connector 573"/>
            <p:cNvSpPr/>
            <p:nvPr/>
          </p:nvSpPr>
          <p:spPr>
            <a:xfrm>
              <a:off x="3213720" y="4158720"/>
              <a:ext cx="338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5" name="Straight Connector 574"/>
            <p:cNvSpPr/>
            <p:nvPr/>
          </p:nvSpPr>
          <p:spPr>
            <a:xfrm>
              <a:off x="3208320" y="4190399"/>
              <a:ext cx="4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6" name="Straight Connector 575"/>
            <p:cNvSpPr/>
            <p:nvPr/>
          </p:nvSpPr>
          <p:spPr>
            <a:xfrm>
              <a:off x="3202560" y="4221719"/>
              <a:ext cx="55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7" name="Straight Connector 576"/>
            <p:cNvSpPr/>
            <p:nvPr/>
          </p:nvSpPr>
          <p:spPr>
            <a:xfrm>
              <a:off x="3196800" y="4253400"/>
              <a:ext cx="67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8" name="Straight Connector 577"/>
            <p:cNvSpPr/>
            <p:nvPr/>
          </p:nvSpPr>
          <p:spPr>
            <a:xfrm>
              <a:off x="3191040" y="4285080"/>
              <a:ext cx="784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9" name="Straight Connector 578"/>
            <p:cNvSpPr/>
            <p:nvPr/>
          </p:nvSpPr>
          <p:spPr>
            <a:xfrm>
              <a:off x="3185279" y="4316760"/>
              <a:ext cx="90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0" name="Straight Connector 579"/>
            <p:cNvSpPr/>
            <p:nvPr/>
          </p:nvSpPr>
          <p:spPr>
            <a:xfrm>
              <a:off x="3179880" y="4348440"/>
              <a:ext cx="1011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1" name="Straight Connector 580"/>
            <p:cNvSpPr/>
            <p:nvPr/>
          </p:nvSpPr>
          <p:spPr>
            <a:xfrm>
              <a:off x="3174120" y="4380120"/>
              <a:ext cx="112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2" name="Straight Connector 581"/>
            <p:cNvSpPr/>
            <p:nvPr/>
          </p:nvSpPr>
          <p:spPr>
            <a:xfrm>
              <a:off x="3168360" y="4411800"/>
              <a:ext cx="1234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3" name="Straight Connector 582"/>
            <p:cNvSpPr/>
            <p:nvPr/>
          </p:nvSpPr>
          <p:spPr>
            <a:xfrm>
              <a:off x="3162600" y="4443120"/>
              <a:ext cx="135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4" name="Straight Connector 583"/>
            <p:cNvSpPr/>
            <p:nvPr/>
          </p:nvSpPr>
          <p:spPr>
            <a:xfrm>
              <a:off x="3156840" y="4474440"/>
              <a:ext cx="146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5" name="Straight Connector 584"/>
            <p:cNvSpPr/>
            <p:nvPr/>
          </p:nvSpPr>
          <p:spPr>
            <a:xfrm>
              <a:off x="3151080" y="4506120"/>
              <a:ext cx="1576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6" name="Straight Connector 585"/>
            <p:cNvSpPr/>
            <p:nvPr/>
          </p:nvSpPr>
          <p:spPr>
            <a:xfrm>
              <a:off x="3145679" y="4537800"/>
              <a:ext cx="1684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7" name="Straight Connector 586"/>
            <p:cNvSpPr/>
            <p:nvPr/>
          </p:nvSpPr>
          <p:spPr>
            <a:xfrm>
              <a:off x="3139559" y="4569480"/>
              <a:ext cx="1803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8" name="Straight Connector 587"/>
            <p:cNvSpPr/>
            <p:nvPr/>
          </p:nvSpPr>
          <p:spPr>
            <a:xfrm>
              <a:off x="3134160" y="4601160"/>
              <a:ext cx="1915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9" name="Straight Connector 588"/>
            <p:cNvSpPr/>
            <p:nvPr/>
          </p:nvSpPr>
          <p:spPr>
            <a:xfrm>
              <a:off x="3128400" y="4632840"/>
              <a:ext cx="202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55543494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N28505_blue-shortandwide_v2_wGlow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7310"/>
          </a:xfrm>
          <a:prstGeom prst="rect">
            <a:avLst/>
          </a:prstGeom>
        </p:spPr>
      </p:pic>
      <p:pic>
        <p:nvPicPr>
          <p:cNvPr id="9" name="Picture Placeholder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5" y="0"/>
            <a:ext cx="9137231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955280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4" cstate="print">
            <a:biLevel thresh="25000"/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latin typeface="Arial"/>
              <a:cs typeface="CiscoSans Thin"/>
            </a:endParaRPr>
          </a:p>
        </p:txBody>
      </p:sp>
      <p:sp>
        <p:nvSpPr>
          <p:cNvPr id="16" name="Rectangle 4"/>
          <p:cNvSpPr>
            <a:spLocks noChangeArrowheads="1"/>
          </p:cNvSpPr>
          <p:nvPr userDrawn="1"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© </a:t>
            </a:r>
            <a:r>
              <a:rPr lang="en-US" sz="6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2016  </a:t>
            </a: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6300869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gue Gradient">
    <p:bg>
      <p:bgPr>
        <a:gradFill rotWithShape="0">
          <a:gsLst>
            <a:gs pos="0">
              <a:srgbClr val="1064A8"/>
            </a:gs>
            <a:gs pos="69000">
              <a:srgbClr val="011B42"/>
            </a:gs>
            <a:gs pos="100000">
              <a:srgbClr val="0A1528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4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pic>
        <p:nvPicPr>
          <p:cNvPr id="9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print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latin typeface="Arial"/>
              <a:cs typeface="CiscoSans Thin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© </a:t>
            </a:r>
            <a:r>
              <a:rPr lang="en-US" sz="6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2016  </a:t>
            </a: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71076264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 Slide">
    <p:bg>
      <p:bgPr>
        <a:gradFill>
          <a:gsLst>
            <a:gs pos="0">
              <a:srgbClr val="1064A8"/>
            </a:gs>
            <a:gs pos="69000">
              <a:srgbClr val="011B42"/>
            </a:gs>
            <a:gs pos="100000">
              <a:srgbClr val="0A1528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print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620932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verywhere Grid,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2" name="Group 251"/>
          <p:cNvGrpSpPr>
            <a:grpSpLocks noChangeAspect="1"/>
          </p:cNvGrpSpPr>
          <p:nvPr userDrawn="1"/>
        </p:nvGrpSpPr>
        <p:grpSpPr>
          <a:xfrm>
            <a:off x="-914401" y="1028700"/>
            <a:ext cx="10972803" cy="4114800"/>
            <a:chOff x="0" y="1711704"/>
            <a:chExt cx="9144000" cy="3428999"/>
          </a:xfrm>
        </p:grpSpPr>
        <p:pic>
          <p:nvPicPr>
            <p:cNvPr id="3" name="Picture 2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1711704"/>
              <a:ext cx="9144000" cy="3428999"/>
            </a:xfrm>
            <a:prstGeom prst="rect">
              <a:avLst/>
            </a:prstGeom>
          </p:spPr>
        </p:pic>
        <p:grpSp>
          <p:nvGrpSpPr>
            <p:cNvPr id="4" name="Group 3"/>
            <p:cNvGrpSpPr>
              <a:grpSpLocks noChangeAspect="1"/>
            </p:cNvGrpSpPr>
            <p:nvPr userDrawn="1"/>
          </p:nvGrpSpPr>
          <p:grpSpPr>
            <a:xfrm>
              <a:off x="1794290" y="3277245"/>
              <a:ext cx="182880" cy="162720"/>
              <a:chOff x="2338919" y="1243924"/>
              <a:chExt cx="257056" cy="228719"/>
            </a:xfrm>
            <a:solidFill>
              <a:schemeClr val="bg1">
                <a:lumMod val="85000"/>
                <a:alpha val="30000"/>
              </a:schemeClr>
            </a:solidFill>
          </p:grpSpPr>
          <p:sp>
            <p:nvSpPr>
              <p:cNvPr id="5" name="Freeform 17"/>
              <p:cNvSpPr>
                <a:spLocks noEditPoints="1"/>
              </p:cNvSpPr>
              <p:nvPr/>
            </p:nvSpPr>
            <p:spPr bwMode="auto">
              <a:xfrm>
                <a:off x="2375351" y="1243924"/>
                <a:ext cx="184190" cy="228719"/>
              </a:xfrm>
              <a:custGeom>
                <a:avLst/>
                <a:gdLst>
                  <a:gd name="T0" fmla="*/ 84 w 458"/>
                  <a:gd name="T1" fmla="*/ 33 h 566"/>
                  <a:gd name="T2" fmla="*/ 84 w 458"/>
                  <a:gd name="T3" fmla="*/ 33 h 566"/>
                  <a:gd name="T4" fmla="*/ 84 w 458"/>
                  <a:gd name="T5" fmla="*/ 64 h 566"/>
                  <a:gd name="T6" fmla="*/ 176 w 458"/>
                  <a:gd name="T7" fmla="*/ 42 h 566"/>
                  <a:gd name="T8" fmla="*/ 176 w 458"/>
                  <a:gd name="T9" fmla="*/ 11 h 566"/>
                  <a:gd name="T10" fmla="*/ 229 w 458"/>
                  <a:gd name="T11" fmla="*/ 0 h 566"/>
                  <a:gd name="T12" fmla="*/ 281 w 458"/>
                  <a:gd name="T13" fmla="*/ 11 h 566"/>
                  <a:gd name="T14" fmla="*/ 281 w 458"/>
                  <a:gd name="T15" fmla="*/ 42 h 566"/>
                  <a:gd name="T16" fmla="*/ 374 w 458"/>
                  <a:gd name="T17" fmla="*/ 64 h 566"/>
                  <a:gd name="T18" fmla="*/ 374 w 458"/>
                  <a:gd name="T19" fmla="*/ 33 h 566"/>
                  <a:gd name="T20" fmla="*/ 458 w 458"/>
                  <a:gd name="T21" fmla="*/ 51 h 566"/>
                  <a:gd name="T22" fmla="*/ 458 w 458"/>
                  <a:gd name="T23" fmla="*/ 220 h 566"/>
                  <a:gd name="T24" fmla="*/ 229 w 458"/>
                  <a:gd name="T25" fmla="*/ 566 h 566"/>
                  <a:gd name="T26" fmla="*/ 0 w 458"/>
                  <a:gd name="T27" fmla="*/ 220 h 566"/>
                  <a:gd name="T28" fmla="*/ 0 w 458"/>
                  <a:gd name="T29" fmla="*/ 51 h 566"/>
                  <a:gd name="T30" fmla="*/ 84 w 458"/>
                  <a:gd name="T31" fmla="*/ 33 h 566"/>
                  <a:gd name="T32" fmla="*/ 63 w 458"/>
                  <a:gd name="T33" fmla="*/ 220 h 566"/>
                  <a:gd name="T34" fmla="*/ 63 w 458"/>
                  <a:gd name="T35" fmla="*/ 220 h 566"/>
                  <a:gd name="T36" fmla="*/ 70 w 458"/>
                  <a:gd name="T37" fmla="*/ 282 h 566"/>
                  <a:gd name="T38" fmla="*/ 229 w 458"/>
                  <a:gd name="T39" fmla="*/ 282 h 566"/>
                  <a:gd name="T40" fmla="*/ 229 w 458"/>
                  <a:gd name="T41" fmla="*/ 495 h 566"/>
                  <a:gd name="T42" fmla="*/ 388 w 458"/>
                  <a:gd name="T43" fmla="*/ 282 h 566"/>
                  <a:gd name="T44" fmla="*/ 229 w 458"/>
                  <a:gd name="T45" fmla="*/ 282 h 566"/>
                  <a:gd name="T46" fmla="*/ 229 w 458"/>
                  <a:gd name="T47" fmla="*/ 97 h 566"/>
                  <a:gd name="T48" fmla="*/ 63 w 458"/>
                  <a:gd name="T49" fmla="*/ 137 h 566"/>
                  <a:gd name="T50" fmla="*/ 63 w 458"/>
                  <a:gd name="T51" fmla="*/ 220 h 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58" h="566">
                    <a:moveTo>
                      <a:pt x="84" y="33"/>
                    </a:moveTo>
                    <a:lnTo>
                      <a:pt x="84" y="33"/>
                    </a:lnTo>
                    <a:lnTo>
                      <a:pt x="84" y="64"/>
                    </a:lnTo>
                    <a:lnTo>
                      <a:pt x="176" y="42"/>
                    </a:lnTo>
                    <a:lnTo>
                      <a:pt x="176" y="11"/>
                    </a:lnTo>
                    <a:lnTo>
                      <a:pt x="229" y="0"/>
                    </a:lnTo>
                    <a:lnTo>
                      <a:pt x="281" y="11"/>
                    </a:lnTo>
                    <a:lnTo>
                      <a:pt x="281" y="42"/>
                    </a:lnTo>
                    <a:lnTo>
                      <a:pt x="374" y="64"/>
                    </a:lnTo>
                    <a:lnTo>
                      <a:pt x="374" y="33"/>
                    </a:lnTo>
                    <a:lnTo>
                      <a:pt x="458" y="51"/>
                    </a:lnTo>
                    <a:lnTo>
                      <a:pt x="458" y="220"/>
                    </a:lnTo>
                    <a:cubicBezTo>
                      <a:pt x="458" y="377"/>
                      <a:pt x="364" y="509"/>
                      <a:pt x="229" y="566"/>
                    </a:cubicBezTo>
                    <a:cubicBezTo>
                      <a:pt x="94" y="509"/>
                      <a:pt x="0" y="377"/>
                      <a:pt x="0" y="220"/>
                    </a:cubicBezTo>
                    <a:lnTo>
                      <a:pt x="0" y="51"/>
                    </a:lnTo>
                    <a:lnTo>
                      <a:pt x="84" y="33"/>
                    </a:lnTo>
                    <a:close/>
                    <a:moveTo>
                      <a:pt x="63" y="220"/>
                    </a:moveTo>
                    <a:lnTo>
                      <a:pt x="63" y="220"/>
                    </a:lnTo>
                    <a:cubicBezTo>
                      <a:pt x="63" y="242"/>
                      <a:pt x="64" y="262"/>
                      <a:pt x="70" y="282"/>
                    </a:cubicBezTo>
                    <a:lnTo>
                      <a:pt x="229" y="282"/>
                    </a:lnTo>
                    <a:lnTo>
                      <a:pt x="229" y="495"/>
                    </a:lnTo>
                    <a:cubicBezTo>
                      <a:pt x="311" y="451"/>
                      <a:pt x="371" y="373"/>
                      <a:pt x="388" y="282"/>
                    </a:cubicBezTo>
                    <a:lnTo>
                      <a:pt x="229" y="282"/>
                    </a:lnTo>
                    <a:lnTo>
                      <a:pt x="229" y="97"/>
                    </a:lnTo>
                    <a:lnTo>
                      <a:pt x="63" y="137"/>
                    </a:lnTo>
                    <a:lnTo>
                      <a:pt x="63" y="22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CA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6" name="Freeform 18"/>
              <p:cNvSpPr>
                <a:spLocks noEditPoints="1"/>
              </p:cNvSpPr>
              <p:nvPr/>
            </p:nvSpPr>
            <p:spPr bwMode="auto">
              <a:xfrm>
                <a:off x="2338919" y="1290478"/>
                <a:ext cx="257056" cy="156865"/>
              </a:xfrm>
              <a:custGeom>
                <a:avLst/>
                <a:gdLst>
                  <a:gd name="T0" fmla="*/ 75 w 636"/>
                  <a:gd name="T1" fmla="*/ 105 h 388"/>
                  <a:gd name="T2" fmla="*/ 75 w 636"/>
                  <a:gd name="T3" fmla="*/ 105 h 388"/>
                  <a:gd name="T4" fmla="*/ 0 w 636"/>
                  <a:gd name="T5" fmla="*/ 105 h 388"/>
                  <a:gd name="T6" fmla="*/ 0 w 636"/>
                  <a:gd name="T7" fmla="*/ 179 h 388"/>
                  <a:gd name="T8" fmla="*/ 82 w 636"/>
                  <a:gd name="T9" fmla="*/ 179 h 388"/>
                  <a:gd name="T10" fmla="*/ 75 w 636"/>
                  <a:gd name="T11" fmla="*/ 105 h 388"/>
                  <a:gd name="T12" fmla="*/ 89 w 636"/>
                  <a:gd name="T13" fmla="*/ 209 h 388"/>
                  <a:gd name="T14" fmla="*/ 89 w 636"/>
                  <a:gd name="T15" fmla="*/ 209 h 388"/>
                  <a:gd name="T16" fmla="*/ 0 w 636"/>
                  <a:gd name="T17" fmla="*/ 209 h 388"/>
                  <a:gd name="T18" fmla="*/ 0 w 636"/>
                  <a:gd name="T19" fmla="*/ 282 h 388"/>
                  <a:gd name="T20" fmla="*/ 117 w 636"/>
                  <a:gd name="T21" fmla="*/ 282 h 388"/>
                  <a:gd name="T22" fmla="*/ 89 w 636"/>
                  <a:gd name="T23" fmla="*/ 209 h 388"/>
                  <a:gd name="T24" fmla="*/ 75 w 636"/>
                  <a:gd name="T25" fmla="*/ 0 h 388"/>
                  <a:gd name="T26" fmla="*/ 75 w 636"/>
                  <a:gd name="T27" fmla="*/ 0 h 388"/>
                  <a:gd name="T28" fmla="*/ 0 w 636"/>
                  <a:gd name="T29" fmla="*/ 0 h 388"/>
                  <a:gd name="T30" fmla="*/ 0 w 636"/>
                  <a:gd name="T31" fmla="*/ 73 h 388"/>
                  <a:gd name="T32" fmla="*/ 75 w 636"/>
                  <a:gd name="T33" fmla="*/ 73 h 388"/>
                  <a:gd name="T34" fmla="*/ 75 w 636"/>
                  <a:gd name="T35" fmla="*/ 0 h 388"/>
                  <a:gd name="T36" fmla="*/ 43 w 636"/>
                  <a:gd name="T37" fmla="*/ 314 h 388"/>
                  <a:gd name="T38" fmla="*/ 43 w 636"/>
                  <a:gd name="T39" fmla="*/ 314 h 388"/>
                  <a:gd name="T40" fmla="*/ 0 w 636"/>
                  <a:gd name="T41" fmla="*/ 314 h 388"/>
                  <a:gd name="T42" fmla="*/ 0 w 636"/>
                  <a:gd name="T43" fmla="*/ 388 h 388"/>
                  <a:gd name="T44" fmla="*/ 43 w 636"/>
                  <a:gd name="T45" fmla="*/ 388 h 388"/>
                  <a:gd name="T46" fmla="*/ 53 w 636"/>
                  <a:gd name="T47" fmla="*/ 388 h 388"/>
                  <a:gd name="T48" fmla="*/ 196 w 636"/>
                  <a:gd name="T49" fmla="*/ 388 h 388"/>
                  <a:gd name="T50" fmla="*/ 135 w 636"/>
                  <a:gd name="T51" fmla="*/ 314 h 388"/>
                  <a:gd name="T52" fmla="*/ 43 w 636"/>
                  <a:gd name="T53" fmla="*/ 314 h 388"/>
                  <a:gd name="T54" fmla="*/ 561 w 636"/>
                  <a:gd name="T55" fmla="*/ 73 h 388"/>
                  <a:gd name="T56" fmla="*/ 561 w 636"/>
                  <a:gd name="T57" fmla="*/ 73 h 388"/>
                  <a:gd name="T58" fmla="*/ 636 w 636"/>
                  <a:gd name="T59" fmla="*/ 73 h 388"/>
                  <a:gd name="T60" fmla="*/ 636 w 636"/>
                  <a:gd name="T61" fmla="*/ 0 h 388"/>
                  <a:gd name="T62" fmla="*/ 561 w 636"/>
                  <a:gd name="T63" fmla="*/ 0 h 388"/>
                  <a:gd name="T64" fmla="*/ 561 w 636"/>
                  <a:gd name="T65" fmla="*/ 73 h 388"/>
                  <a:gd name="T66" fmla="*/ 554 w 636"/>
                  <a:gd name="T67" fmla="*/ 179 h 388"/>
                  <a:gd name="T68" fmla="*/ 554 w 636"/>
                  <a:gd name="T69" fmla="*/ 179 h 388"/>
                  <a:gd name="T70" fmla="*/ 636 w 636"/>
                  <a:gd name="T71" fmla="*/ 179 h 388"/>
                  <a:gd name="T72" fmla="*/ 636 w 636"/>
                  <a:gd name="T73" fmla="*/ 105 h 388"/>
                  <a:gd name="T74" fmla="*/ 561 w 636"/>
                  <a:gd name="T75" fmla="*/ 105 h 388"/>
                  <a:gd name="T76" fmla="*/ 554 w 636"/>
                  <a:gd name="T77" fmla="*/ 179 h 388"/>
                  <a:gd name="T78" fmla="*/ 440 w 636"/>
                  <a:gd name="T79" fmla="*/ 388 h 388"/>
                  <a:gd name="T80" fmla="*/ 440 w 636"/>
                  <a:gd name="T81" fmla="*/ 388 h 388"/>
                  <a:gd name="T82" fmla="*/ 636 w 636"/>
                  <a:gd name="T83" fmla="*/ 388 h 388"/>
                  <a:gd name="T84" fmla="*/ 636 w 636"/>
                  <a:gd name="T85" fmla="*/ 314 h 388"/>
                  <a:gd name="T86" fmla="*/ 500 w 636"/>
                  <a:gd name="T87" fmla="*/ 314 h 388"/>
                  <a:gd name="T88" fmla="*/ 440 w 636"/>
                  <a:gd name="T89" fmla="*/ 388 h 388"/>
                  <a:gd name="T90" fmla="*/ 518 w 636"/>
                  <a:gd name="T91" fmla="*/ 282 h 388"/>
                  <a:gd name="T92" fmla="*/ 518 w 636"/>
                  <a:gd name="T93" fmla="*/ 282 h 388"/>
                  <a:gd name="T94" fmla="*/ 636 w 636"/>
                  <a:gd name="T95" fmla="*/ 282 h 388"/>
                  <a:gd name="T96" fmla="*/ 636 w 636"/>
                  <a:gd name="T97" fmla="*/ 209 h 388"/>
                  <a:gd name="T98" fmla="*/ 547 w 636"/>
                  <a:gd name="T99" fmla="*/ 209 h 388"/>
                  <a:gd name="T100" fmla="*/ 518 w 636"/>
                  <a:gd name="T101" fmla="*/ 282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36" h="388">
                    <a:moveTo>
                      <a:pt x="75" y="105"/>
                    </a:moveTo>
                    <a:lnTo>
                      <a:pt x="75" y="105"/>
                    </a:lnTo>
                    <a:lnTo>
                      <a:pt x="0" y="105"/>
                    </a:lnTo>
                    <a:lnTo>
                      <a:pt x="0" y="179"/>
                    </a:lnTo>
                    <a:lnTo>
                      <a:pt x="82" y="179"/>
                    </a:lnTo>
                    <a:cubicBezTo>
                      <a:pt x="77" y="155"/>
                      <a:pt x="75" y="131"/>
                      <a:pt x="75" y="105"/>
                    </a:cubicBezTo>
                    <a:close/>
                    <a:moveTo>
                      <a:pt x="89" y="209"/>
                    </a:moveTo>
                    <a:lnTo>
                      <a:pt x="89" y="209"/>
                    </a:lnTo>
                    <a:lnTo>
                      <a:pt x="0" y="209"/>
                    </a:lnTo>
                    <a:lnTo>
                      <a:pt x="0" y="282"/>
                    </a:lnTo>
                    <a:lnTo>
                      <a:pt x="117" y="282"/>
                    </a:lnTo>
                    <a:cubicBezTo>
                      <a:pt x="105" y="259"/>
                      <a:pt x="96" y="234"/>
                      <a:pt x="89" y="209"/>
                    </a:cubicBezTo>
                    <a:close/>
                    <a:moveTo>
                      <a:pt x="75" y="0"/>
                    </a:moveTo>
                    <a:lnTo>
                      <a:pt x="75" y="0"/>
                    </a:lnTo>
                    <a:lnTo>
                      <a:pt x="0" y="0"/>
                    </a:lnTo>
                    <a:lnTo>
                      <a:pt x="0" y="73"/>
                    </a:lnTo>
                    <a:lnTo>
                      <a:pt x="75" y="73"/>
                    </a:lnTo>
                    <a:lnTo>
                      <a:pt x="75" y="0"/>
                    </a:lnTo>
                    <a:close/>
                    <a:moveTo>
                      <a:pt x="43" y="314"/>
                    </a:moveTo>
                    <a:lnTo>
                      <a:pt x="43" y="314"/>
                    </a:lnTo>
                    <a:lnTo>
                      <a:pt x="0" y="314"/>
                    </a:lnTo>
                    <a:lnTo>
                      <a:pt x="0" y="388"/>
                    </a:lnTo>
                    <a:lnTo>
                      <a:pt x="43" y="388"/>
                    </a:lnTo>
                    <a:lnTo>
                      <a:pt x="53" y="388"/>
                    </a:lnTo>
                    <a:lnTo>
                      <a:pt x="196" y="388"/>
                    </a:lnTo>
                    <a:cubicBezTo>
                      <a:pt x="173" y="366"/>
                      <a:pt x="152" y="341"/>
                      <a:pt x="135" y="314"/>
                    </a:cubicBezTo>
                    <a:lnTo>
                      <a:pt x="43" y="314"/>
                    </a:lnTo>
                    <a:close/>
                    <a:moveTo>
                      <a:pt x="561" y="73"/>
                    </a:moveTo>
                    <a:lnTo>
                      <a:pt x="561" y="73"/>
                    </a:lnTo>
                    <a:lnTo>
                      <a:pt x="636" y="73"/>
                    </a:lnTo>
                    <a:lnTo>
                      <a:pt x="636" y="0"/>
                    </a:lnTo>
                    <a:lnTo>
                      <a:pt x="561" y="0"/>
                    </a:lnTo>
                    <a:lnTo>
                      <a:pt x="561" y="73"/>
                    </a:lnTo>
                    <a:close/>
                    <a:moveTo>
                      <a:pt x="554" y="179"/>
                    </a:moveTo>
                    <a:lnTo>
                      <a:pt x="554" y="179"/>
                    </a:lnTo>
                    <a:lnTo>
                      <a:pt x="636" y="179"/>
                    </a:lnTo>
                    <a:lnTo>
                      <a:pt x="636" y="105"/>
                    </a:lnTo>
                    <a:lnTo>
                      <a:pt x="561" y="105"/>
                    </a:lnTo>
                    <a:cubicBezTo>
                      <a:pt x="561" y="131"/>
                      <a:pt x="558" y="155"/>
                      <a:pt x="554" y="179"/>
                    </a:cubicBezTo>
                    <a:close/>
                    <a:moveTo>
                      <a:pt x="440" y="388"/>
                    </a:moveTo>
                    <a:lnTo>
                      <a:pt x="440" y="388"/>
                    </a:lnTo>
                    <a:lnTo>
                      <a:pt x="636" y="388"/>
                    </a:lnTo>
                    <a:lnTo>
                      <a:pt x="636" y="314"/>
                    </a:lnTo>
                    <a:lnTo>
                      <a:pt x="500" y="314"/>
                    </a:lnTo>
                    <a:cubicBezTo>
                      <a:pt x="483" y="341"/>
                      <a:pt x="463" y="366"/>
                      <a:pt x="440" y="388"/>
                    </a:cubicBezTo>
                    <a:close/>
                    <a:moveTo>
                      <a:pt x="518" y="282"/>
                    </a:moveTo>
                    <a:lnTo>
                      <a:pt x="518" y="282"/>
                    </a:lnTo>
                    <a:lnTo>
                      <a:pt x="636" y="282"/>
                    </a:lnTo>
                    <a:lnTo>
                      <a:pt x="636" y="209"/>
                    </a:lnTo>
                    <a:lnTo>
                      <a:pt x="547" y="209"/>
                    </a:lnTo>
                    <a:cubicBezTo>
                      <a:pt x="540" y="234"/>
                      <a:pt x="530" y="259"/>
                      <a:pt x="518" y="28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CA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7" name="Freeform 10"/>
            <p:cNvSpPr>
              <a:spLocks noChangeAspect="1" noEditPoints="1"/>
            </p:cNvSpPr>
            <p:nvPr userDrawn="1"/>
          </p:nvSpPr>
          <p:spPr bwMode="auto">
            <a:xfrm>
              <a:off x="1334601" y="3729270"/>
              <a:ext cx="164591" cy="164592"/>
            </a:xfrm>
            <a:custGeom>
              <a:avLst/>
              <a:gdLst>
                <a:gd name="T0" fmla="*/ 322 w 645"/>
                <a:gd name="T1" fmla="*/ 0 h 645"/>
                <a:gd name="T2" fmla="*/ 616 w 645"/>
                <a:gd name="T3" fmla="*/ 307 h 645"/>
                <a:gd name="T4" fmla="*/ 427 w 645"/>
                <a:gd name="T5" fmla="*/ 453 h 645"/>
                <a:gd name="T6" fmla="*/ 321 w 645"/>
                <a:gd name="T7" fmla="*/ 471 h 645"/>
                <a:gd name="T8" fmla="*/ 603 w 645"/>
                <a:gd name="T9" fmla="*/ 315 h 645"/>
                <a:gd name="T10" fmla="*/ 275 w 645"/>
                <a:gd name="T11" fmla="*/ 288 h 645"/>
                <a:gd name="T12" fmla="*/ 263 w 645"/>
                <a:gd name="T13" fmla="*/ 130 h 645"/>
                <a:gd name="T14" fmla="*/ 436 w 645"/>
                <a:gd name="T15" fmla="*/ 196 h 645"/>
                <a:gd name="T16" fmla="*/ 334 w 645"/>
                <a:gd name="T17" fmla="*/ 450 h 645"/>
                <a:gd name="T18" fmla="*/ 319 w 645"/>
                <a:gd name="T19" fmla="*/ 458 h 645"/>
                <a:gd name="T20" fmla="*/ 302 w 645"/>
                <a:gd name="T21" fmla="*/ 370 h 645"/>
                <a:gd name="T22" fmla="*/ 230 w 645"/>
                <a:gd name="T23" fmla="*/ 444 h 645"/>
                <a:gd name="T24" fmla="*/ 519 w 645"/>
                <a:gd name="T25" fmla="*/ 214 h 645"/>
                <a:gd name="T26" fmla="*/ 540 w 645"/>
                <a:gd name="T27" fmla="*/ 124 h 645"/>
                <a:gd name="T28" fmla="*/ 264 w 645"/>
                <a:gd name="T29" fmla="*/ 122 h 645"/>
                <a:gd name="T30" fmla="*/ 237 w 645"/>
                <a:gd name="T31" fmla="*/ 97 h 645"/>
                <a:gd name="T32" fmla="*/ 140 w 645"/>
                <a:gd name="T33" fmla="*/ 91 h 645"/>
                <a:gd name="T34" fmla="*/ 80 w 645"/>
                <a:gd name="T35" fmla="*/ 155 h 645"/>
                <a:gd name="T36" fmla="*/ 73 w 645"/>
                <a:gd name="T37" fmla="*/ 319 h 645"/>
                <a:gd name="T38" fmla="*/ 66 w 645"/>
                <a:gd name="T39" fmla="*/ 324 h 645"/>
                <a:gd name="T40" fmla="*/ 94 w 645"/>
                <a:gd name="T41" fmla="*/ 509 h 645"/>
                <a:gd name="T42" fmla="*/ 226 w 645"/>
                <a:gd name="T43" fmla="*/ 497 h 645"/>
                <a:gd name="T44" fmla="*/ 271 w 645"/>
                <a:gd name="T45" fmla="*/ 525 h 645"/>
                <a:gd name="T46" fmla="*/ 223 w 645"/>
                <a:gd name="T47" fmla="*/ 600 h 645"/>
                <a:gd name="T48" fmla="*/ 365 w 645"/>
                <a:gd name="T49" fmla="*/ 532 h 645"/>
                <a:gd name="T50" fmla="*/ 452 w 645"/>
                <a:gd name="T51" fmla="*/ 497 h 645"/>
                <a:gd name="T52" fmla="*/ 433 w 645"/>
                <a:gd name="T53" fmla="*/ 457 h 645"/>
                <a:gd name="T54" fmla="*/ 610 w 645"/>
                <a:gd name="T55" fmla="*/ 320 h 645"/>
                <a:gd name="T56" fmla="*/ 465 w 645"/>
                <a:gd name="T57" fmla="*/ 122 h 645"/>
                <a:gd name="T58" fmla="*/ 457 w 645"/>
                <a:gd name="T59" fmla="*/ 169 h 645"/>
                <a:gd name="T60" fmla="*/ 433 w 645"/>
                <a:gd name="T61" fmla="*/ 146 h 645"/>
                <a:gd name="T62" fmla="*/ 457 w 645"/>
                <a:gd name="T63" fmla="*/ 122 h 645"/>
                <a:gd name="T64" fmla="*/ 588 w 645"/>
                <a:gd name="T65" fmla="*/ 363 h 645"/>
                <a:gd name="T66" fmla="*/ 540 w 645"/>
                <a:gd name="T67" fmla="*/ 371 h 645"/>
                <a:gd name="T68" fmla="*/ 548 w 645"/>
                <a:gd name="T69" fmla="*/ 323 h 645"/>
                <a:gd name="T70" fmla="*/ 295 w 645"/>
                <a:gd name="T71" fmla="*/ 458 h 645"/>
                <a:gd name="T72" fmla="*/ 271 w 645"/>
                <a:gd name="T73" fmla="*/ 482 h 645"/>
                <a:gd name="T74" fmla="*/ 247 w 645"/>
                <a:gd name="T75" fmla="*/ 458 h 645"/>
                <a:gd name="T76" fmla="*/ 221 w 645"/>
                <a:gd name="T77" fmla="*/ 113 h 645"/>
                <a:gd name="T78" fmla="*/ 193 w 645"/>
                <a:gd name="T79" fmla="*/ 160 h 645"/>
                <a:gd name="T80" fmla="*/ 229 w 645"/>
                <a:gd name="T81" fmla="*/ 112 h 645"/>
                <a:gd name="T82" fmla="*/ 370 w 645"/>
                <a:gd name="T83" fmla="*/ 494 h 645"/>
                <a:gd name="T84" fmla="*/ 400 w 645"/>
                <a:gd name="T85" fmla="*/ 522 h 645"/>
                <a:gd name="T86" fmla="*/ 90 w 645"/>
                <a:gd name="T87" fmla="*/ 376 h 645"/>
                <a:gd name="T88" fmla="*/ 91 w 645"/>
                <a:gd name="T89" fmla="*/ 390 h 645"/>
                <a:gd name="T90" fmla="*/ 116 w 645"/>
                <a:gd name="T91" fmla="*/ 342 h 645"/>
                <a:gd name="T92" fmla="*/ 392 w 645"/>
                <a:gd name="T93" fmla="*/ 279 h 645"/>
                <a:gd name="T94" fmla="*/ 409 w 645"/>
                <a:gd name="T95" fmla="*/ 344 h 645"/>
                <a:gd name="T96" fmla="*/ 209 w 645"/>
                <a:gd name="T97" fmla="*/ 336 h 645"/>
                <a:gd name="T98" fmla="*/ 230 w 645"/>
                <a:gd name="T99" fmla="*/ 387 h 645"/>
                <a:gd name="T100" fmla="*/ 261 w 645"/>
                <a:gd name="T101" fmla="*/ 366 h 645"/>
                <a:gd name="T102" fmla="*/ 310 w 645"/>
                <a:gd name="T103" fmla="*/ 342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45" h="645">
                  <a:moveTo>
                    <a:pt x="322" y="0"/>
                  </a:moveTo>
                  <a:cubicBezTo>
                    <a:pt x="145" y="0"/>
                    <a:pt x="0" y="145"/>
                    <a:pt x="0" y="322"/>
                  </a:cubicBezTo>
                  <a:cubicBezTo>
                    <a:pt x="0" y="500"/>
                    <a:pt x="145" y="645"/>
                    <a:pt x="322" y="645"/>
                  </a:cubicBezTo>
                  <a:cubicBezTo>
                    <a:pt x="500" y="645"/>
                    <a:pt x="645" y="500"/>
                    <a:pt x="645" y="322"/>
                  </a:cubicBezTo>
                  <a:cubicBezTo>
                    <a:pt x="645" y="145"/>
                    <a:pt x="500" y="0"/>
                    <a:pt x="322" y="0"/>
                  </a:cubicBezTo>
                  <a:close/>
                  <a:moveTo>
                    <a:pt x="616" y="307"/>
                  </a:moveTo>
                  <a:cubicBezTo>
                    <a:pt x="615" y="308"/>
                    <a:pt x="614" y="309"/>
                    <a:pt x="612" y="310"/>
                  </a:cubicBezTo>
                  <a:cubicBezTo>
                    <a:pt x="584" y="273"/>
                    <a:pt x="555" y="244"/>
                    <a:pt x="525" y="219"/>
                  </a:cubicBezTo>
                  <a:cubicBezTo>
                    <a:pt x="538" y="182"/>
                    <a:pt x="544" y="151"/>
                    <a:pt x="547" y="132"/>
                  </a:cubicBezTo>
                  <a:cubicBezTo>
                    <a:pt x="587" y="180"/>
                    <a:pt x="613" y="241"/>
                    <a:pt x="616" y="307"/>
                  </a:cubicBezTo>
                  <a:close/>
                  <a:moveTo>
                    <a:pt x="603" y="315"/>
                  </a:moveTo>
                  <a:cubicBezTo>
                    <a:pt x="594" y="303"/>
                    <a:pt x="580" y="296"/>
                    <a:pt x="564" y="296"/>
                  </a:cubicBezTo>
                  <a:cubicBezTo>
                    <a:pt x="536" y="296"/>
                    <a:pt x="513" y="319"/>
                    <a:pt x="513" y="347"/>
                  </a:cubicBezTo>
                  <a:cubicBezTo>
                    <a:pt x="513" y="355"/>
                    <a:pt x="515" y="363"/>
                    <a:pt x="519" y="370"/>
                  </a:cubicBezTo>
                  <a:cubicBezTo>
                    <a:pt x="490" y="392"/>
                    <a:pt x="458" y="419"/>
                    <a:pt x="427" y="453"/>
                  </a:cubicBezTo>
                  <a:cubicBezTo>
                    <a:pt x="419" y="449"/>
                    <a:pt x="411" y="446"/>
                    <a:pt x="401" y="446"/>
                  </a:cubicBezTo>
                  <a:cubicBezTo>
                    <a:pt x="379" y="446"/>
                    <a:pt x="360" y="460"/>
                    <a:pt x="354" y="480"/>
                  </a:cubicBezTo>
                  <a:cubicBezTo>
                    <a:pt x="340" y="479"/>
                    <a:pt x="330" y="477"/>
                    <a:pt x="321" y="475"/>
                  </a:cubicBezTo>
                  <a:cubicBezTo>
                    <a:pt x="321" y="475"/>
                    <a:pt x="321" y="474"/>
                    <a:pt x="321" y="474"/>
                  </a:cubicBezTo>
                  <a:cubicBezTo>
                    <a:pt x="321" y="473"/>
                    <a:pt x="321" y="472"/>
                    <a:pt x="321" y="471"/>
                  </a:cubicBezTo>
                  <a:cubicBezTo>
                    <a:pt x="322" y="469"/>
                    <a:pt x="324" y="467"/>
                    <a:pt x="325" y="464"/>
                  </a:cubicBezTo>
                  <a:cubicBezTo>
                    <a:pt x="401" y="422"/>
                    <a:pt x="450" y="365"/>
                    <a:pt x="481" y="314"/>
                  </a:cubicBezTo>
                  <a:cubicBezTo>
                    <a:pt x="499" y="284"/>
                    <a:pt x="513" y="254"/>
                    <a:pt x="522" y="227"/>
                  </a:cubicBezTo>
                  <a:cubicBezTo>
                    <a:pt x="551" y="251"/>
                    <a:pt x="579" y="279"/>
                    <a:pt x="605" y="314"/>
                  </a:cubicBezTo>
                  <a:cubicBezTo>
                    <a:pt x="604" y="314"/>
                    <a:pt x="604" y="314"/>
                    <a:pt x="603" y="315"/>
                  </a:cubicBezTo>
                  <a:close/>
                  <a:moveTo>
                    <a:pt x="119" y="318"/>
                  </a:moveTo>
                  <a:cubicBezTo>
                    <a:pt x="136" y="264"/>
                    <a:pt x="159" y="218"/>
                    <a:pt x="183" y="181"/>
                  </a:cubicBezTo>
                  <a:cubicBezTo>
                    <a:pt x="189" y="183"/>
                    <a:pt x="196" y="185"/>
                    <a:pt x="203" y="185"/>
                  </a:cubicBezTo>
                  <a:cubicBezTo>
                    <a:pt x="209" y="185"/>
                    <a:pt x="215" y="183"/>
                    <a:pt x="221" y="181"/>
                  </a:cubicBezTo>
                  <a:cubicBezTo>
                    <a:pt x="240" y="210"/>
                    <a:pt x="259" y="245"/>
                    <a:pt x="275" y="288"/>
                  </a:cubicBezTo>
                  <a:cubicBezTo>
                    <a:pt x="282" y="285"/>
                    <a:pt x="282" y="285"/>
                    <a:pt x="282" y="285"/>
                  </a:cubicBezTo>
                  <a:cubicBezTo>
                    <a:pt x="266" y="240"/>
                    <a:pt x="247" y="205"/>
                    <a:pt x="229" y="177"/>
                  </a:cubicBezTo>
                  <a:cubicBezTo>
                    <a:pt x="243" y="169"/>
                    <a:pt x="253" y="152"/>
                    <a:pt x="253" y="134"/>
                  </a:cubicBezTo>
                  <a:cubicBezTo>
                    <a:pt x="253" y="132"/>
                    <a:pt x="253" y="131"/>
                    <a:pt x="253" y="129"/>
                  </a:cubicBezTo>
                  <a:cubicBezTo>
                    <a:pt x="257" y="129"/>
                    <a:pt x="260" y="130"/>
                    <a:pt x="263" y="130"/>
                  </a:cubicBezTo>
                  <a:cubicBezTo>
                    <a:pt x="302" y="131"/>
                    <a:pt x="345" y="138"/>
                    <a:pt x="391" y="154"/>
                  </a:cubicBezTo>
                  <a:cubicBezTo>
                    <a:pt x="395" y="174"/>
                    <a:pt x="409" y="189"/>
                    <a:pt x="428" y="194"/>
                  </a:cubicBezTo>
                  <a:cubicBezTo>
                    <a:pt x="427" y="200"/>
                    <a:pt x="426" y="206"/>
                    <a:pt x="425" y="212"/>
                  </a:cubicBezTo>
                  <a:cubicBezTo>
                    <a:pt x="427" y="213"/>
                    <a:pt x="430" y="215"/>
                    <a:pt x="432" y="217"/>
                  </a:cubicBezTo>
                  <a:cubicBezTo>
                    <a:pt x="433" y="210"/>
                    <a:pt x="435" y="203"/>
                    <a:pt x="436" y="196"/>
                  </a:cubicBezTo>
                  <a:cubicBezTo>
                    <a:pt x="438" y="196"/>
                    <a:pt x="440" y="196"/>
                    <a:pt x="441" y="196"/>
                  </a:cubicBezTo>
                  <a:cubicBezTo>
                    <a:pt x="451" y="196"/>
                    <a:pt x="460" y="193"/>
                    <a:pt x="467" y="189"/>
                  </a:cubicBezTo>
                  <a:cubicBezTo>
                    <a:pt x="483" y="199"/>
                    <a:pt x="500" y="210"/>
                    <a:pt x="516" y="222"/>
                  </a:cubicBezTo>
                  <a:cubicBezTo>
                    <a:pt x="506" y="249"/>
                    <a:pt x="493" y="280"/>
                    <a:pt x="474" y="310"/>
                  </a:cubicBezTo>
                  <a:cubicBezTo>
                    <a:pt x="445" y="357"/>
                    <a:pt x="401" y="409"/>
                    <a:pt x="334" y="450"/>
                  </a:cubicBezTo>
                  <a:cubicBezTo>
                    <a:pt x="337" y="445"/>
                    <a:pt x="340" y="441"/>
                    <a:pt x="343" y="436"/>
                  </a:cubicBezTo>
                  <a:cubicBezTo>
                    <a:pt x="355" y="415"/>
                    <a:pt x="367" y="392"/>
                    <a:pt x="379" y="367"/>
                  </a:cubicBezTo>
                  <a:cubicBezTo>
                    <a:pt x="376" y="367"/>
                    <a:pt x="373" y="367"/>
                    <a:pt x="370" y="366"/>
                  </a:cubicBezTo>
                  <a:cubicBezTo>
                    <a:pt x="359" y="390"/>
                    <a:pt x="347" y="412"/>
                    <a:pt x="336" y="432"/>
                  </a:cubicBezTo>
                  <a:cubicBezTo>
                    <a:pt x="330" y="441"/>
                    <a:pt x="325" y="450"/>
                    <a:pt x="319" y="458"/>
                  </a:cubicBezTo>
                  <a:cubicBezTo>
                    <a:pt x="319" y="459"/>
                    <a:pt x="319" y="459"/>
                    <a:pt x="319" y="459"/>
                  </a:cubicBezTo>
                  <a:cubicBezTo>
                    <a:pt x="318" y="456"/>
                    <a:pt x="317" y="453"/>
                    <a:pt x="315" y="450"/>
                  </a:cubicBezTo>
                  <a:cubicBezTo>
                    <a:pt x="314" y="425"/>
                    <a:pt x="311" y="402"/>
                    <a:pt x="307" y="380"/>
                  </a:cubicBezTo>
                  <a:cubicBezTo>
                    <a:pt x="307" y="380"/>
                    <a:pt x="307" y="380"/>
                    <a:pt x="307" y="380"/>
                  </a:cubicBezTo>
                  <a:cubicBezTo>
                    <a:pt x="302" y="370"/>
                    <a:pt x="302" y="370"/>
                    <a:pt x="302" y="370"/>
                  </a:cubicBezTo>
                  <a:cubicBezTo>
                    <a:pt x="299" y="377"/>
                    <a:pt x="299" y="377"/>
                    <a:pt x="299" y="377"/>
                  </a:cubicBezTo>
                  <a:cubicBezTo>
                    <a:pt x="298" y="377"/>
                    <a:pt x="298" y="377"/>
                    <a:pt x="298" y="377"/>
                  </a:cubicBezTo>
                  <a:cubicBezTo>
                    <a:pt x="302" y="397"/>
                    <a:pt x="305" y="417"/>
                    <a:pt x="306" y="438"/>
                  </a:cubicBezTo>
                  <a:cubicBezTo>
                    <a:pt x="297" y="429"/>
                    <a:pt x="285" y="424"/>
                    <a:pt x="271" y="424"/>
                  </a:cubicBezTo>
                  <a:cubicBezTo>
                    <a:pt x="254" y="424"/>
                    <a:pt x="239" y="432"/>
                    <a:pt x="230" y="444"/>
                  </a:cubicBezTo>
                  <a:cubicBezTo>
                    <a:pt x="196" y="428"/>
                    <a:pt x="167" y="408"/>
                    <a:pt x="142" y="388"/>
                  </a:cubicBezTo>
                  <a:cubicBezTo>
                    <a:pt x="146" y="381"/>
                    <a:pt x="148" y="372"/>
                    <a:pt x="148" y="363"/>
                  </a:cubicBezTo>
                  <a:cubicBezTo>
                    <a:pt x="148" y="343"/>
                    <a:pt x="136" y="326"/>
                    <a:pt x="119" y="318"/>
                  </a:cubicBezTo>
                  <a:close/>
                  <a:moveTo>
                    <a:pt x="540" y="124"/>
                  </a:moveTo>
                  <a:cubicBezTo>
                    <a:pt x="538" y="140"/>
                    <a:pt x="533" y="173"/>
                    <a:pt x="519" y="214"/>
                  </a:cubicBezTo>
                  <a:cubicBezTo>
                    <a:pt x="504" y="203"/>
                    <a:pt x="489" y="193"/>
                    <a:pt x="474" y="184"/>
                  </a:cubicBezTo>
                  <a:cubicBezTo>
                    <a:pt x="485" y="175"/>
                    <a:pt x="492" y="161"/>
                    <a:pt x="492" y="146"/>
                  </a:cubicBezTo>
                  <a:cubicBezTo>
                    <a:pt x="492" y="120"/>
                    <a:pt x="472" y="98"/>
                    <a:pt x="447" y="95"/>
                  </a:cubicBezTo>
                  <a:cubicBezTo>
                    <a:pt x="447" y="82"/>
                    <a:pt x="447" y="69"/>
                    <a:pt x="446" y="55"/>
                  </a:cubicBezTo>
                  <a:cubicBezTo>
                    <a:pt x="482" y="72"/>
                    <a:pt x="514" y="96"/>
                    <a:pt x="540" y="124"/>
                  </a:cubicBezTo>
                  <a:close/>
                  <a:moveTo>
                    <a:pt x="328" y="28"/>
                  </a:moveTo>
                  <a:cubicBezTo>
                    <a:pt x="367" y="29"/>
                    <a:pt x="404" y="37"/>
                    <a:pt x="438" y="52"/>
                  </a:cubicBezTo>
                  <a:cubicBezTo>
                    <a:pt x="439" y="66"/>
                    <a:pt x="439" y="81"/>
                    <a:pt x="439" y="95"/>
                  </a:cubicBezTo>
                  <a:cubicBezTo>
                    <a:pt x="412" y="96"/>
                    <a:pt x="391" y="118"/>
                    <a:pt x="391" y="145"/>
                  </a:cubicBezTo>
                  <a:cubicBezTo>
                    <a:pt x="345" y="130"/>
                    <a:pt x="302" y="123"/>
                    <a:pt x="264" y="122"/>
                  </a:cubicBezTo>
                  <a:cubicBezTo>
                    <a:pt x="260" y="121"/>
                    <a:pt x="256" y="121"/>
                    <a:pt x="252" y="121"/>
                  </a:cubicBezTo>
                  <a:cubicBezTo>
                    <a:pt x="250" y="115"/>
                    <a:pt x="247" y="109"/>
                    <a:pt x="243" y="103"/>
                  </a:cubicBezTo>
                  <a:cubicBezTo>
                    <a:pt x="278" y="65"/>
                    <a:pt x="310" y="41"/>
                    <a:pt x="328" y="28"/>
                  </a:cubicBezTo>
                  <a:close/>
                  <a:moveTo>
                    <a:pt x="314" y="28"/>
                  </a:moveTo>
                  <a:cubicBezTo>
                    <a:pt x="295" y="42"/>
                    <a:pt x="267" y="65"/>
                    <a:pt x="237" y="97"/>
                  </a:cubicBezTo>
                  <a:cubicBezTo>
                    <a:pt x="228" y="89"/>
                    <a:pt x="216" y="83"/>
                    <a:pt x="203" y="83"/>
                  </a:cubicBezTo>
                  <a:cubicBezTo>
                    <a:pt x="187" y="83"/>
                    <a:pt x="174" y="90"/>
                    <a:pt x="164" y="101"/>
                  </a:cubicBezTo>
                  <a:cubicBezTo>
                    <a:pt x="157" y="95"/>
                    <a:pt x="151" y="90"/>
                    <a:pt x="147" y="86"/>
                  </a:cubicBezTo>
                  <a:cubicBezTo>
                    <a:pt x="194" y="51"/>
                    <a:pt x="251" y="30"/>
                    <a:pt x="314" y="28"/>
                  </a:cubicBezTo>
                  <a:close/>
                  <a:moveTo>
                    <a:pt x="140" y="91"/>
                  </a:moveTo>
                  <a:cubicBezTo>
                    <a:pt x="144" y="95"/>
                    <a:pt x="151" y="100"/>
                    <a:pt x="159" y="108"/>
                  </a:cubicBezTo>
                  <a:cubicBezTo>
                    <a:pt x="156" y="114"/>
                    <a:pt x="153" y="121"/>
                    <a:pt x="152" y="129"/>
                  </a:cubicBezTo>
                  <a:cubicBezTo>
                    <a:pt x="126" y="134"/>
                    <a:pt x="104" y="139"/>
                    <a:pt x="88" y="144"/>
                  </a:cubicBezTo>
                  <a:cubicBezTo>
                    <a:pt x="103" y="124"/>
                    <a:pt x="121" y="107"/>
                    <a:pt x="140" y="91"/>
                  </a:cubicBezTo>
                  <a:close/>
                  <a:moveTo>
                    <a:pt x="80" y="155"/>
                  </a:moveTo>
                  <a:cubicBezTo>
                    <a:pt x="96" y="150"/>
                    <a:pt x="121" y="143"/>
                    <a:pt x="152" y="137"/>
                  </a:cubicBezTo>
                  <a:cubicBezTo>
                    <a:pt x="153" y="154"/>
                    <a:pt x="163" y="168"/>
                    <a:pt x="176" y="177"/>
                  </a:cubicBezTo>
                  <a:cubicBezTo>
                    <a:pt x="152" y="214"/>
                    <a:pt x="129" y="260"/>
                    <a:pt x="112" y="315"/>
                  </a:cubicBezTo>
                  <a:cubicBezTo>
                    <a:pt x="107" y="314"/>
                    <a:pt x="102" y="313"/>
                    <a:pt x="97" y="313"/>
                  </a:cubicBezTo>
                  <a:cubicBezTo>
                    <a:pt x="88" y="313"/>
                    <a:pt x="80" y="315"/>
                    <a:pt x="73" y="319"/>
                  </a:cubicBezTo>
                  <a:cubicBezTo>
                    <a:pt x="54" y="297"/>
                    <a:pt x="41" y="277"/>
                    <a:pt x="34" y="265"/>
                  </a:cubicBezTo>
                  <a:cubicBezTo>
                    <a:pt x="42" y="225"/>
                    <a:pt x="58" y="188"/>
                    <a:pt x="80" y="155"/>
                  </a:cubicBezTo>
                  <a:close/>
                  <a:moveTo>
                    <a:pt x="28" y="322"/>
                  </a:moveTo>
                  <a:cubicBezTo>
                    <a:pt x="28" y="307"/>
                    <a:pt x="29" y="292"/>
                    <a:pt x="31" y="277"/>
                  </a:cubicBezTo>
                  <a:cubicBezTo>
                    <a:pt x="39" y="289"/>
                    <a:pt x="51" y="305"/>
                    <a:pt x="66" y="324"/>
                  </a:cubicBezTo>
                  <a:cubicBezTo>
                    <a:pt x="54" y="333"/>
                    <a:pt x="47" y="347"/>
                    <a:pt x="47" y="363"/>
                  </a:cubicBezTo>
                  <a:cubicBezTo>
                    <a:pt x="47" y="389"/>
                    <a:pt x="66" y="410"/>
                    <a:pt x="91" y="413"/>
                  </a:cubicBezTo>
                  <a:cubicBezTo>
                    <a:pt x="88" y="440"/>
                    <a:pt x="86" y="468"/>
                    <a:pt x="86" y="498"/>
                  </a:cubicBezTo>
                  <a:cubicBezTo>
                    <a:pt x="50" y="449"/>
                    <a:pt x="28" y="388"/>
                    <a:pt x="28" y="322"/>
                  </a:cubicBezTo>
                  <a:close/>
                  <a:moveTo>
                    <a:pt x="94" y="509"/>
                  </a:moveTo>
                  <a:cubicBezTo>
                    <a:pt x="93" y="475"/>
                    <a:pt x="95" y="444"/>
                    <a:pt x="99" y="414"/>
                  </a:cubicBezTo>
                  <a:cubicBezTo>
                    <a:pt x="115" y="413"/>
                    <a:pt x="128" y="406"/>
                    <a:pt x="137" y="394"/>
                  </a:cubicBezTo>
                  <a:cubicBezTo>
                    <a:pt x="163" y="415"/>
                    <a:pt x="192" y="435"/>
                    <a:pt x="226" y="451"/>
                  </a:cubicBezTo>
                  <a:cubicBezTo>
                    <a:pt x="222" y="458"/>
                    <a:pt x="220" y="466"/>
                    <a:pt x="220" y="474"/>
                  </a:cubicBezTo>
                  <a:cubicBezTo>
                    <a:pt x="220" y="483"/>
                    <a:pt x="222" y="490"/>
                    <a:pt x="226" y="497"/>
                  </a:cubicBezTo>
                  <a:cubicBezTo>
                    <a:pt x="190" y="508"/>
                    <a:pt x="149" y="516"/>
                    <a:pt x="104" y="519"/>
                  </a:cubicBezTo>
                  <a:cubicBezTo>
                    <a:pt x="101" y="516"/>
                    <a:pt x="97" y="512"/>
                    <a:pt x="94" y="509"/>
                  </a:cubicBezTo>
                  <a:close/>
                  <a:moveTo>
                    <a:pt x="111" y="527"/>
                  </a:moveTo>
                  <a:cubicBezTo>
                    <a:pt x="155" y="523"/>
                    <a:pt x="195" y="515"/>
                    <a:pt x="230" y="504"/>
                  </a:cubicBezTo>
                  <a:cubicBezTo>
                    <a:pt x="239" y="517"/>
                    <a:pt x="254" y="525"/>
                    <a:pt x="271" y="525"/>
                  </a:cubicBezTo>
                  <a:cubicBezTo>
                    <a:pt x="272" y="525"/>
                    <a:pt x="273" y="525"/>
                    <a:pt x="274" y="525"/>
                  </a:cubicBezTo>
                  <a:cubicBezTo>
                    <a:pt x="247" y="561"/>
                    <a:pt x="225" y="586"/>
                    <a:pt x="215" y="597"/>
                  </a:cubicBezTo>
                  <a:cubicBezTo>
                    <a:pt x="175" y="581"/>
                    <a:pt x="140" y="557"/>
                    <a:pt x="111" y="527"/>
                  </a:cubicBezTo>
                  <a:close/>
                  <a:moveTo>
                    <a:pt x="319" y="617"/>
                  </a:moveTo>
                  <a:cubicBezTo>
                    <a:pt x="286" y="616"/>
                    <a:pt x="253" y="610"/>
                    <a:pt x="223" y="600"/>
                  </a:cubicBezTo>
                  <a:cubicBezTo>
                    <a:pt x="235" y="587"/>
                    <a:pt x="258" y="560"/>
                    <a:pt x="286" y="522"/>
                  </a:cubicBezTo>
                  <a:cubicBezTo>
                    <a:pt x="304" y="517"/>
                    <a:pt x="317" y="502"/>
                    <a:pt x="321" y="483"/>
                  </a:cubicBezTo>
                  <a:cubicBezTo>
                    <a:pt x="329" y="485"/>
                    <a:pt x="339" y="487"/>
                    <a:pt x="352" y="488"/>
                  </a:cubicBezTo>
                  <a:cubicBezTo>
                    <a:pt x="351" y="491"/>
                    <a:pt x="351" y="494"/>
                    <a:pt x="351" y="497"/>
                  </a:cubicBezTo>
                  <a:cubicBezTo>
                    <a:pt x="351" y="510"/>
                    <a:pt x="356" y="523"/>
                    <a:pt x="365" y="532"/>
                  </a:cubicBezTo>
                  <a:cubicBezTo>
                    <a:pt x="348" y="558"/>
                    <a:pt x="332" y="586"/>
                    <a:pt x="319" y="617"/>
                  </a:cubicBezTo>
                  <a:close/>
                  <a:moveTo>
                    <a:pt x="328" y="617"/>
                  </a:moveTo>
                  <a:cubicBezTo>
                    <a:pt x="340" y="588"/>
                    <a:pt x="355" y="561"/>
                    <a:pt x="371" y="537"/>
                  </a:cubicBezTo>
                  <a:cubicBezTo>
                    <a:pt x="379" y="543"/>
                    <a:pt x="390" y="547"/>
                    <a:pt x="401" y="547"/>
                  </a:cubicBezTo>
                  <a:cubicBezTo>
                    <a:pt x="429" y="547"/>
                    <a:pt x="452" y="525"/>
                    <a:pt x="452" y="497"/>
                  </a:cubicBezTo>
                  <a:cubicBezTo>
                    <a:pt x="452" y="495"/>
                    <a:pt x="452" y="493"/>
                    <a:pt x="452" y="491"/>
                  </a:cubicBezTo>
                  <a:cubicBezTo>
                    <a:pt x="491" y="489"/>
                    <a:pt x="535" y="481"/>
                    <a:pt x="580" y="465"/>
                  </a:cubicBezTo>
                  <a:cubicBezTo>
                    <a:pt x="531" y="554"/>
                    <a:pt x="436" y="615"/>
                    <a:pt x="328" y="617"/>
                  </a:cubicBezTo>
                  <a:close/>
                  <a:moveTo>
                    <a:pt x="450" y="483"/>
                  </a:moveTo>
                  <a:cubicBezTo>
                    <a:pt x="447" y="473"/>
                    <a:pt x="441" y="464"/>
                    <a:pt x="433" y="457"/>
                  </a:cubicBezTo>
                  <a:cubicBezTo>
                    <a:pt x="463" y="425"/>
                    <a:pt x="495" y="398"/>
                    <a:pt x="523" y="377"/>
                  </a:cubicBezTo>
                  <a:cubicBezTo>
                    <a:pt x="532" y="389"/>
                    <a:pt x="547" y="397"/>
                    <a:pt x="564" y="397"/>
                  </a:cubicBezTo>
                  <a:cubicBezTo>
                    <a:pt x="592" y="397"/>
                    <a:pt x="614" y="375"/>
                    <a:pt x="614" y="347"/>
                  </a:cubicBezTo>
                  <a:cubicBezTo>
                    <a:pt x="614" y="338"/>
                    <a:pt x="612" y="329"/>
                    <a:pt x="607" y="321"/>
                  </a:cubicBezTo>
                  <a:cubicBezTo>
                    <a:pt x="608" y="321"/>
                    <a:pt x="609" y="320"/>
                    <a:pt x="610" y="320"/>
                  </a:cubicBezTo>
                  <a:cubicBezTo>
                    <a:pt x="612" y="323"/>
                    <a:pt x="614" y="326"/>
                    <a:pt x="617" y="330"/>
                  </a:cubicBezTo>
                  <a:cubicBezTo>
                    <a:pt x="615" y="374"/>
                    <a:pt x="604" y="416"/>
                    <a:pt x="586" y="454"/>
                  </a:cubicBezTo>
                  <a:cubicBezTo>
                    <a:pt x="538" y="473"/>
                    <a:pt x="491" y="481"/>
                    <a:pt x="450" y="483"/>
                  </a:cubicBezTo>
                  <a:close/>
                  <a:moveTo>
                    <a:pt x="457" y="122"/>
                  </a:moveTo>
                  <a:cubicBezTo>
                    <a:pt x="459" y="120"/>
                    <a:pt x="463" y="120"/>
                    <a:pt x="465" y="122"/>
                  </a:cubicBezTo>
                  <a:cubicBezTo>
                    <a:pt x="467" y="124"/>
                    <a:pt x="467" y="128"/>
                    <a:pt x="465" y="130"/>
                  </a:cubicBezTo>
                  <a:cubicBezTo>
                    <a:pt x="451" y="144"/>
                    <a:pt x="449" y="146"/>
                    <a:pt x="449" y="146"/>
                  </a:cubicBezTo>
                  <a:cubicBezTo>
                    <a:pt x="463" y="160"/>
                    <a:pt x="465" y="162"/>
                    <a:pt x="465" y="162"/>
                  </a:cubicBezTo>
                  <a:cubicBezTo>
                    <a:pt x="467" y="164"/>
                    <a:pt x="467" y="167"/>
                    <a:pt x="465" y="169"/>
                  </a:cubicBezTo>
                  <a:cubicBezTo>
                    <a:pt x="463" y="172"/>
                    <a:pt x="459" y="172"/>
                    <a:pt x="457" y="169"/>
                  </a:cubicBezTo>
                  <a:cubicBezTo>
                    <a:pt x="443" y="155"/>
                    <a:pt x="441" y="153"/>
                    <a:pt x="441" y="153"/>
                  </a:cubicBezTo>
                  <a:cubicBezTo>
                    <a:pt x="427" y="167"/>
                    <a:pt x="425" y="169"/>
                    <a:pt x="425" y="169"/>
                  </a:cubicBezTo>
                  <a:cubicBezTo>
                    <a:pt x="423" y="172"/>
                    <a:pt x="420" y="172"/>
                    <a:pt x="417" y="169"/>
                  </a:cubicBezTo>
                  <a:cubicBezTo>
                    <a:pt x="415" y="167"/>
                    <a:pt x="415" y="164"/>
                    <a:pt x="417" y="162"/>
                  </a:cubicBezTo>
                  <a:cubicBezTo>
                    <a:pt x="431" y="148"/>
                    <a:pt x="433" y="146"/>
                    <a:pt x="433" y="146"/>
                  </a:cubicBezTo>
                  <a:cubicBezTo>
                    <a:pt x="419" y="132"/>
                    <a:pt x="417" y="129"/>
                    <a:pt x="417" y="129"/>
                  </a:cubicBezTo>
                  <a:cubicBezTo>
                    <a:pt x="415" y="127"/>
                    <a:pt x="415" y="124"/>
                    <a:pt x="417" y="122"/>
                  </a:cubicBezTo>
                  <a:cubicBezTo>
                    <a:pt x="420" y="119"/>
                    <a:pt x="423" y="119"/>
                    <a:pt x="425" y="122"/>
                  </a:cubicBezTo>
                  <a:cubicBezTo>
                    <a:pt x="439" y="136"/>
                    <a:pt x="441" y="138"/>
                    <a:pt x="441" y="138"/>
                  </a:cubicBezTo>
                  <a:lnTo>
                    <a:pt x="457" y="122"/>
                  </a:lnTo>
                  <a:close/>
                  <a:moveTo>
                    <a:pt x="580" y="323"/>
                  </a:moveTo>
                  <a:cubicBezTo>
                    <a:pt x="582" y="321"/>
                    <a:pt x="586" y="321"/>
                    <a:pt x="588" y="323"/>
                  </a:cubicBezTo>
                  <a:cubicBezTo>
                    <a:pt x="590" y="325"/>
                    <a:pt x="590" y="329"/>
                    <a:pt x="588" y="331"/>
                  </a:cubicBezTo>
                  <a:cubicBezTo>
                    <a:pt x="574" y="345"/>
                    <a:pt x="572" y="347"/>
                    <a:pt x="572" y="347"/>
                  </a:cubicBezTo>
                  <a:cubicBezTo>
                    <a:pt x="586" y="361"/>
                    <a:pt x="588" y="363"/>
                    <a:pt x="588" y="363"/>
                  </a:cubicBezTo>
                  <a:cubicBezTo>
                    <a:pt x="590" y="365"/>
                    <a:pt x="590" y="369"/>
                    <a:pt x="588" y="371"/>
                  </a:cubicBezTo>
                  <a:cubicBezTo>
                    <a:pt x="586" y="373"/>
                    <a:pt x="582" y="373"/>
                    <a:pt x="580" y="371"/>
                  </a:cubicBezTo>
                  <a:cubicBezTo>
                    <a:pt x="566" y="357"/>
                    <a:pt x="564" y="355"/>
                    <a:pt x="564" y="355"/>
                  </a:cubicBezTo>
                  <a:cubicBezTo>
                    <a:pt x="550" y="369"/>
                    <a:pt x="548" y="371"/>
                    <a:pt x="548" y="371"/>
                  </a:cubicBezTo>
                  <a:cubicBezTo>
                    <a:pt x="546" y="373"/>
                    <a:pt x="542" y="373"/>
                    <a:pt x="540" y="371"/>
                  </a:cubicBezTo>
                  <a:cubicBezTo>
                    <a:pt x="538" y="369"/>
                    <a:pt x="538" y="365"/>
                    <a:pt x="540" y="363"/>
                  </a:cubicBezTo>
                  <a:cubicBezTo>
                    <a:pt x="554" y="349"/>
                    <a:pt x="556" y="347"/>
                    <a:pt x="556" y="347"/>
                  </a:cubicBezTo>
                  <a:cubicBezTo>
                    <a:pt x="542" y="333"/>
                    <a:pt x="540" y="331"/>
                    <a:pt x="540" y="331"/>
                  </a:cubicBezTo>
                  <a:cubicBezTo>
                    <a:pt x="538" y="329"/>
                    <a:pt x="538" y="325"/>
                    <a:pt x="540" y="323"/>
                  </a:cubicBezTo>
                  <a:cubicBezTo>
                    <a:pt x="542" y="321"/>
                    <a:pt x="546" y="321"/>
                    <a:pt x="548" y="323"/>
                  </a:cubicBezTo>
                  <a:cubicBezTo>
                    <a:pt x="562" y="337"/>
                    <a:pt x="564" y="339"/>
                    <a:pt x="564" y="339"/>
                  </a:cubicBezTo>
                  <a:lnTo>
                    <a:pt x="580" y="323"/>
                  </a:lnTo>
                  <a:close/>
                  <a:moveTo>
                    <a:pt x="287" y="450"/>
                  </a:moveTo>
                  <a:cubicBezTo>
                    <a:pt x="289" y="448"/>
                    <a:pt x="292" y="448"/>
                    <a:pt x="295" y="450"/>
                  </a:cubicBezTo>
                  <a:cubicBezTo>
                    <a:pt x="297" y="453"/>
                    <a:pt x="297" y="456"/>
                    <a:pt x="295" y="458"/>
                  </a:cubicBezTo>
                  <a:cubicBezTo>
                    <a:pt x="281" y="472"/>
                    <a:pt x="279" y="474"/>
                    <a:pt x="279" y="474"/>
                  </a:cubicBezTo>
                  <a:cubicBezTo>
                    <a:pt x="293" y="488"/>
                    <a:pt x="295" y="490"/>
                    <a:pt x="295" y="490"/>
                  </a:cubicBezTo>
                  <a:cubicBezTo>
                    <a:pt x="297" y="492"/>
                    <a:pt x="297" y="496"/>
                    <a:pt x="295" y="498"/>
                  </a:cubicBezTo>
                  <a:cubicBezTo>
                    <a:pt x="292" y="500"/>
                    <a:pt x="289" y="500"/>
                    <a:pt x="287" y="498"/>
                  </a:cubicBezTo>
                  <a:cubicBezTo>
                    <a:pt x="273" y="484"/>
                    <a:pt x="271" y="482"/>
                    <a:pt x="271" y="482"/>
                  </a:cubicBezTo>
                  <a:cubicBezTo>
                    <a:pt x="257" y="496"/>
                    <a:pt x="255" y="498"/>
                    <a:pt x="255" y="498"/>
                  </a:cubicBezTo>
                  <a:cubicBezTo>
                    <a:pt x="252" y="500"/>
                    <a:pt x="249" y="500"/>
                    <a:pt x="247" y="498"/>
                  </a:cubicBezTo>
                  <a:cubicBezTo>
                    <a:pt x="245" y="496"/>
                    <a:pt x="245" y="492"/>
                    <a:pt x="247" y="490"/>
                  </a:cubicBezTo>
                  <a:cubicBezTo>
                    <a:pt x="261" y="476"/>
                    <a:pt x="263" y="474"/>
                    <a:pt x="263" y="474"/>
                  </a:cubicBezTo>
                  <a:cubicBezTo>
                    <a:pt x="249" y="460"/>
                    <a:pt x="247" y="458"/>
                    <a:pt x="247" y="458"/>
                  </a:cubicBezTo>
                  <a:cubicBezTo>
                    <a:pt x="245" y="456"/>
                    <a:pt x="245" y="452"/>
                    <a:pt x="247" y="450"/>
                  </a:cubicBezTo>
                  <a:cubicBezTo>
                    <a:pt x="249" y="448"/>
                    <a:pt x="252" y="448"/>
                    <a:pt x="255" y="450"/>
                  </a:cubicBezTo>
                  <a:cubicBezTo>
                    <a:pt x="269" y="464"/>
                    <a:pt x="271" y="466"/>
                    <a:pt x="271" y="466"/>
                  </a:cubicBezTo>
                  <a:lnTo>
                    <a:pt x="287" y="450"/>
                  </a:lnTo>
                  <a:close/>
                  <a:moveTo>
                    <a:pt x="221" y="113"/>
                  </a:moveTo>
                  <a:cubicBezTo>
                    <a:pt x="196" y="147"/>
                    <a:pt x="196" y="147"/>
                    <a:pt x="196" y="147"/>
                  </a:cubicBezTo>
                  <a:cubicBezTo>
                    <a:pt x="179" y="131"/>
                    <a:pt x="179" y="131"/>
                    <a:pt x="179" y="131"/>
                  </a:cubicBezTo>
                  <a:cubicBezTo>
                    <a:pt x="177" y="129"/>
                    <a:pt x="173" y="129"/>
                    <a:pt x="171" y="131"/>
                  </a:cubicBezTo>
                  <a:cubicBezTo>
                    <a:pt x="169" y="134"/>
                    <a:pt x="169" y="137"/>
                    <a:pt x="172" y="139"/>
                  </a:cubicBezTo>
                  <a:cubicBezTo>
                    <a:pt x="193" y="160"/>
                    <a:pt x="193" y="160"/>
                    <a:pt x="193" y="160"/>
                  </a:cubicBezTo>
                  <a:cubicBezTo>
                    <a:pt x="194" y="161"/>
                    <a:pt x="195" y="161"/>
                    <a:pt x="197" y="161"/>
                  </a:cubicBezTo>
                  <a:cubicBezTo>
                    <a:pt x="197" y="161"/>
                    <a:pt x="197" y="161"/>
                    <a:pt x="197" y="161"/>
                  </a:cubicBezTo>
                  <a:cubicBezTo>
                    <a:pt x="199" y="161"/>
                    <a:pt x="200" y="160"/>
                    <a:pt x="201" y="159"/>
                  </a:cubicBezTo>
                  <a:cubicBezTo>
                    <a:pt x="231" y="120"/>
                    <a:pt x="231" y="120"/>
                    <a:pt x="231" y="120"/>
                  </a:cubicBezTo>
                  <a:cubicBezTo>
                    <a:pt x="232" y="117"/>
                    <a:pt x="232" y="114"/>
                    <a:pt x="229" y="112"/>
                  </a:cubicBezTo>
                  <a:cubicBezTo>
                    <a:pt x="227" y="110"/>
                    <a:pt x="223" y="111"/>
                    <a:pt x="221" y="113"/>
                  </a:cubicBezTo>
                  <a:close/>
                  <a:moveTo>
                    <a:pt x="420" y="476"/>
                  </a:moveTo>
                  <a:cubicBezTo>
                    <a:pt x="394" y="510"/>
                    <a:pt x="394" y="510"/>
                    <a:pt x="394" y="510"/>
                  </a:cubicBezTo>
                  <a:cubicBezTo>
                    <a:pt x="378" y="494"/>
                    <a:pt x="378" y="494"/>
                    <a:pt x="378" y="494"/>
                  </a:cubicBezTo>
                  <a:cubicBezTo>
                    <a:pt x="376" y="492"/>
                    <a:pt x="372" y="492"/>
                    <a:pt x="370" y="494"/>
                  </a:cubicBezTo>
                  <a:cubicBezTo>
                    <a:pt x="368" y="496"/>
                    <a:pt x="368" y="500"/>
                    <a:pt x="370" y="502"/>
                  </a:cubicBezTo>
                  <a:cubicBezTo>
                    <a:pt x="391" y="522"/>
                    <a:pt x="391" y="522"/>
                    <a:pt x="391" y="522"/>
                  </a:cubicBezTo>
                  <a:cubicBezTo>
                    <a:pt x="392" y="523"/>
                    <a:pt x="394" y="524"/>
                    <a:pt x="395" y="524"/>
                  </a:cubicBezTo>
                  <a:cubicBezTo>
                    <a:pt x="395" y="524"/>
                    <a:pt x="396" y="524"/>
                    <a:pt x="396" y="524"/>
                  </a:cubicBezTo>
                  <a:cubicBezTo>
                    <a:pt x="397" y="524"/>
                    <a:pt x="399" y="523"/>
                    <a:pt x="400" y="522"/>
                  </a:cubicBezTo>
                  <a:cubicBezTo>
                    <a:pt x="429" y="483"/>
                    <a:pt x="429" y="483"/>
                    <a:pt x="429" y="483"/>
                  </a:cubicBezTo>
                  <a:cubicBezTo>
                    <a:pt x="431" y="480"/>
                    <a:pt x="431" y="477"/>
                    <a:pt x="428" y="475"/>
                  </a:cubicBezTo>
                  <a:cubicBezTo>
                    <a:pt x="426" y="473"/>
                    <a:pt x="422" y="473"/>
                    <a:pt x="420" y="476"/>
                  </a:cubicBezTo>
                  <a:close/>
                  <a:moveTo>
                    <a:pt x="116" y="342"/>
                  </a:moveTo>
                  <a:cubicBezTo>
                    <a:pt x="90" y="376"/>
                    <a:pt x="90" y="376"/>
                    <a:pt x="90" y="376"/>
                  </a:cubicBezTo>
                  <a:cubicBezTo>
                    <a:pt x="74" y="360"/>
                    <a:pt x="74" y="360"/>
                    <a:pt x="74" y="360"/>
                  </a:cubicBezTo>
                  <a:cubicBezTo>
                    <a:pt x="72" y="358"/>
                    <a:pt x="68" y="358"/>
                    <a:pt x="66" y="361"/>
                  </a:cubicBezTo>
                  <a:cubicBezTo>
                    <a:pt x="64" y="363"/>
                    <a:pt x="64" y="367"/>
                    <a:pt x="66" y="369"/>
                  </a:cubicBezTo>
                  <a:cubicBezTo>
                    <a:pt x="87" y="389"/>
                    <a:pt x="87" y="389"/>
                    <a:pt x="87" y="389"/>
                  </a:cubicBezTo>
                  <a:cubicBezTo>
                    <a:pt x="88" y="390"/>
                    <a:pt x="90" y="390"/>
                    <a:pt x="91" y="390"/>
                  </a:cubicBezTo>
                  <a:cubicBezTo>
                    <a:pt x="91" y="390"/>
                    <a:pt x="92" y="390"/>
                    <a:pt x="92" y="390"/>
                  </a:cubicBezTo>
                  <a:cubicBezTo>
                    <a:pt x="93" y="390"/>
                    <a:pt x="95" y="389"/>
                    <a:pt x="96" y="388"/>
                  </a:cubicBezTo>
                  <a:cubicBezTo>
                    <a:pt x="125" y="349"/>
                    <a:pt x="125" y="349"/>
                    <a:pt x="125" y="349"/>
                  </a:cubicBezTo>
                  <a:cubicBezTo>
                    <a:pt x="127" y="347"/>
                    <a:pt x="127" y="343"/>
                    <a:pt x="124" y="341"/>
                  </a:cubicBezTo>
                  <a:cubicBezTo>
                    <a:pt x="122" y="339"/>
                    <a:pt x="118" y="340"/>
                    <a:pt x="116" y="342"/>
                  </a:cubicBezTo>
                  <a:close/>
                  <a:moveTo>
                    <a:pt x="392" y="279"/>
                  </a:moveTo>
                  <a:cubicBezTo>
                    <a:pt x="388" y="271"/>
                    <a:pt x="392" y="262"/>
                    <a:pt x="400" y="259"/>
                  </a:cubicBezTo>
                  <a:cubicBezTo>
                    <a:pt x="408" y="256"/>
                    <a:pt x="417" y="259"/>
                    <a:pt x="420" y="267"/>
                  </a:cubicBezTo>
                  <a:cubicBezTo>
                    <a:pt x="423" y="275"/>
                    <a:pt x="420" y="284"/>
                    <a:pt x="412" y="287"/>
                  </a:cubicBezTo>
                  <a:cubicBezTo>
                    <a:pt x="404" y="291"/>
                    <a:pt x="395" y="287"/>
                    <a:pt x="392" y="279"/>
                  </a:cubicBezTo>
                  <a:close/>
                  <a:moveTo>
                    <a:pt x="330" y="332"/>
                  </a:moveTo>
                  <a:cubicBezTo>
                    <a:pt x="330" y="332"/>
                    <a:pt x="330" y="332"/>
                    <a:pt x="330" y="332"/>
                  </a:cubicBezTo>
                  <a:cubicBezTo>
                    <a:pt x="330" y="332"/>
                    <a:pt x="336" y="328"/>
                    <a:pt x="339" y="331"/>
                  </a:cubicBezTo>
                  <a:cubicBezTo>
                    <a:pt x="342" y="334"/>
                    <a:pt x="342" y="334"/>
                    <a:pt x="342" y="334"/>
                  </a:cubicBezTo>
                  <a:cubicBezTo>
                    <a:pt x="360" y="349"/>
                    <a:pt x="386" y="354"/>
                    <a:pt x="409" y="344"/>
                  </a:cubicBezTo>
                  <a:cubicBezTo>
                    <a:pt x="442" y="330"/>
                    <a:pt x="458" y="292"/>
                    <a:pt x="444" y="259"/>
                  </a:cubicBezTo>
                  <a:cubicBezTo>
                    <a:pt x="429" y="226"/>
                    <a:pt x="391" y="210"/>
                    <a:pt x="358" y="224"/>
                  </a:cubicBezTo>
                  <a:cubicBezTo>
                    <a:pt x="335" y="234"/>
                    <a:pt x="320" y="256"/>
                    <a:pt x="318" y="280"/>
                  </a:cubicBezTo>
                  <a:cubicBezTo>
                    <a:pt x="319" y="289"/>
                    <a:pt x="306" y="295"/>
                    <a:pt x="306" y="295"/>
                  </a:cubicBezTo>
                  <a:cubicBezTo>
                    <a:pt x="209" y="336"/>
                    <a:pt x="209" y="336"/>
                    <a:pt x="209" y="336"/>
                  </a:cubicBezTo>
                  <a:cubicBezTo>
                    <a:pt x="209" y="336"/>
                    <a:pt x="201" y="339"/>
                    <a:pt x="199" y="345"/>
                  </a:cubicBezTo>
                  <a:cubicBezTo>
                    <a:pt x="197" y="351"/>
                    <a:pt x="189" y="368"/>
                    <a:pt x="189" y="368"/>
                  </a:cubicBezTo>
                  <a:cubicBezTo>
                    <a:pt x="189" y="368"/>
                    <a:pt x="187" y="379"/>
                    <a:pt x="200" y="382"/>
                  </a:cubicBezTo>
                  <a:cubicBezTo>
                    <a:pt x="222" y="390"/>
                    <a:pt x="222" y="390"/>
                    <a:pt x="222" y="390"/>
                  </a:cubicBezTo>
                  <a:cubicBezTo>
                    <a:pt x="230" y="387"/>
                    <a:pt x="230" y="387"/>
                    <a:pt x="230" y="387"/>
                  </a:cubicBezTo>
                  <a:cubicBezTo>
                    <a:pt x="234" y="377"/>
                    <a:pt x="234" y="377"/>
                    <a:pt x="234" y="377"/>
                  </a:cubicBezTo>
                  <a:cubicBezTo>
                    <a:pt x="240" y="374"/>
                    <a:pt x="240" y="374"/>
                    <a:pt x="240" y="374"/>
                  </a:cubicBezTo>
                  <a:cubicBezTo>
                    <a:pt x="249" y="378"/>
                    <a:pt x="249" y="378"/>
                    <a:pt x="249" y="378"/>
                  </a:cubicBezTo>
                  <a:cubicBezTo>
                    <a:pt x="258" y="374"/>
                    <a:pt x="258" y="374"/>
                    <a:pt x="258" y="374"/>
                  </a:cubicBezTo>
                  <a:cubicBezTo>
                    <a:pt x="261" y="366"/>
                    <a:pt x="261" y="366"/>
                    <a:pt x="261" y="366"/>
                  </a:cubicBezTo>
                  <a:cubicBezTo>
                    <a:pt x="272" y="362"/>
                    <a:pt x="272" y="362"/>
                    <a:pt x="272" y="362"/>
                  </a:cubicBezTo>
                  <a:cubicBezTo>
                    <a:pt x="281" y="365"/>
                    <a:pt x="281" y="365"/>
                    <a:pt x="281" y="365"/>
                  </a:cubicBezTo>
                  <a:cubicBezTo>
                    <a:pt x="285" y="363"/>
                    <a:pt x="285" y="363"/>
                    <a:pt x="285" y="363"/>
                  </a:cubicBezTo>
                  <a:cubicBezTo>
                    <a:pt x="291" y="350"/>
                    <a:pt x="291" y="350"/>
                    <a:pt x="291" y="350"/>
                  </a:cubicBezTo>
                  <a:cubicBezTo>
                    <a:pt x="310" y="342"/>
                    <a:pt x="310" y="342"/>
                    <a:pt x="310" y="342"/>
                  </a:cubicBezTo>
                  <a:cubicBezTo>
                    <a:pt x="316" y="357"/>
                    <a:pt x="316" y="357"/>
                    <a:pt x="316" y="357"/>
                  </a:cubicBezTo>
                  <a:cubicBezTo>
                    <a:pt x="323" y="354"/>
                    <a:pt x="323" y="354"/>
                    <a:pt x="323" y="354"/>
                  </a:cubicBezTo>
                  <a:cubicBezTo>
                    <a:pt x="330" y="336"/>
                    <a:pt x="330" y="336"/>
                    <a:pt x="330" y="336"/>
                  </a:cubicBezTo>
                  <a:lnTo>
                    <a:pt x="330" y="332"/>
                  </a:lnTo>
                  <a:close/>
                </a:path>
              </a:pathLst>
            </a:custGeom>
            <a:solidFill>
              <a:schemeClr val="bg1">
                <a:lumMod val="85000"/>
                <a:alpha val="3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3" fontAlgn="auto">
                <a:spcBef>
                  <a:spcPts val="0"/>
                </a:spcBef>
                <a:spcAft>
                  <a:spcPts val="0"/>
                </a:spcAft>
              </a:pPr>
              <a:endParaRPr lang="en-US" sz="700" dirty="0">
                <a:solidFill>
                  <a:srgbClr val="676767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8" name="Freeform 74"/>
            <p:cNvSpPr>
              <a:spLocks noChangeAspect="1" noEditPoints="1"/>
            </p:cNvSpPr>
            <p:nvPr userDrawn="1"/>
          </p:nvSpPr>
          <p:spPr bwMode="auto">
            <a:xfrm>
              <a:off x="885677" y="3241688"/>
              <a:ext cx="150703" cy="182880"/>
            </a:xfrm>
            <a:custGeom>
              <a:avLst/>
              <a:gdLst>
                <a:gd name="T0" fmla="*/ 21 w 116"/>
                <a:gd name="T1" fmla="*/ 3 h 141"/>
                <a:gd name="T2" fmla="*/ 28 w 116"/>
                <a:gd name="T3" fmla="*/ 3 h 141"/>
                <a:gd name="T4" fmla="*/ 29 w 116"/>
                <a:gd name="T5" fmla="*/ 28 h 141"/>
                <a:gd name="T6" fmla="*/ 45 w 116"/>
                <a:gd name="T7" fmla="*/ 32 h 141"/>
                <a:gd name="T8" fmla="*/ 38 w 116"/>
                <a:gd name="T9" fmla="*/ 22 h 141"/>
                <a:gd name="T10" fmla="*/ 45 w 116"/>
                <a:gd name="T11" fmla="*/ 17 h 141"/>
                <a:gd name="T12" fmla="*/ 42 w 116"/>
                <a:gd name="T13" fmla="*/ 64 h 141"/>
                <a:gd name="T14" fmla="*/ 42 w 116"/>
                <a:gd name="T15" fmla="*/ 108 h 141"/>
                <a:gd name="T16" fmla="*/ 28 w 116"/>
                <a:gd name="T17" fmla="*/ 123 h 141"/>
                <a:gd name="T18" fmla="*/ 28 w 116"/>
                <a:gd name="T19" fmla="*/ 69 h 141"/>
                <a:gd name="T20" fmla="*/ 21 w 116"/>
                <a:gd name="T21" fmla="*/ 76 h 141"/>
                <a:gd name="T22" fmla="*/ 7 w 116"/>
                <a:gd name="T23" fmla="*/ 81 h 141"/>
                <a:gd name="T24" fmla="*/ 7 w 116"/>
                <a:gd name="T25" fmla="*/ 23 h 141"/>
                <a:gd name="T26" fmla="*/ 0 w 116"/>
                <a:gd name="T27" fmla="*/ 81 h 141"/>
                <a:gd name="T28" fmla="*/ 0 w 116"/>
                <a:gd name="T29" fmla="*/ 82 h 141"/>
                <a:gd name="T30" fmla="*/ 21 w 116"/>
                <a:gd name="T31" fmla="*/ 141 h 141"/>
                <a:gd name="T32" fmla="*/ 49 w 116"/>
                <a:gd name="T33" fmla="*/ 109 h 141"/>
                <a:gd name="T34" fmla="*/ 49 w 116"/>
                <a:gd name="T35" fmla="*/ 102 h 141"/>
                <a:gd name="T36" fmla="*/ 71 w 116"/>
                <a:gd name="T37" fmla="*/ 52 h 141"/>
                <a:gd name="T38" fmla="*/ 72 w 116"/>
                <a:gd name="T39" fmla="*/ 51 h 141"/>
                <a:gd name="T40" fmla="*/ 73 w 116"/>
                <a:gd name="T41" fmla="*/ 51 h 141"/>
                <a:gd name="T42" fmla="*/ 74 w 116"/>
                <a:gd name="T43" fmla="*/ 51 h 141"/>
                <a:gd name="T44" fmla="*/ 46 w 116"/>
                <a:gd name="T45" fmla="*/ 38 h 141"/>
                <a:gd name="T46" fmla="*/ 28 w 116"/>
                <a:gd name="T47" fmla="*/ 30 h 141"/>
                <a:gd name="T48" fmla="*/ 9 w 116"/>
                <a:gd name="T49" fmla="*/ 21 h 141"/>
                <a:gd name="T50" fmla="*/ 9 w 116"/>
                <a:gd name="T51" fmla="*/ 21 h 141"/>
                <a:gd name="T52" fmla="*/ 16 w 116"/>
                <a:gd name="T53" fmla="*/ 70 h 141"/>
                <a:gd name="T54" fmla="*/ 49 w 116"/>
                <a:gd name="T55" fmla="*/ 59 h 141"/>
                <a:gd name="T56" fmla="*/ 30 w 116"/>
                <a:gd name="T57" fmla="*/ 52 h 141"/>
                <a:gd name="T58" fmla="*/ 18 w 116"/>
                <a:gd name="T59" fmla="*/ 52 h 141"/>
                <a:gd name="T60" fmla="*/ 25 w 116"/>
                <a:gd name="T61" fmla="*/ 46 h 141"/>
                <a:gd name="T62" fmla="*/ 26 w 116"/>
                <a:gd name="T63" fmla="*/ 43 h 141"/>
                <a:gd name="T64" fmla="*/ 22 w 116"/>
                <a:gd name="T65" fmla="*/ 44 h 141"/>
                <a:gd name="T66" fmla="*/ 20 w 116"/>
                <a:gd name="T67" fmla="*/ 41 h 141"/>
                <a:gd name="T68" fmla="*/ 27 w 116"/>
                <a:gd name="T69" fmla="*/ 40 h 141"/>
                <a:gd name="T70" fmla="*/ 30 w 116"/>
                <a:gd name="T71" fmla="*/ 44 h 141"/>
                <a:gd name="T72" fmla="*/ 28 w 116"/>
                <a:gd name="T73" fmla="*/ 48 h 141"/>
                <a:gd name="T74" fmla="*/ 30 w 116"/>
                <a:gd name="T75" fmla="*/ 52 h 141"/>
                <a:gd name="T76" fmla="*/ 51 w 116"/>
                <a:gd name="T77" fmla="*/ 107 h 141"/>
                <a:gd name="T78" fmla="*/ 70 w 116"/>
                <a:gd name="T79" fmla="*/ 88 h 141"/>
                <a:gd name="T80" fmla="*/ 63 w 116"/>
                <a:gd name="T81" fmla="*/ 89 h 141"/>
                <a:gd name="T82" fmla="*/ 59 w 116"/>
                <a:gd name="T83" fmla="*/ 85 h 141"/>
                <a:gd name="T84" fmla="*/ 65 w 116"/>
                <a:gd name="T85" fmla="*/ 87 h 141"/>
                <a:gd name="T86" fmla="*/ 67 w 116"/>
                <a:gd name="T87" fmla="*/ 83 h 141"/>
                <a:gd name="T88" fmla="*/ 63 w 116"/>
                <a:gd name="T89" fmla="*/ 80 h 141"/>
                <a:gd name="T90" fmla="*/ 67 w 116"/>
                <a:gd name="T91" fmla="*/ 79 h 141"/>
                <a:gd name="T92" fmla="*/ 67 w 116"/>
                <a:gd name="T93" fmla="*/ 76 h 141"/>
                <a:gd name="T94" fmla="*/ 60 w 116"/>
                <a:gd name="T95" fmla="*/ 77 h 141"/>
                <a:gd name="T96" fmla="*/ 68 w 116"/>
                <a:gd name="T97" fmla="*/ 74 h 141"/>
                <a:gd name="T98" fmla="*/ 71 w 116"/>
                <a:gd name="T99" fmla="*/ 77 h 141"/>
                <a:gd name="T100" fmla="*/ 69 w 116"/>
                <a:gd name="T101" fmla="*/ 80 h 141"/>
                <a:gd name="T102" fmla="*/ 71 w 116"/>
                <a:gd name="T103" fmla="*/ 82 h 141"/>
                <a:gd name="T104" fmla="*/ 71 w 116"/>
                <a:gd name="T105" fmla="*/ 86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16" h="141">
                  <a:moveTo>
                    <a:pt x="28" y="3"/>
                  </a:moveTo>
                  <a:cubicBezTo>
                    <a:pt x="28" y="1"/>
                    <a:pt x="26" y="0"/>
                    <a:pt x="24" y="0"/>
                  </a:cubicBezTo>
                  <a:cubicBezTo>
                    <a:pt x="23" y="0"/>
                    <a:pt x="21" y="1"/>
                    <a:pt x="21" y="3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11"/>
                    <a:pt x="28" y="3"/>
                    <a:pt x="28" y="3"/>
                  </a:cubicBezTo>
                  <a:close/>
                  <a:moveTo>
                    <a:pt x="94" y="32"/>
                  </a:moveTo>
                  <a:cubicBezTo>
                    <a:pt x="29" y="3"/>
                    <a:pt x="29" y="3"/>
                    <a:pt x="29" y="3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94" y="32"/>
                    <a:pt x="94" y="32"/>
                    <a:pt x="94" y="32"/>
                  </a:cubicBezTo>
                  <a:close/>
                  <a:moveTo>
                    <a:pt x="45" y="32"/>
                  </a:moveTo>
                  <a:cubicBezTo>
                    <a:pt x="42" y="32"/>
                    <a:pt x="42" y="32"/>
                    <a:pt x="42" y="32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5" y="17"/>
                    <a:pt x="45" y="17"/>
                    <a:pt x="45" y="17"/>
                  </a:cubicBezTo>
                  <a:lnTo>
                    <a:pt x="45" y="32"/>
                  </a:lnTo>
                  <a:close/>
                  <a:moveTo>
                    <a:pt x="49" y="62"/>
                  </a:moveTo>
                  <a:cubicBezTo>
                    <a:pt x="42" y="64"/>
                    <a:pt x="42" y="64"/>
                    <a:pt x="42" y="64"/>
                  </a:cubicBezTo>
                  <a:cubicBezTo>
                    <a:pt x="42" y="103"/>
                    <a:pt x="42" y="103"/>
                    <a:pt x="42" y="103"/>
                  </a:cubicBezTo>
                  <a:cubicBezTo>
                    <a:pt x="42" y="103"/>
                    <a:pt x="42" y="103"/>
                    <a:pt x="42" y="103"/>
                  </a:cubicBezTo>
                  <a:cubicBezTo>
                    <a:pt x="42" y="108"/>
                    <a:pt x="42" y="108"/>
                    <a:pt x="42" y="108"/>
                  </a:cubicBezTo>
                  <a:cubicBezTo>
                    <a:pt x="42" y="108"/>
                    <a:pt x="42" y="108"/>
                    <a:pt x="42" y="108"/>
                  </a:cubicBezTo>
                  <a:cubicBezTo>
                    <a:pt x="42" y="108"/>
                    <a:pt x="42" y="108"/>
                    <a:pt x="42" y="108"/>
                  </a:cubicBezTo>
                  <a:cubicBezTo>
                    <a:pt x="42" y="116"/>
                    <a:pt x="36" y="122"/>
                    <a:pt x="28" y="123"/>
                  </a:cubicBezTo>
                  <a:cubicBezTo>
                    <a:pt x="28" y="103"/>
                    <a:pt x="28" y="103"/>
                    <a:pt x="28" y="103"/>
                  </a:cubicBezTo>
                  <a:cubicBezTo>
                    <a:pt x="28" y="103"/>
                    <a:pt x="28" y="103"/>
                    <a:pt x="28" y="103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1" y="71"/>
                    <a:pt x="21" y="71"/>
                    <a:pt x="21" y="71"/>
                  </a:cubicBezTo>
                  <a:cubicBezTo>
                    <a:pt x="21" y="76"/>
                    <a:pt x="21" y="76"/>
                    <a:pt x="21" y="76"/>
                  </a:cubicBezTo>
                  <a:cubicBezTo>
                    <a:pt x="21" y="76"/>
                    <a:pt x="21" y="76"/>
                    <a:pt x="21" y="76"/>
                  </a:cubicBezTo>
                  <a:cubicBezTo>
                    <a:pt x="21" y="97"/>
                    <a:pt x="21" y="97"/>
                    <a:pt x="21" y="97"/>
                  </a:cubicBezTo>
                  <a:cubicBezTo>
                    <a:pt x="13" y="95"/>
                    <a:pt x="7" y="89"/>
                    <a:pt x="7" y="81"/>
                  </a:cubicBezTo>
                  <a:cubicBezTo>
                    <a:pt x="7" y="81"/>
                    <a:pt x="7" y="81"/>
                    <a:pt x="7" y="81"/>
                  </a:cubicBezTo>
                  <a:cubicBezTo>
                    <a:pt x="7" y="81"/>
                    <a:pt x="7" y="81"/>
                    <a:pt x="7" y="81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11"/>
                    <a:pt x="7" y="23"/>
                    <a:pt x="7" y="23"/>
                  </a:cubicBezTo>
                  <a:cubicBezTo>
                    <a:pt x="7" y="22"/>
                    <a:pt x="6" y="20"/>
                    <a:pt x="4" y="20"/>
                  </a:cubicBezTo>
                  <a:cubicBezTo>
                    <a:pt x="2" y="20"/>
                    <a:pt x="0" y="22"/>
                    <a:pt x="0" y="23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1" y="82"/>
                    <a:pt x="1" y="82"/>
                    <a:pt x="1" y="82"/>
                  </a:cubicBezTo>
                  <a:cubicBezTo>
                    <a:pt x="1" y="92"/>
                    <a:pt x="10" y="101"/>
                    <a:pt x="21" y="103"/>
                  </a:cubicBezTo>
                  <a:cubicBezTo>
                    <a:pt x="21" y="141"/>
                    <a:pt x="21" y="141"/>
                    <a:pt x="21" y="141"/>
                  </a:cubicBezTo>
                  <a:cubicBezTo>
                    <a:pt x="28" y="141"/>
                    <a:pt x="28" y="141"/>
                    <a:pt x="28" y="141"/>
                  </a:cubicBezTo>
                  <a:cubicBezTo>
                    <a:pt x="28" y="129"/>
                    <a:pt x="28" y="129"/>
                    <a:pt x="28" y="129"/>
                  </a:cubicBezTo>
                  <a:cubicBezTo>
                    <a:pt x="39" y="128"/>
                    <a:pt x="49" y="119"/>
                    <a:pt x="49" y="109"/>
                  </a:cubicBezTo>
                  <a:cubicBezTo>
                    <a:pt x="49" y="109"/>
                    <a:pt x="49" y="109"/>
                    <a:pt x="49" y="109"/>
                  </a:cubicBezTo>
                  <a:cubicBezTo>
                    <a:pt x="49" y="102"/>
                    <a:pt x="49" y="102"/>
                    <a:pt x="49" y="102"/>
                  </a:cubicBezTo>
                  <a:cubicBezTo>
                    <a:pt x="49" y="102"/>
                    <a:pt x="49" y="102"/>
                    <a:pt x="49" y="102"/>
                  </a:cubicBezTo>
                  <a:lnTo>
                    <a:pt x="49" y="62"/>
                  </a:lnTo>
                  <a:close/>
                  <a:moveTo>
                    <a:pt x="70" y="52"/>
                  </a:moveTo>
                  <a:cubicBezTo>
                    <a:pt x="71" y="52"/>
                    <a:pt x="71" y="52"/>
                    <a:pt x="71" y="52"/>
                  </a:cubicBezTo>
                  <a:cubicBezTo>
                    <a:pt x="71" y="52"/>
                    <a:pt x="71" y="52"/>
                    <a:pt x="72" y="52"/>
                  </a:cubicBezTo>
                  <a:cubicBezTo>
                    <a:pt x="72" y="52"/>
                    <a:pt x="72" y="51"/>
                    <a:pt x="72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1"/>
                    <a:pt x="73" y="51"/>
                    <a:pt x="73" y="51"/>
                  </a:cubicBezTo>
                  <a:cubicBezTo>
                    <a:pt x="73" y="51"/>
                    <a:pt x="73" y="51"/>
                    <a:pt x="73" y="51"/>
                  </a:cubicBezTo>
                  <a:cubicBezTo>
                    <a:pt x="73" y="51"/>
                    <a:pt x="73" y="51"/>
                    <a:pt x="73" y="51"/>
                  </a:cubicBezTo>
                  <a:cubicBezTo>
                    <a:pt x="73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68" y="48"/>
                    <a:pt x="63" y="46"/>
                    <a:pt x="59" y="44"/>
                  </a:cubicBezTo>
                  <a:cubicBezTo>
                    <a:pt x="54" y="42"/>
                    <a:pt x="50" y="40"/>
                    <a:pt x="46" y="38"/>
                  </a:cubicBezTo>
                  <a:cubicBezTo>
                    <a:pt x="45" y="38"/>
                    <a:pt x="44" y="37"/>
                    <a:pt x="43" y="37"/>
                  </a:cubicBezTo>
                  <a:cubicBezTo>
                    <a:pt x="38" y="34"/>
                    <a:pt x="33" y="32"/>
                    <a:pt x="29" y="31"/>
                  </a:cubicBezTo>
                  <a:cubicBezTo>
                    <a:pt x="29" y="30"/>
                    <a:pt x="28" y="30"/>
                    <a:pt x="28" y="30"/>
                  </a:cubicBezTo>
                  <a:cubicBezTo>
                    <a:pt x="25" y="29"/>
                    <a:pt x="23" y="28"/>
                    <a:pt x="21" y="27"/>
                  </a:cubicBezTo>
                  <a:cubicBezTo>
                    <a:pt x="20" y="26"/>
                    <a:pt x="19" y="26"/>
                    <a:pt x="18" y="25"/>
                  </a:cubicBezTo>
                  <a:cubicBezTo>
                    <a:pt x="10" y="22"/>
                    <a:pt x="9" y="21"/>
                    <a:pt x="9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72"/>
                    <a:pt x="9" y="72"/>
                    <a:pt x="9" y="72"/>
                  </a:cubicBezTo>
                  <a:cubicBezTo>
                    <a:pt x="10" y="72"/>
                    <a:pt x="11" y="72"/>
                    <a:pt x="12" y="71"/>
                  </a:cubicBezTo>
                  <a:cubicBezTo>
                    <a:pt x="14" y="71"/>
                    <a:pt x="15" y="70"/>
                    <a:pt x="16" y="70"/>
                  </a:cubicBezTo>
                  <a:cubicBezTo>
                    <a:pt x="20" y="69"/>
                    <a:pt x="24" y="67"/>
                    <a:pt x="28" y="66"/>
                  </a:cubicBezTo>
                  <a:cubicBezTo>
                    <a:pt x="33" y="64"/>
                    <a:pt x="38" y="63"/>
                    <a:pt x="42" y="61"/>
                  </a:cubicBezTo>
                  <a:cubicBezTo>
                    <a:pt x="45" y="60"/>
                    <a:pt x="47" y="60"/>
                    <a:pt x="49" y="59"/>
                  </a:cubicBezTo>
                  <a:cubicBezTo>
                    <a:pt x="49" y="59"/>
                    <a:pt x="50" y="59"/>
                    <a:pt x="51" y="59"/>
                  </a:cubicBezTo>
                  <a:cubicBezTo>
                    <a:pt x="62" y="55"/>
                    <a:pt x="67" y="53"/>
                    <a:pt x="70" y="52"/>
                  </a:cubicBezTo>
                  <a:close/>
                  <a:moveTo>
                    <a:pt x="30" y="52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8" y="55"/>
                    <a:pt x="18" y="55"/>
                    <a:pt x="18" y="55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23" y="48"/>
                    <a:pt x="24" y="48"/>
                    <a:pt x="24" y="47"/>
                  </a:cubicBezTo>
                  <a:cubicBezTo>
                    <a:pt x="25" y="47"/>
                    <a:pt x="25" y="46"/>
                    <a:pt x="25" y="46"/>
                  </a:cubicBezTo>
                  <a:cubicBezTo>
                    <a:pt x="26" y="46"/>
                    <a:pt x="26" y="45"/>
                    <a:pt x="26" y="45"/>
                  </a:cubicBezTo>
                  <a:cubicBezTo>
                    <a:pt x="26" y="45"/>
                    <a:pt x="26" y="44"/>
                    <a:pt x="26" y="44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5" y="42"/>
                    <a:pt x="25" y="42"/>
                    <a:pt x="24" y="42"/>
                  </a:cubicBezTo>
                  <a:cubicBezTo>
                    <a:pt x="24" y="42"/>
                    <a:pt x="23" y="42"/>
                    <a:pt x="23" y="43"/>
                  </a:cubicBezTo>
                  <a:cubicBezTo>
                    <a:pt x="22" y="43"/>
                    <a:pt x="22" y="44"/>
                    <a:pt x="22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9" y="42"/>
                  </a:cubicBezTo>
                  <a:cubicBezTo>
                    <a:pt x="19" y="42"/>
                    <a:pt x="20" y="41"/>
                    <a:pt x="20" y="41"/>
                  </a:cubicBezTo>
                  <a:cubicBezTo>
                    <a:pt x="21" y="41"/>
                    <a:pt x="21" y="40"/>
                    <a:pt x="22" y="40"/>
                  </a:cubicBezTo>
                  <a:cubicBezTo>
                    <a:pt x="23" y="40"/>
                    <a:pt x="24" y="40"/>
                    <a:pt x="24" y="40"/>
                  </a:cubicBezTo>
                  <a:cubicBezTo>
                    <a:pt x="25" y="40"/>
                    <a:pt x="26" y="40"/>
                    <a:pt x="27" y="40"/>
                  </a:cubicBezTo>
                  <a:cubicBezTo>
                    <a:pt x="27" y="40"/>
                    <a:pt x="28" y="41"/>
                    <a:pt x="28" y="41"/>
                  </a:cubicBezTo>
                  <a:cubicBezTo>
                    <a:pt x="29" y="41"/>
                    <a:pt x="29" y="42"/>
                    <a:pt x="30" y="42"/>
                  </a:cubicBezTo>
                  <a:cubicBezTo>
                    <a:pt x="30" y="43"/>
                    <a:pt x="30" y="43"/>
                    <a:pt x="30" y="44"/>
                  </a:cubicBezTo>
                  <a:cubicBezTo>
                    <a:pt x="30" y="45"/>
                    <a:pt x="30" y="45"/>
                    <a:pt x="30" y="46"/>
                  </a:cubicBezTo>
                  <a:cubicBezTo>
                    <a:pt x="30" y="46"/>
                    <a:pt x="29" y="47"/>
                    <a:pt x="29" y="47"/>
                  </a:cubicBezTo>
                  <a:cubicBezTo>
                    <a:pt x="29" y="47"/>
                    <a:pt x="28" y="48"/>
                    <a:pt x="28" y="48"/>
                  </a:cubicBezTo>
                  <a:cubicBezTo>
                    <a:pt x="27" y="49"/>
                    <a:pt x="26" y="50"/>
                    <a:pt x="26" y="50"/>
                  </a:cubicBezTo>
                  <a:cubicBezTo>
                    <a:pt x="23" y="52"/>
                    <a:pt x="23" y="52"/>
                    <a:pt x="23" y="52"/>
                  </a:cubicBezTo>
                  <a:lnTo>
                    <a:pt x="30" y="52"/>
                  </a:lnTo>
                  <a:close/>
                  <a:moveTo>
                    <a:pt x="58" y="59"/>
                  </a:moveTo>
                  <a:cubicBezTo>
                    <a:pt x="51" y="61"/>
                    <a:pt x="51" y="61"/>
                    <a:pt x="51" y="61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116" y="85"/>
                    <a:pt x="116" y="85"/>
                    <a:pt x="116" y="85"/>
                  </a:cubicBezTo>
                  <a:cubicBezTo>
                    <a:pt x="82" y="70"/>
                    <a:pt x="65" y="63"/>
                    <a:pt x="58" y="59"/>
                  </a:cubicBezTo>
                  <a:close/>
                  <a:moveTo>
                    <a:pt x="70" y="88"/>
                  </a:moveTo>
                  <a:cubicBezTo>
                    <a:pt x="69" y="88"/>
                    <a:pt x="69" y="89"/>
                    <a:pt x="68" y="89"/>
                  </a:cubicBezTo>
                  <a:cubicBezTo>
                    <a:pt x="67" y="89"/>
                    <a:pt x="66" y="89"/>
                    <a:pt x="65" y="89"/>
                  </a:cubicBezTo>
                  <a:cubicBezTo>
                    <a:pt x="65" y="89"/>
                    <a:pt x="64" y="89"/>
                    <a:pt x="63" y="89"/>
                  </a:cubicBezTo>
                  <a:cubicBezTo>
                    <a:pt x="62" y="89"/>
                    <a:pt x="62" y="88"/>
                    <a:pt x="61" y="88"/>
                  </a:cubicBezTo>
                  <a:cubicBezTo>
                    <a:pt x="61" y="88"/>
                    <a:pt x="60" y="87"/>
                    <a:pt x="60" y="87"/>
                  </a:cubicBezTo>
                  <a:cubicBezTo>
                    <a:pt x="60" y="86"/>
                    <a:pt x="59" y="86"/>
                    <a:pt x="59" y="85"/>
                  </a:cubicBezTo>
                  <a:cubicBezTo>
                    <a:pt x="63" y="85"/>
                    <a:pt x="63" y="85"/>
                    <a:pt x="63" y="85"/>
                  </a:cubicBezTo>
                  <a:cubicBezTo>
                    <a:pt x="63" y="86"/>
                    <a:pt x="63" y="86"/>
                    <a:pt x="64" y="86"/>
                  </a:cubicBezTo>
                  <a:cubicBezTo>
                    <a:pt x="64" y="87"/>
                    <a:pt x="65" y="87"/>
                    <a:pt x="65" y="87"/>
                  </a:cubicBezTo>
                  <a:cubicBezTo>
                    <a:pt x="66" y="87"/>
                    <a:pt x="67" y="87"/>
                    <a:pt x="67" y="86"/>
                  </a:cubicBezTo>
                  <a:cubicBezTo>
                    <a:pt x="68" y="86"/>
                    <a:pt x="68" y="85"/>
                    <a:pt x="68" y="85"/>
                  </a:cubicBezTo>
                  <a:cubicBezTo>
                    <a:pt x="68" y="84"/>
                    <a:pt x="68" y="83"/>
                    <a:pt x="67" y="83"/>
                  </a:cubicBezTo>
                  <a:cubicBezTo>
                    <a:pt x="67" y="82"/>
                    <a:pt x="66" y="82"/>
                    <a:pt x="65" y="82"/>
                  </a:cubicBezTo>
                  <a:cubicBezTo>
                    <a:pt x="63" y="82"/>
                    <a:pt x="63" y="82"/>
                    <a:pt x="63" y="82"/>
                  </a:cubicBezTo>
                  <a:cubicBezTo>
                    <a:pt x="63" y="80"/>
                    <a:pt x="63" y="80"/>
                    <a:pt x="63" y="80"/>
                  </a:cubicBezTo>
                  <a:cubicBezTo>
                    <a:pt x="65" y="80"/>
                    <a:pt x="65" y="80"/>
                    <a:pt x="65" y="80"/>
                  </a:cubicBezTo>
                  <a:cubicBezTo>
                    <a:pt x="65" y="80"/>
                    <a:pt x="66" y="80"/>
                    <a:pt x="66" y="80"/>
                  </a:cubicBezTo>
                  <a:cubicBezTo>
                    <a:pt x="66" y="80"/>
                    <a:pt x="67" y="79"/>
                    <a:pt x="67" y="79"/>
                  </a:cubicBezTo>
                  <a:cubicBezTo>
                    <a:pt x="67" y="79"/>
                    <a:pt x="67" y="79"/>
                    <a:pt x="67" y="79"/>
                  </a:cubicBezTo>
                  <a:cubicBezTo>
                    <a:pt x="67" y="78"/>
                    <a:pt x="67" y="78"/>
                    <a:pt x="67" y="78"/>
                  </a:cubicBezTo>
                  <a:cubicBezTo>
                    <a:pt x="67" y="77"/>
                    <a:pt x="67" y="77"/>
                    <a:pt x="67" y="76"/>
                  </a:cubicBezTo>
                  <a:cubicBezTo>
                    <a:pt x="67" y="76"/>
                    <a:pt x="66" y="76"/>
                    <a:pt x="65" y="76"/>
                  </a:cubicBezTo>
                  <a:cubicBezTo>
                    <a:pt x="64" y="76"/>
                    <a:pt x="64" y="76"/>
                    <a:pt x="63" y="77"/>
                  </a:cubicBezTo>
                  <a:cubicBezTo>
                    <a:pt x="60" y="77"/>
                    <a:pt x="60" y="77"/>
                    <a:pt x="60" y="77"/>
                  </a:cubicBezTo>
                  <a:cubicBezTo>
                    <a:pt x="60" y="76"/>
                    <a:pt x="61" y="75"/>
                    <a:pt x="62" y="75"/>
                  </a:cubicBezTo>
                  <a:cubicBezTo>
                    <a:pt x="63" y="74"/>
                    <a:pt x="64" y="74"/>
                    <a:pt x="66" y="74"/>
                  </a:cubicBezTo>
                  <a:cubicBezTo>
                    <a:pt x="66" y="74"/>
                    <a:pt x="67" y="74"/>
                    <a:pt x="68" y="74"/>
                  </a:cubicBezTo>
                  <a:cubicBezTo>
                    <a:pt x="69" y="74"/>
                    <a:pt x="69" y="74"/>
                    <a:pt x="70" y="75"/>
                  </a:cubicBezTo>
                  <a:cubicBezTo>
                    <a:pt x="70" y="75"/>
                    <a:pt x="71" y="75"/>
                    <a:pt x="71" y="76"/>
                  </a:cubicBezTo>
                  <a:cubicBezTo>
                    <a:pt x="71" y="76"/>
                    <a:pt x="71" y="77"/>
                    <a:pt x="71" y="77"/>
                  </a:cubicBezTo>
                  <a:cubicBezTo>
                    <a:pt x="71" y="78"/>
                    <a:pt x="71" y="78"/>
                    <a:pt x="71" y="79"/>
                  </a:cubicBezTo>
                  <a:cubicBezTo>
                    <a:pt x="71" y="79"/>
                    <a:pt x="71" y="79"/>
                    <a:pt x="70" y="80"/>
                  </a:cubicBezTo>
                  <a:cubicBezTo>
                    <a:pt x="70" y="80"/>
                    <a:pt x="70" y="80"/>
                    <a:pt x="69" y="80"/>
                  </a:cubicBezTo>
                  <a:cubicBezTo>
                    <a:pt x="69" y="81"/>
                    <a:pt x="68" y="81"/>
                    <a:pt x="68" y="81"/>
                  </a:cubicBezTo>
                  <a:cubicBezTo>
                    <a:pt x="68" y="81"/>
                    <a:pt x="69" y="81"/>
                    <a:pt x="69" y="81"/>
                  </a:cubicBezTo>
                  <a:cubicBezTo>
                    <a:pt x="70" y="81"/>
                    <a:pt x="70" y="82"/>
                    <a:pt x="71" y="82"/>
                  </a:cubicBezTo>
                  <a:cubicBezTo>
                    <a:pt x="71" y="82"/>
                    <a:pt x="71" y="83"/>
                    <a:pt x="71" y="83"/>
                  </a:cubicBezTo>
                  <a:cubicBezTo>
                    <a:pt x="72" y="84"/>
                    <a:pt x="72" y="84"/>
                    <a:pt x="72" y="84"/>
                  </a:cubicBezTo>
                  <a:cubicBezTo>
                    <a:pt x="72" y="85"/>
                    <a:pt x="72" y="86"/>
                    <a:pt x="71" y="86"/>
                  </a:cubicBezTo>
                  <a:cubicBezTo>
                    <a:pt x="71" y="87"/>
                    <a:pt x="70" y="87"/>
                    <a:pt x="70" y="88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3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3" fontAlgn="auto">
                <a:spcBef>
                  <a:spcPts val="0"/>
                </a:spcBef>
                <a:spcAft>
                  <a:spcPts val="0"/>
                </a:spcAft>
              </a:pPr>
              <a:endParaRPr lang="en-CA" sz="700" dirty="0">
                <a:solidFill>
                  <a:srgbClr val="BF0E11"/>
                </a:solidFill>
                <a:latin typeface="Arial"/>
                <a:cs typeface="Arial" panose="020B0604020202020204" pitchFamily="34" charset="0"/>
              </a:endParaRPr>
            </a:p>
          </p:txBody>
        </p:sp>
        <p:grpSp>
          <p:nvGrpSpPr>
            <p:cNvPr id="9" name="Group 8"/>
            <p:cNvGrpSpPr>
              <a:grpSpLocks noChangeAspect="1"/>
            </p:cNvGrpSpPr>
            <p:nvPr userDrawn="1"/>
          </p:nvGrpSpPr>
          <p:grpSpPr>
            <a:xfrm>
              <a:off x="3329743" y="2622753"/>
              <a:ext cx="155448" cy="155448"/>
              <a:chOff x="3361406" y="3513469"/>
              <a:chExt cx="269544" cy="269774"/>
            </a:xfrm>
            <a:solidFill>
              <a:schemeClr val="bg1">
                <a:lumMod val="85000"/>
                <a:alpha val="30000"/>
              </a:schemeClr>
            </a:solidFill>
          </p:grpSpPr>
          <p:sp>
            <p:nvSpPr>
              <p:cNvPr id="10" name="Freeform 5"/>
              <p:cNvSpPr>
                <a:spLocks noEditPoints="1"/>
              </p:cNvSpPr>
              <p:nvPr/>
            </p:nvSpPr>
            <p:spPr bwMode="auto">
              <a:xfrm>
                <a:off x="3361406" y="3513469"/>
                <a:ext cx="269544" cy="269774"/>
              </a:xfrm>
              <a:custGeom>
                <a:avLst/>
                <a:gdLst>
                  <a:gd name="T0" fmla="*/ 614 w 632"/>
                  <a:gd name="T1" fmla="*/ 299 h 633"/>
                  <a:gd name="T2" fmla="*/ 586 w 632"/>
                  <a:gd name="T3" fmla="*/ 299 h 633"/>
                  <a:gd name="T4" fmla="*/ 334 w 632"/>
                  <a:gd name="T5" fmla="*/ 48 h 633"/>
                  <a:gd name="T6" fmla="*/ 334 w 632"/>
                  <a:gd name="T7" fmla="*/ 18 h 633"/>
                  <a:gd name="T8" fmla="*/ 316 w 632"/>
                  <a:gd name="T9" fmla="*/ 0 h 633"/>
                  <a:gd name="T10" fmla="*/ 298 w 632"/>
                  <a:gd name="T11" fmla="*/ 18 h 633"/>
                  <a:gd name="T12" fmla="*/ 298 w 632"/>
                  <a:gd name="T13" fmla="*/ 48 h 633"/>
                  <a:gd name="T14" fmla="*/ 46 w 632"/>
                  <a:gd name="T15" fmla="*/ 299 h 633"/>
                  <a:gd name="T16" fmla="*/ 18 w 632"/>
                  <a:gd name="T17" fmla="*/ 299 h 633"/>
                  <a:gd name="T18" fmla="*/ 0 w 632"/>
                  <a:gd name="T19" fmla="*/ 317 h 633"/>
                  <a:gd name="T20" fmla="*/ 18 w 632"/>
                  <a:gd name="T21" fmla="*/ 335 h 633"/>
                  <a:gd name="T22" fmla="*/ 46 w 632"/>
                  <a:gd name="T23" fmla="*/ 335 h 633"/>
                  <a:gd name="T24" fmla="*/ 298 w 632"/>
                  <a:gd name="T25" fmla="*/ 587 h 633"/>
                  <a:gd name="T26" fmla="*/ 298 w 632"/>
                  <a:gd name="T27" fmla="*/ 615 h 633"/>
                  <a:gd name="T28" fmla="*/ 316 w 632"/>
                  <a:gd name="T29" fmla="*/ 633 h 633"/>
                  <a:gd name="T30" fmla="*/ 334 w 632"/>
                  <a:gd name="T31" fmla="*/ 615 h 633"/>
                  <a:gd name="T32" fmla="*/ 334 w 632"/>
                  <a:gd name="T33" fmla="*/ 587 h 633"/>
                  <a:gd name="T34" fmla="*/ 586 w 632"/>
                  <a:gd name="T35" fmla="*/ 335 h 633"/>
                  <a:gd name="T36" fmla="*/ 614 w 632"/>
                  <a:gd name="T37" fmla="*/ 335 h 633"/>
                  <a:gd name="T38" fmla="*/ 632 w 632"/>
                  <a:gd name="T39" fmla="*/ 317 h 633"/>
                  <a:gd name="T40" fmla="*/ 614 w 632"/>
                  <a:gd name="T41" fmla="*/ 299 h 633"/>
                  <a:gd name="T42" fmla="*/ 334 w 632"/>
                  <a:gd name="T43" fmla="*/ 559 h 633"/>
                  <a:gd name="T44" fmla="*/ 334 w 632"/>
                  <a:gd name="T45" fmla="*/ 531 h 633"/>
                  <a:gd name="T46" fmla="*/ 316 w 632"/>
                  <a:gd name="T47" fmla="*/ 513 h 633"/>
                  <a:gd name="T48" fmla="*/ 298 w 632"/>
                  <a:gd name="T49" fmla="*/ 531 h 633"/>
                  <a:gd name="T50" fmla="*/ 298 w 632"/>
                  <a:gd name="T51" fmla="*/ 559 h 633"/>
                  <a:gd name="T52" fmla="*/ 74 w 632"/>
                  <a:gd name="T53" fmla="*/ 335 h 633"/>
                  <a:gd name="T54" fmla="*/ 101 w 632"/>
                  <a:gd name="T55" fmla="*/ 335 h 633"/>
                  <a:gd name="T56" fmla="*/ 119 w 632"/>
                  <a:gd name="T57" fmla="*/ 317 h 633"/>
                  <a:gd name="T58" fmla="*/ 101 w 632"/>
                  <a:gd name="T59" fmla="*/ 299 h 633"/>
                  <a:gd name="T60" fmla="*/ 75 w 632"/>
                  <a:gd name="T61" fmla="*/ 299 h 633"/>
                  <a:gd name="T62" fmla="*/ 298 w 632"/>
                  <a:gd name="T63" fmla="*/ 76 h 633"/>
                  <a:gd name="T64" fmla="*/ 298 w 632"/>
                  <a:gd name="T65" fmla="*/ 102 h 633"/>
                  <a:gd name="T66" fmla="*/ 316 w 632"/>
                  <a:gd name="T67" fmla="*/ 120 h 633"/>
                  <a:gd name="T68" fmla="*/ 334 w 632"/>
                  <a:gd name="T69" fmla="*/ 102 h 633"/>
                  <a:gd name="T70" fmla="*/ 334 w 632"/>
                  <a:gd name="T71" fmla="*/ 76 h 633"/>
                  <a:gd name="T72" fmla="*/ 558 w 632"/>
                  <a:gd name="T73" fmla="*/ 299 h 633"/>
                  <a:gd name="T74" fmla="*/ 531 w 632"/>
                  <a:gd name="T75" fmla="*/ 299 h 633"/>
                  <a:gd name="T76" fmla="*/ 513 w 632"/>
                  <a:gd name="T77" fmla="*/ 317 h 633"/>
                  <a:gd name="T78" fmla="*/ 531 w 632"/>
                  <a:gd name="T79" fmla="*/ 335 h 633"/>
                  <a:gd name="T80" fmla="*/ 558 w 632"/>
                  <a:gd name="T81" fmla="*/ 335 h 633"/>
                  <a:gd name="T82" fmla="*/ 334 w 632"/>
                  <a:gd name="T83" fmla="*/ 559 h 6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32" h="633">
                    <a:moveTo>
                      <a:pt x="614" y="299"/>
                    </a:moveTo>
                    <a:cubicBezTo>
                      <a:pt x="586" y="299"/>
                      <a:pt x="586" y="299"/>
                      <a:pt x="586" y="299"/>
                    </a:cubicBezTo>
                    <a:cubicBezTo>
                      <a:pt x="576" y="164"/>
                      <a:pt x="469" y="57"/>
                      <a:pt x="334" y="48"/>
                    </a:cubicBezTo>
                    <a:cubicBezTo>
                      <a:pt x="334" y="18"/>
                      <a:pt x="334" y="18"/>
                      <a:pt x="334" y="18"/>
                    </a:cubicBezTo>
                    <a:cubicBezTo>
                      <a:pt x="334" y="9"/>
                      <a:pt x="326" y="0"/>
                      <a:pt x="316" y="0"/>
                    </a:cubicBezTo>
                    <a:cubicBezTo>
                      <a:pt x="306" y="0"/>
                      <a:pt x="298" y="9"/>
                      <a:pt x="298" y="18"/>
                    </a:cubicBezTo>
                    <a:cubicBezTo>
                      <a:pt x="298" y="48"/>
                      <a:pt x="298" y="48"/>
                      <a:pt x="298" y="48"/>
                    </a:cubicBezTo>
                    <a:cubicBezTo>
                      <a:pt x="164" y="57"/>
                      <a:pt x="56" y="164"/>
                      <a:pt x="46" y="299"/>
                    </a:cubicBezTo>
                    <a:cubicBezTo>
                      <a:pt x="18" y="299"/>
                      <a:pt x="18" y="299"/>
                      <a:pt x="18" y="299"/>
                    </a:cubicBezTo>
                    <a:cubicBezTo>
                      <a:pt x="8" y="299"/>
                      <a:pt x="0" y="307"/>
                      <a:pt x="0" y="317"/>
                    </a:cubicBezTo>
                    <a:cubicBezTo>
                      <a:pt x="0" y="327"/>
                      <a:pt x="8" y="335"/>
                      <a:pt x="18" y="335"/>
                    </a:cubicBezTo>
                    <a:cubicBezTo>
                      <a:pt x="46" y="335"/>
                      <a:pt x="46" y="335"/>
                      <a:pt x="46" y="335"/>
                    </a:cubicBezTo>
                    <a:cubicBezTo>
                      <a:pt x="55" y="470"/>
                      <a:pt x="163" y="578"/>
                      <a:pt x="298" y="587"/>
                    </a:cubicBezTo>
                    <a:cubicBezTo>
                      <a:pt x="298" y="615"/>
                      <a:pt x="298" y="615"/>
                      <a:pt x="298" y="615"/>
                    </a:cubicBezTo>
                    <a:cubicBezTo>
                      <a:pt x="298" y="625"/>
                      <a:pt x="306" y="633"/>
                      <a:pt x="316" y="633"/>
                    </a:cubicBezTo>
                    <a:cubicBezTo>
                      <a:pt x="326" y="633"/>
                      <a:pt x="334" y="625"/>
                      <a:pt x="334" y="615"/>
                    </a:cubicBezTo>
                    <a:cubicBezTo>
                      <a:pt x="334" y="587"/>
                      <a:pt x="334" y="587"/>
                      <a:pt x="334" y="587"/>
                    </a:cubicBezTo>
                    <a:cubicBezTo>
                      <a:pt x="469" y="578"/>
                      <a:pt x="577" y="470"/>
                      <a:pt x="586" y="335"/>
                    </a:cubicBezTo>
                    <a:cubicBezTo>
                      <a:pt x="614" y="335"/>
                      <a:pt x="614" y="335"/>
                      <a:pt x="614" y="335"/>
                    </a:cubicBezTo>
                    <a:cubicBezTo>
                      <a:pt x="624" y="335"/>
                      <a:pt x="632" y="327"/>
                      <a:pt x="632" y="317"/>
                    </a:cubicBezTo>
                    <a:cubicBezTo>
                      <a:pt x="632" y="307"/>
                      <a:pt x="624" y="299"/>
                      <a:pt x="614" y="299"/>
                    </a:cubicBezTo>
                    <a:close/>
                    <a:moveTo>
                      <a:pt x="334" y="559"/>
                    </a:moveTo>
                    <a:cubicBezTo>
                      <a:pt x="334" y="531"/>
                      <a:pt x="334" y="531"/>
                      <a:pt x="334" y="531"/>
                    </a:cubicBezTo>
                    <a:cubicBezTo>
                      <a:pt x="334" y="522"/>
                      <a:pt x="326" y="513"/>
                      <a:pt x="316" y="513"/>
                    </a:cubicBezTo>
                    <a:cubicBezTo>
                      <a:pt x="306" y="513"/>
                      <a:pt x="298" y="522"/>
                      <a:pt x="298" y="531"/>
                    </a:cubicBezTo>
                    <a:cubicBezTo>
                      <a:pt x="298" y="559"/>
                      <a:pt x="298" y="559"/>
                      <a:pt x="298" y="559"/>
                    </a:cubicBezTo>
                    <a:cubicBezTo>
                      <a:pt x="179" y="550"/>
                      <a:pt x="83" y="454"/>
                      <a:pt x="74" y="335"/>
                    </a:cubicBezTo>
                    <a:cubicBezTo>
                      <a:pt x="101" y="335"/>
                      <a:pt x="101" y="335"/>
                      <a:pt x="101" y="335"/>
                    </a:cubicBezTo>
                    <a:cubicBezTo>
                      <a:pt x="111" y="335"/>
                      <a:pt x="119" y="327"/>
                      <a:pt x="119" y="317"/>
                    </a:cubicBezTo>
                    <a:cubicBezTo>
                      <a:pt x="119" y="307"/>
                      <a:pt x="111" y="299"/>
                      <a:pt x="101" y="299"/>
                    </a:cubicBezTo>
                    <a:cubicBezTo>
                      <a:pt x="75" y="299"/>
                      <a:pt x="75" y="299"/>
                      <a:pt x="75" y="299"/>
                    </a:cubicBezTo>
                    <a:cubicBezTo>
                      <a:pt x="84" y="180"/>
                      <a:pt x="179" y="85"/>
                      <a:pt x="298" y="76"/>
                    </a:cubicBezTo>
                    <a:cubicBezTo>
                      <a:pt x="298" y="102"/>
                      <a:pt x="298" y="102"/>
                      <a:pt x="298" y="102"/>
                    </a:cubicBezTo>
                    <a:cubicBezTo>
                      <a:pt x="298" y="112"/>
                      <a:pt x="306" y="120"/>
                      <a:pt x="316" y="120"/>
                    </a:cubicBezTo>
                    <a:cubicBezTo>
                      <a:pt x="326" y="120"/>
                      <a:pt x="334" y="112"/>
                      <a:pt x="334" y="102"/>
                    </a:cubicBezTo>
                    <a:cubicBezTo>
                      <a:pt x="334" y="76"/>
                      <a:pt x="334" y="76"/>
                      <a:pt x="334" y="76"/>
                    </a:cubicBezTo>
                    <a:cubicBezTo>
                      <a:pt x="453" y="85"/>
                      <a:pt x="549" y="180"/>
                      <a:pt x="558" y="299"/>
                    </a:cubicBezTo>
                    <a:cubicBezTo>
                      <a:pt x="531" y="299"/>
                      <a:pt x="531" y="299"/>
                      <a:pt x="531" y="299"/>
                    </a:cubicBezTo>
                    <a:cubicBezTo>
                      <a:pt x="521" y="299"/>
                      <a:pt x="513" y="307"/>
                      <a:pt x="513" y="317"/>
                    </a:cubicBezTo>
                    <a:cubicBezTo>
                      <a:pt x="513" y="327"/>
                      <a:pt x="521" y="335"/>
                      <a:pt x="531" y="335"/>
                    </a:cubicBezTo>
                    <a:cubicBezTo>
                      <a:pt x="558" y="335"/>
                      <a:pt x="558" y="335"/>
                      <a:pt x="558" y="335"/>
                    </a:cubicBezTo>
                    <a:cubicBezTo>
                      <a:pt x="549" y="454"/>
                      <a:pt x="453" y="550"/>
                      <a:pt x="334" y="5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FFFFFF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1" name="Freeform 6"/>
              <p:cNvSpPr>
                <a:spLocks/>
              </p:cNvSpPr>
              <p:nvPr/>
            </p:nvSpPr>
            <p:spPr bwMode="auto">
              <a:xfrm>
                <a:off x="3431033" y="3617794"/>
                <a:ext cx="62503" cy="96053"/>
              </a:xfrm>
              <a:custGeom>
                <a:avLst/>
                <a:gdLst>
                  <a:gd name="T0" fmla="*/ 73 w 147"/>
                  <a:gd name="T1" fmla="*/ 0 h 225"/>
                  <a:gd name="T2" fmla="*/ 62 w 147"/>
                  <a:gd name="T3" fmla="*/ 25 h 225"/>
                  <a:gd name="T4" fmla="*/ 25 w 147"/>
                  <a:gd name="T5" fmla="*/ 9 h 225"/>
                  <a:gd name="T6" fmla="*/ 11 w 147"/>
                  <a:gd name="T7" fmla="*/ 15 h 225"/>
                  <a:gd name="T8" fmla="*/ 18 w 147"/>
                  <a:gd name="T9" fmla="*/ 29 h 225"/>
                  <a:gd name="T10" fmla="*/ 56 w 147"/>
                  <a:gd name="T11" fmla="*/ 46 h 225"/>
                  <a:gd name="T12" fmla="*/ 52 w 147"/>
                  <a:gd name="T13" fmla="*/ 79 h 225"/>
                  <a:gd name="T14" fmla="*/ 11 w 147"/>
                  <a:gd name="T15" fmla="*/ 79 h 225"/>
                  <a:gd name="T16" fmla="*/ 0 w 147"/>
                  <a:gd name="T17" fmla="*/ 90 h 225"/>
                  <a:gd name="T18" fmla="*/ 11 w 147"/>
                  <a:gd name="T19" fmla="*/ 101 h 225"/>
                  <a:gd name="T20" fmla="*/ 52 w 147"/>
                  <a:gd name="T21" fmla="*/ 101 h 225"/>
                  <a:gd name="T22" fmla="*/ 56 w 147"/>
                  <a:gd name="T23" fmla="*/ 134 h 225"/>
                  <a:gd name="T24" fmla="*/ 18 w 147"/>
                  <a:gd name="T25" fmla="*/ 151 h 225"/>
                  <a:gd name="T26" fmla="*/ 11 w 147"/>
                  <a:gd name="T27" fmla="*/ 166 h 225"/>
                  <a:gd name="T28" fmla="*/ 22 w 147"/>
                  <a:gd name="T29" fmla="*/ 173 h 225"/>
                  <a:gd name="T30" fmla="*/ 25 w 147"/>
                  <a:gd name="T31" fmla="*/ 172 h 225"/>
                  <a:gd name="T32" fmla="*/ 64 w 147"/>
                  <a:gd name="T33" fmla="*/ 155 h 225"/>
                  <a:gd name="T34" fmla="*/ 147 w 147"/>
                  <a:gd name="T35" fmla="*/ 225 h 225"/>
                  <a:gd name="T36" fmla="*/ 147 w 147"/>
                  <a:gd name="T37" fmla="*/ 20 h 225"/>
                  <a:gd name="T38" fmla="*/ 78 w 147"/>
                  <a:gd name="T39" fmla="*/ 4 h 225"/>
                  <a:gd name="T40" fmla="*/ 73 w 147"/>
                  <a:gd name="T41" fmla="*/ 0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47" h="225">
                    <a:moveTo>
                      <a:pt x="73" y="0"/>
                    </a:moveTo>
                    <a:cubicBezTo>
                      <a:pt x="68" y="8"/>
                      <a:pt x="65" y="16"/>
                      <a:pt x="62" y="25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0" y="7"/>
                      <a:pt x="13" y="9"/>
                      <a:pt x="11" y="15"/>
                    </a:cubicBezTo>
                    <a:cubicBezTo>
                      <a:pt x="9" y="20"/>
                      <a:pt x="12" y="27"/>
                      <a:pt x="18" y="29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4" y="57"/>
                      <a:pt x="52" y="68"/>
                      <a:pt x="52" y="79"/>
                    </a:cubicBezTo>
                    <a:cubicBezTo>
                      <a:pt x="11" y="79"/>
                      <a:pt x="11" y="79"/>
                      <a:pt x="11" y="79"/>
                    </a:cubicBezTo>
                    <a:cubicBezTo>
                      <a:pt x="4" y="79"/>
                      <a:pt x="0" y="83"/>
                      <a:pt x="0" y="90"/>
                    </a:cubicBezTo>
                    <a:cubicBezTo>
                      <a:pt x="0" y="95"/>
                      <a:pt x="4" y="101"/>
                      <a:pt x="11" y="101"/>
                    </a:cubicBezTo>
                    <a:cubicBezTo>
                      <a:pt x="52" y="101"/>
                      <a:pt x="52" y="101"/>
                      <a:pt x="52" y="101"/>
                    </a:cubicBezTo>
                    <a:cubicBezTo>
                      <a:pt x="52" y="113"/>
                      <a:pt x="54" y="124"/>
                      <a:pt x="56" y="134"/>
                    </a:cubicBezTo>
                    <a:cubicBezTo>
                      <a:pt x="18" y="151"/>
                      <a:pt x="18" y="151"/>
                      <a:pt x="18" y="151"/>
                    </a:cubicBezTo>
                    <a:cubicBezTo>
                      <a:pt x="11" y="154"/>
                      <a:pt x="9" y="161"/>
                      <a:pt x="11" y="166"/>
                    </a:cubicBezTo>
                    <a:cubicBezTo>
                      <a:pt x="13" y="169"/>
                      <a:pt x="18" y="173"/>
                      <a:pt x="22" y="173"/>
                    </a:cubicBezTo>
                    <a:cubicBezTo>
                      <a:pt x="23" y="173"/>
                      <a:pt x="24" y="172"/>
                      <a:pt x="25" y="172"/>
                    </a:cubicBezTo>
                    <a:cubicBezTo>
                      <a:pt x="64" y="155"/>
                      <a:pt x="64" y="155"/>
                      <a:pt x="64" y="155"/>
                    </a:cubicBezTo>
                    <a:cubicBezTo>
                      <a:pt x="79" y="190"/>
                      <a:pt x="109" y="211"/>
                      <a:pt x="147" y="225"/>
                    </a:cubicBezTo>
                    <a:cubicBezTo>
                      <a:pt x="147" y="20"/>
                      <a:pt x="147" y="20"/>
                      <a:pt x="147" y="20"/>
                    </a:cubicBezTo>
                    <a:cubicBezTo>
                      <a:pt x="120" y="20"/>
                      <a:pt x="97" y="13"/>
                      <a:pt x="78" y="4"/>
                    </a:cubicBezTo>
                    <a:cubicBezTo>
                      <a:pt x="77" y="2"/>
                      <a:pt x="75" y="1"/>
                      <a:pt x="7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FFFFFF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2" name="Freeform 7"/>
              <p:cNvSpPr>
                <a:spLocks/>
              </p:cNvSpPr>
              <p:nvPr/>
            </p:nvSpPr>
            <p:spPr bwMode="auto">
              <a:xfrm>
                <a:off x="3499051" y="3617794"/>
                <a:ext cx="62273" cy="96053"/>
              </a:xfrm>
              <a:custGeom>
                <a:avLst/>
                <a:gdLst>
                  <a:gd name="T0" fmla="*/ 134 w 146"/>
                  <a:gd name="T1" fmla="*/ 101 h 225"/>
                  <a:gd name="T2" fmla="*/ 146 w 146"/>
                  <a:gd name="T3" fmla="*/ 90 h 225"/>
                  <a:gd name="T4" fmla="*/ 135 w 146"/>
                  <a:gd name="T5" fmla="*/ 79 h 225"/>
                  <a:gd name="T6" fmla="*/ 95 w 146"/>
                  <a:gd name="T7" fmla="*/ 79 h 225"/>
                  <a:gd name="T8" fmla="*/ 91 w 146"/>
                  <a:gd name="T9" fmla="*/ 46 h 225"/>
                  <a:gd name="T10" fmla="*/ 129 w 146"/>
                  <a:gd name="T11" fmla="*/ 29 h 225"/>
                  <a:gd name="T12" fmla="*/ 134 w 146"/>
                  <a:gd name="T13" fmla="*/ 15 h 225"/>
                  <a:gd name="T14" fmla="*/ 120 w 146"/>
                  <a:gd name="T15" fmla="*/ 9 h 225"/>
                  <a:gd name="T16" fmla="*/ 84 w 146"/>
                  <a:gd name="T17" fmla="*/ 23 h 225"/>
                  <a:gd name="T18" fmla="*/ 74 w 146"/>
                  <a:gd name="T19" fmla="*/ 0 h 225"/>
                  <a:gd name="T20" fmla="*/ 69 w 146"/>
                  <a:gd name="T21" fmla="*/ 4 h 225"/>
                  <a:gd name="T22" fmla="*/ 0 w 146"/>
                  <a:gd name="T23" fmla="*/ 20 h 225"/>
                  <a:gd name="T24" fmla="*/ 0 w 146"/>
                  <a:gd name="T25" fmla="*/ 225 h 225"/>
                  <a:gd name="T26" fmla="*/ 83 w 146"/>
                  <a:gd name="T27" fmla="*/ 156 h 225"/>
                  <a:gd name="T28" fmla="*/ 120 w 146"/>
                  <a:gd name="T29" fmla="*/ 172 h 225"/>
                  <a:gd name="T30" fmla="*/ 124 w 146"/>
                  <a:gd name="T31" fmla="*/ 173 h 225"/>
                  <a:gd name="T32" fmla="*/ 134 w 146"/>
                  <a:gd name="T33" fmla="*/ 166 h 225"/>
                  <a:gd name="T34" fmla="*/ 129 w 146"/>
                  <a:gd name="T35" fmla="*/ 151 h 225"/>
                  <a:gd name="T36" fmla="*/ 90 w 146"/>
                  <a:gd name="T37" fmla="*/ 135 h 225"/>
                  <a:gd name="T38" fmla="*/ 95 w 146"/>
                  <a:gd name="T39" fmla="*/ 101 h 225"/>
                  <a:gd name="T40" fmla="*/ 134 w 146"/>
                  <a:gd name="T41" fmla="*/ 101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46" h="225">
                    <a:moveTo>
                      <a:pt x="134" y="101"/>
                    </a:moveTo>
                    <a:cubicBezTo>
                      <a:pt x="141" y="101"/>
                      <a:pt x="145" y="95"/>
                      <a:pt x="146" y="90"/>
                    </a:cubicBezTo>
                    <a:cubicBezTo>
                      <a:pt x="146" y="83"/>
                      <a:pt x="141" y="79"/>
                      <a:pt x="135" y="79"/>
                    </a:cubicBezTo>
                    <a:cubicBezTo>
                      <a:pt x="95" y="79"/>
                      <a:pt x="95" y="79"/>
                      <a:pt x="95" y="79"/>
                    </a:cubicBezTo>
                    <a:cubicBezTo>
                      <a:pt x="95" y="67"/>
                      <a:pt x="93" y="56"/>
                      <a:pt x="91" y="46"/>
                    </a:cubicBezTo>
                    <a:cubicBezTo>
                      <a:pt x="129" y="29"/>
                      <a:pt x="129" y="29"/>
                      <a:pt x="129" y="29"/>
                    </a:cubicBezTo>
                    <a:cubicBezTo>
                      <a:pt x="134" y="27"/>
                      <a:pt x="136" y="20"/>
                      <a:pt x="134" y="15"/>
                    </a:cubicBezTo>
                    <a:cubicBezTo>
                      <a:pt x="132" y="9"/>
                      <a:pt x="125" y="7"/>
                      <a:pt x="120" y="9"/>
                    </a:cubicBezTo>
                    <a:cubicBezTo>
                      <a:pt x="84" y="23"/>
                      <a:pt x="84" y="23"/>
                      <a:pt x="84" y="23"/>
                    </a:cubicBezTo>
                    <a:cubicBezTo>
                      <a:pt x="82" y="16"/>
                      <a:pt x="79" y="8"/>
                      <a:pt x="74" y="0"/>
                    </a:cubicBezTo>
                    <a:cubicBezTo>
                      <a:pt x="72" y="1"/>
                      <a:pt x="70" y="2"/>
                      <a:pt x="69" y="4"/>
                    </a:cubicBezTo>
                    <a:cubicBezTo>
                      <a:pt x="50" y="13"/>
                      <a:pt x="27" y="20"/>
                      <a:pt x="0" y="20"/>
                    </a:cubicBezTo>
                    <a:cubicBezTo>
                      <a:pt x="0" y="225"/>
                      <a:pt x="0" y="225"/>
                      <a:pt x="0" y="225"/>
                    </a:cubicBezTo>
                    <a:cubicBezTo>
                      <a:pt x="37" y="213"/>
                      <a:pt x="67" y="190"/>
                      <a:pt x="83" y="156"/>
                    </a:cubicBezTo>
                    <a:cubicBezTo>
                      <a:pt x="120" y="172"/>
                      <a:pt x="120" y="172"/>
                      <a:pt x="120" y="172"/>
                    </a:cubicBezTo>
                    <a:cubicBezTo>
                      <a:pt x="121" y="172"/>
                      <a:pt x="123" y="173"/>
                      <a:pt x="124" y="173"/>
                    </a:cubicBezTo>
                    <a:cubicBezTo>
                      <a:pt x="129" y="173"/>
                      <a:pt x="133" y="169"/>
                      <a:pt x="134" y="166"/>
                    </a:cubicBezTo>
                    <a:cubicBezTo>
                      <a:pt x="136" y="161"/>
                      <a:pt x="134" y="154"/>
                      <a:pt x="129" y="151"/>
                    </a:cubicBezTo>
                    <a:cubicBezTo>
                      <a:pt x="90" y="135"/>
                      <a:pt x="90" y="135"/>
                      <a:pt x="90" y="135"/>
                    </a:cubicBezTo>
                    <a:cubicBezTo>
                      <a:pt x="93" y="124"/>
                      <a:pt x="95" y="113"/>
                      <a:pt x="95" y="101"/>
                    </a:cubicBezTo>
                    <a:lnTo>
                      <a:pt x="134" y="10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FFFFFF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3" name="Freeform 8"/>
              <p:cNvSpPr>
                <a:spLocks/>
              </p:cNvSpPr>
              <p:nvPr/>
            </p:nvSpPr>
            <p:spPr bwMode="auto">
              <a:xfrm>
                <a:off x="3451484" y="3572296"/>
                <a:ext cx="88929" cy="48946"/>
              </a:xfrm>
              <a:custGeom>
                <a:avLst/>
                <a:gdLst>
                  <a:gd name="T0" fmla="*/ 179 w 209"/>
                  <a:gd name="T1" fmla="*/ 96 h 115"/>
                  <a:gd name="T2" fmla="*/ 156 w 209"/>
                  <a:gd name="T3" fmla="*/ 72 h 115"/>
                  <a:gd name="T4" fmla="*/ 185 w 209"/>
                  <a:gd name="T5" fmla="*/ 39 h 115"/>
                  <a:gd name="T6" fmla="*/ 189 w 209"/>
                  <a:gd name="T7" fmla="*/ 39 h 115"/>
                  <a:gd name="T8" fmla="*/ 209 w 209"/>
                  <a:gd name="T9" fmla="*/ 19 h 115"/>
                  <a:gd name="T10" fmla="*/ 189 w 209"/>
                  <a:gd name="T11" fmla="*/ 0 h 115"/>
                  <a:gd name="T12" fmla="*/ 170 w 209"/>
                  <a:gd name="T13" fmla="*/ 19 h 115"/>
                  <a:gd name="T14" fmla="*/ 172 w 209"/>
                  <a:gd name="T15" fmla="*/ 28 h 115"/>
                  <a:gd name="T16" fmla="*/ 142 w 209"/>
                  <a:gd name="T17" fmla="*/ 62 h 115"/>
                  <a:gd name="T18" fmla="*/ 106 w 209"/>
                  <a:gd name="T19" fmla="*/ 53 h 115"/>
                  <a:gd name="T20" fmla="*/ 67 w 209"/>
                  <a:gd name="T21" fmla="*/ 63 h 115"/>
                  <a:gd name="T22" fmla="*/ 37 w 209"/>
                  <a:gd name="T23" fmla="*/ 28 h 115"/>
                  <a:gd name="T24" fmla="*/ 39 w 209"/>
                  <a:gd name="T25" fmla="*/ 19 h 115"/>
                  <a:gd name="T26" fmla="*/ 19 w 209"/>
                  <a:gd name="T27" fmla="*/ 0 h 115"/>
                  <a:gd name="T28" fmla="*/ 0 w 209"/>
                  <a:gd name="T29" fmla="*/ 19 h 115"/>
                  <a:gd name="T30" fmla="*/ 19 w 209"/>
                  <a:gd name="T31" fmla="*/ 39 h 115"/>
                  <a:gd name="T32" fmla="*/ 24 w 209"/>
                  <a:gd name="T33" fmla="*/ 39 h 115"/>
                  <a:gd name="T34" fmla="*/ 52 w 209"/>
                  <a:gd name="T35" fmla="*/ 73 h 115"/>
                  <a:gd name="T36" fmla="*/ 33 w 209"/>
                  <a:gd name="T37" fmla="*/ 96 h 115"/>
                  <a:gd name="T38" fmla="*/ 37 w 209"/>
                  <a:gd name="T39" fmla="*/ 99 h 115"/>
                  <a:gd name="T40" fmla="*/ 106 w 209"/>
                  <a:gd name="T41" fmla="*/ 115 h 115"/>
                  <a:gd name="T42" fmla="*/ 174 w 209"/>
                  <a:gd name="T43" fmla="*/ 99 h 115"/>
                  <a:gd name="T44" fmla="*/ 179 w 209"/>
                  <a:gd name="T45" fmla="*/ 96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09" h="115">
                    <a:moveTo>
                      <a:pt x="179" y="96"/>
                    </a:moveTo>
                    <a:cubicBezTo>
                      <a:pt x="173" y="86"/>
                      <a:pt x="165" y="78"/>
                      <a:pt x="156" y="72"/>
                    </a:cubicBezTo>
                    <a:cubicBezTo>
                      <a:pt x="177" y="49"/>
                      <a:pt x="183" y="41"/>
                      <a:pt x="185" y="39"/>
                    </a:cubicBezTo>
                    <a:cubicBezTo>
                      <a:pt x="187" y="39"/>
                      <a:pt x="188" y="39"/>
                      <a:pt x="189" y="39"/>
                    </a:cubicBezTo>
                    <a:cubicBezTo>
                      <a:pt x="200" y="39"/>
                      <a:pt x="209" y="30"/>
                      <a:pt x="209" y="19"/>
                    </a:cubicBezTo>
                    <a:cubicBezTo>
                      <a:pt x="209" y="9"/>
                      <a:pt x="200" y="0"/>
                      <a:pt x="189" y="0"/>
                    </a:cubicBezTo>
                    <a:cubicBezTo>
                      <a:pt x="178" y="0"/>
                      <a:pt x="170" y="9"/>
                      <a:pt x="170" y="19"/>
                    </a:cubicBezTo>
                    <a:cubicBezTo>
                      <a:pt x="170" y="23"/>
                      <a:pt x="170" y="25"/>
                      <a:pt x="172" y="28"/>
                    </a:cubicBezTo>
                    <a:cubicBezTo>
                      <a:pt x="142" y="62"/>
                      <a:pt x="142" y="62"/>
                      <a:pt x="142" y="62"/>
                    </a:cubicBezTo>
                    <a:cubicBezTo>
                      <a:pt x="131" y="56"/>
                      <a:pt x="119" y="53"/>
                      <a:pt x="106" y="53"/>
                    </a:cubicBezTo>
                    <a:cubicBezTo>
                      <a:pt x="92" y="53"/>
                      <a:pt x="79" y="56"/>
                      <a:pt x="67" y="63"/>
                    </a:cubicBezTo>
                    <a:cubicBezTo>
                      <a:pt x="45" y="38"/>
                      <a:pt x="38" y="30"/>
                      <a:pt x="37" y="28"/>
                    </a:cubicBezTo>
                    <a:cubicBezTo>
                      <a:pt x="38" y="26"/>
                      <a:pt x="39" y="23"/>
                      <a:pt x="39" y="19"/>
                    </a:cubicBezTo>
                    <a:cubicBezTo>
                      <a:pt x="39" y="9"/>
                      <a:pt x="30" y="0"/>
                      <a:pt x="19" y="0"/>
                    </a:cubicBezTo>
                    <a:cubicBezTo>
                      <a:pt x="8" y="0"/>
                      <a:pt x="0" y="9"/>
                      <a:pt x="0" y="19"/>
                    </a:cubicBezTo>
                    <a:cubicBezTo>
                      <a:pt x="0" y="30"/>
                      <a:pt x="8" y="39"/>
                      <a:pt x="19" y="39"/>
                    </a:cubicBezTo>
                    <a:cubicBezTo>
                      <a:pt x="21" y="39"/>
                      <a:pt x="22" y="39"/>
                      <a:pt x="24" y="39"/>
                    </a:cubicBezTo>
                    <a:cubicBezTo>
                      <a:pt x="52" y="73"/>
                      <a:pt x="52" y="73"/>
                      <a:pt x="52" y="73"/>
                    </a:cubicBezTo>
                    <a:cubicBezTo>
                      <a:pt x="45" y="80"/>
                      <a:pt x="38" y="87"/>
                      <a:pt x="33" y="96"/>
                    </a:cubicBezTo>
                    <a:cubicBezTo>
                      <a:pt x="34" y="97"/>
                      <a:pt x="35" y="98"/>
                      <a:pt x="37" y="99"/>
                    </a:cubicBezTo>
                    <a:cubicBezTo>
                      <a:pt x="55" y="108"/>
                      <a:pt x="79" y="115"/>
                      <a:pt x="106" y="115"/>
                    </a:cubicBezTo>
                    <a:cubicBezTo>
                      <a:pt x="132" y="115"/>
                      <a:pt x="156" y="108"/>
                      <a:pt x="174" y="99"/>
                    </a:cubicBezTo>
                    <a:cubicBezTo>
                      <a:pt x="176" y="98"/>
                      <a:pt x="177" y="97"/>
                      <a:pt x="179" y="9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FFFFFF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4" name="Group 13"/>
            <p:cNvGrpSpPr>
              <a:grpSpLocks noChangeAspect="1"/>
            </p:cNvGrpSpPr>
            <p:nvPr userDrawn="1"/>
          </p:nvGrpSpPr>
          <p:grpSpPr>
            <a:xfrm>
              <a:off x="2948854" y="2746288"/>
              <a:ext cx="115313" cy="137160"/>
              <a:chOff x="4671822" y="3201387"/>
              <a:chExt cx="240140" cy="285637"/>
            </a:xfrm>
            <a:solidFill>
              <a:schemeClr val="bg1">
                <a:lumMod val="85000"/>
                <a:alpha val="30000"/>
              </a:schemeClr>
            </a:solidFill>
          </p:grpSpPr>
          <p:sp>
            <p:nvSpPr>
              <p:cNvPr id="15" name="Freeform 15"/>
              <p:cNvSpPr>
                <a:spLocks noChangeAspect="1" noEditPoints="1"/>
              </p:cNvSpPr>
              <p:nvPr/>
            </p:nvSpPr>
            <p:spPr bwMode="auto">
              <a:xfrm>
                <a:off x="4696295" y="3236256"/>
                <a:ext cx="190958" cy="223061"/>
              </a:xfrm>
              <a:custGeom>
                <a:avLst/>
                <a:gdLst/>
                <a:ahLst/>
                <a:cxnLst>
                  <a:cxn ang="0">
                    <a:pos x="321" y="59"/>
                  </a:cxn>
                  <a:cxn ang="0">
                    <a:pos x="176" y="0"/>
                  </a:cxn>
                  <a:cxn ang="0">
                    <a:pos x="31" y="59"/>
                  </a:cxn>
                  <a:cxn ang="0">
                    <a:pos x="0" y="57"/>
                  </a:cxn>
                  <a:cxn ang="0">
                    <a:pos x="5" y="92"/>
                  </a:cxn>
                  <a:cxn ang="0">
                    <a:pos x="24" y="199"/>
                  </a:cxn>
                  <a:cxn ang="0">
                    <a:pos x="81" y="328"/>
                  </a:cxn>
                  <a:cxn ang="0">
                    <a:pos x="130" y="239"/>
                  </a:cxn>
                  <a:cxn ang="0">
                    <a:pos x="139" y="244"/>
                  </a:cxn>
                  <a:cxn ang="0">
                    <a:pos x="150" y="223"/>
                  </a:cxn>
                  <a:cxn ang="0">
                    <a:pos x="126" y="115"/>
                  </a:cxn>
                  <a:cxn ang="0">
                    <a:pos x="241" y="80"/>
                  </a:cxn>
                  <a:cxn ang="0">
                    <a:pos x="276" y="195"/>
                  </a:cxn>
                  <a:cxn ang="0">
                    <a:pos x="174" y="236"/>
                  </a:cxn>
                  <a:cxn ang="0">
                    <a:pos x="162" y="257"/>
                  </a:cxn>
                  <a:cxn ang="0">
                    <a:pos x="172" y="263"/>
                  </a:cxn>
                  <a:cxn ang="0">
                    <a:pos x="116" y="368"/>
                  </a:cxn>
                  <a:cxn ang="0">
                    <a:pos x="176" y="409"/>
                  </a:cxn>
                  <a:cxn ang="0">
                    <a:pos x="348" y="92"/>
                  </a:cxn>
                  <a:cxn ang="0">
                    <a:pos x="350" y="57"/>
                  </a:cxn>
                  <a:cxn ang="0">
                    <a:pos x="321" y="59"/>
                  </a:cxn>
                  <a:cxn ang="0">
                    <a:pos x="255" y="184"/>
                  </a:cxn>
                  <a:cxn ang="0">
                    <a:pos x="229" y="102"/>
                  </a:cxn>
                  <a:cxn ang="0">
                    <a:pos x="148" y="127"/>
                  </a:cxn>
                  <a:cxn ang="0">
                    <a:pos x="172" y="209"/>
                  </a:cxn>
                  <a:cxn ang="0">
                    <a:pos x="255" y="184"/>
                  </a:cxn>
                  <a:cxn ang="0">
                    <a:pos x="158" y="149"/>
                  </a:cxn>
                  <a:cxn ang="0">
                    <a:pos x="158" y="149"/>
                  </a:cxn>
                  <a:cxn ang="0">
                    <a:pos x="153" y="153"/>
                  </a:cxn>
                  <a:cxn ang="0">
                    <a:pos x="149" y="147"/>
                  </a:cxn>
                  <a:cxn ang="0">
                    <a:pos x="217" y="106"/>
                  </a:cxn>
                  <a:cxn ang="0">
                    <a:pos x="220" y="111"/>
                  </a:cxn>
                  <a:cxn ang="0">
                    <a:pos x="216" y="114"/>
                  </a:cxn>
                  <a:cxn ang="0">
                    <a:pos x="158" y="149"/>
                  </a:cxn>
                </a:cxnLst>
                <a:rect l="0" t="0" r="r" b="b"/>
                <a:pathLst>
                  <a:path w="350" h="409">
                    <a:moveTo>
                      <a:pt x="321" y="59"/>
                    </a:moveTo>
                    <a:cubicBezTo>
                      <a:pt x="238" y="59"/>
                      <a:pt x="194" y="19"/>
                      <a:pt x="176" y="0"/>
                    </a:cubicBezTo>
                    <a:cubicBezTo>
                      <a:pt x="159" y="19"/>
                      <a:pt x="112" y="59"/>
                      <a:pt x="31" y="59"/>
                    </a:cubicBezTo>
                    <a:cubicBezTo>
                      <a:pt x="20" y="59"/>
                      <a:pt x="11" y="57"/>
                      <a:pt x="0" y="57"/>
                    </a:cubicBezTo>
                    <a:cubicBezTo>
                      <a:pt x="2" y="65"/>
                      <a:pt x="2" y="76"/>
                      <a:pt x="5" y="92"/>
                    </a:cubicBezTo>
                    <a:cubicBezTo>
                      <a:pt x="7" y="120"/>
                      <a:pt x="11" y="159"/>
                      <a:pt x="24" y="199"/>
                    </a:cubicBezTo>
                    <a:cubicBezTo>
                      <a:pt x="36" y="243"/>
                      <a:pt x="54" y="289"/>
                      <a:pt x="81" y="328"/>
                    </a:cubicBezTo>
                    <a:cubicBezTo>
                      <a:pt x="85" y="321"/>
                      <a:pt x="96" y="300"/>
                      <a:pt x="130" y="239"/>
                    </a:cubicBezTo>
                    <a:cubicBezTo>
                      <a:pt x="139" y="244"/>
                      <a:pt x="139" y="244"/>
                      <a:pt x="139" y="244"/>
                    </a:cubicBezTo>
                    <a:cubicBezTo>
                      <a:pt x="150" y="223"/>
                      <a:pt x="150" y="223"/>
                      <a:pt x="150" y="223"/>
                    </a:cubicBezTo>
                    <a:cubicBezTo>
                      <a:pt x="117" y="199"/>
                      <a:pt x="106" y="153"/>
                      <a:pt x="126" y="115"/>
                    </a:cubicBezTo>
                    <a:cubicBezTo>
                      <a:pt x="148" y="74"/>
                      <a:pt x="199" y="58"/>
                      <a:pt x="241" y="80"/>
                    </a:cubicBezTo>
                    <a:cubicBezTo>
                      <a:pt x="282" y="102"/>
                      <a:pt x="298" y="154"/>
                      <a:pt x="276" y="195"/>
                    </a:cubicBezTo>
                    <a:cubicBezTo>
                      <a:pt x="256" y="232"/>
                      <a:pt x="213" y="248"/>
                      <a:pt x="174" y="236"/>
                    </a:cubicBezTo>
                    <a:cubicBezTo>
                      <a:pt x="162" y="257"/>
                      <a:pt x="162" y="257"/>
                      <a:pt x="162" y="257"/>
                    </a:cubicBezTo>
                    <a:cubicBezTo>
                      <a:pt x="172" y="263"/>
                      <a:pt x="172" y="263"/>
                      <a:pt x="172" y="263"/>
                    </a:cubicBezTo>
                    <a:cubicBezTo>
                      <a:pt x="172" y="263"/>
                      <a:pt x="163" y="281"/>
                      <a:pt x="116" y="368"/>
                    </a:cubicBezTo>
                    <a:cubicBezTo>
                      <a:pt x="133" y="384"/>
                      <a:pt x="153" y="398"/>
                      <a:pt x="176" y="409"/>
                    </a:cubicBezTo>
                    <a:cubicBezTo>
                      <a:pt x="304" y="350"/>
                      <a:pt x="339" y="177"/>
                      <a:pt x="348" y="92"/>
                    </a:cubicBezTo>
                    <a:cubicBezTo>
                      <a:pt x="350" y="76"/>
                      <a:pt x="350" y="65"/>
                      <a:pt x="350" y="57"/>
                    </a:cubicBezTo>
                    <a:cubicBezTo>
                      <a:pt x="339" y="57"/>
                      <a:pt x="330" y="59"/>
                      <a:pt x="321" y="59"/>
                    </a:cubicBezTo>
                    <a:close/>
                    <a:moveTo>
                      <a:pt x="255" y="184"/>
                    </a:moveTo>
                    <a:cubicBezTo>
                      <a:pt x="270" y="155"/>
                      <a:pt x="259" y="118"/>
                      <a:pt x="229" y="102"/>
                    </a:cubicBezTo>
                    <a:cubicBezTo>
                      <a:pt x="200" y="87"/>
                      <a:pt x="163" y="98"/>
                      <a:pt x="148" y="127"/>
                    </a:cubicBezTo>
                    <a:cubicBezTo>
                      <a:pt x="132" y="156"/>
                      <a:pt x="143" y="194"/>
                      <a:pt x="172" y="209"/>
                    </a:cubicBezTo>
                    <a:cubicBezTo>
                      <a:pt x="202" y="225"/>
                      <a:pt x="239" y="213"/>
                      <a:pt x="255" y="184"/>
                    </a:cubicBezTo>
                    <a:close/>
                    <a:moveTo>
                      <a:pt x="158" y="149"/>
                    </a:moveTo>
                    <a:cubicBezTo>
                      <a:pt x="158" y="149"/>
                      <a:pt x="158" y="149"/>
                      <a:pt x="158" y="149"/>
                    </a:cubicBezTo>
                    <a:cubicBezTo>
                      <a:pt x="157" y="151"/>
                      <a:pt x="155" y="153"/>
                      <a:pt x="153" y="153"/>
                    </a:cubicBezTo>
                    <a:cubicBezTo>
                      <a:pt x="150" y="152"/>
                      <a:pt x="149" y="149"/>
                      <a:pt x="149" y="147"/>
                    </a:cubicBezTo>
                    <a:cubicBezTo>
                      <a:pt x="158" y="119"/>
                      <a:pt x="187" y="100"/>
                      <a:pt x="217" y="106"/>
                    </a:cubicBezTo>
                    <a:cubicBezTo>
                      <a:pt x="220" y="106"/>
                      <a:pt x="221" y="109"/>
                      <a:pt x="220" y="111"/>
                    </a:cubicBezTo>
                    <a:cubicBezTo>
                      <a:pt x="220" y="114"/>
                      <a:pt x="218" y="115"/>
                      <a:pt x="216" y="114"/>
                    </a:cubicBezTo>
                    <a:cubicBezTo>
                      <a:pt x="190" y="111"/>
                      <a:pt x="166" y="125"/>
                      <a:pt x="158" y="149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0096D6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6" name="Freeform 14"/>
              <p:cNvSpPr>
                <a:spLocks noChangeAspect="1" noEditPoints="1"/>
              </p:cNvSpPr>
              <p:nvPr/>
            </p:nvSpPr>
            <p:spPr bwMode="auto">
              <a:xfrm>
                <a:off x="4671822" y="3201387"/>
                <a:ext cx="240140" cy="285637"/>
              </a:xfrm>
              <a:custGeom>
                <a:avLst/>
                <a:gdLst/>
                <a:ahLst/>
                <a:cxnLst>
                  <a:cxn ang="0">
                    <a:pos x="428" y="77"/>
                  </a:cxn>
                  <a:cxn ang="0">
                    <a:pos x="385" y="79"/>
                  </a:cxn>
                  <a:cxn ang="0">
                    <a:pos x="264" y="47"/>
                  </a:cxn>
                  <a:cxn ang="0">
                    <a:pos x="239" y="25"/>
                  </a:cxn>
                  <a:cxn ang="0">
                    <a:pos x="231" y="18"/>
                  </a:cxn>
                  <a:cxn ang="0">
                    <a:pos x="231" y="15"/>
                  </a:cxn>
                  <a:cxn ang="0">
                    <a:pos x="221" y="0"/>
                  </a:cxn>
                  <a:cxn ang="0">
                    <a:pos x="212" y="15"/>
                  </a:cxn>
                  <a:cxn ang="0">
                    <a:pos x="209" y="18"/>
                  </a:cxn>
                  <a:cxn ang="0">
                    <a:pos x="57" y="79"/>
                  </a:cxn>
                  <a:cxn ang="0">
                    <a:pos x="13" y="77"/>
                  </a:cxn>
                  <a:cxn ang="0">
                    <a:pos x="0" y="77"/>
                  </a:cxn>
                  <a:cxn ang="0">
                    <a:pos x="0" y="89"/>
                  </a:cxn>
                  <a:cxn ang="0">
                    <a:pos x="28" y="269"/>
                  </a:cxn>
                  <a:cxn ang="0">
                    <a:pos x="217" y="524"/>
                  </a:cxn>
                  <a:cxn ang="0">
                    <a:pos x="221" y="524"/>
                  </a:cxn>
                  <a:cxn ang="0">
                    <a:pos x="226" y="524"/>
                  </a:cxn>
                  <a:cxn ang="0">
                    <a:pos x="415" y="269"/>
                  </a:cxn>
                  <a:cxn ang="0">
                    <a:pos x="440" y="89"/>
                  </a:cxn>
                  <a:cxn ang="0">
                    <a:pos x="440" y="77"/>
                  </a:cxn>
                  <a:cxn ang="0">
                    <a:pos x="428" y="77"/>
                  </a:cxn>
                  <a:cxn ang="0">
                    <a:pos x="415" y="141"/>
                  </a:cxn>
                  <a:cxn ang="0">
                    <a:pos x="221" y="499"/>
                  </a:cxn>
                  <a:cxn ang="0">
                    <a:pos x="50" y="262"/>
                  </a:cxn>
                  <a:cxn ang="0">
                    <a:pos x="28" y="141"/>
                  </a:cxn>
                  <a:cxn ang="0">
                    <a:pos x="23" y="101"/>
                  </a:cxn>
                  <a:cxn ang="0">
                    <a:pos x="57" y="104"/>
                  </a:cxn>
                  <a:cxn ang="0">
                    <a:pos x="221" y="37"/>
                  </a:cxn>
                  <a:cxn ang="0">
                    <a:pos x="385" y="104"/>
                  </a:cxn>
                  <a:cxn ang="0">
                    <a:pos x="418" y="101"/>
                  </a:cxn>
                  <a:cxn ang="0">
                    <a:pos x="415" y="141"/>
                  </a:cxn>
                </a:cxnLst>
                <a:rect l="0" t="0" r="r" b="b"/>
                <a:pathLst>
                  <a:path w="440" h="524">
                    <a:moveTo>
                      <a:pt x="428" y="77"/>
                    </a:moveTo>
                    <a:cubicBezTo>
                      <a:pt x="413" y="79"/>
                      <a:pt x="398" y="79"/>
                      <a:pt x="385" y="79"/>
                    </a:cubicBezTo>
                    <a:cubicBezTo>
                      <a:pt x="328" y="79"/>
                      <a:pt x="289" y="65"/>
                      <a:pt x="264" y="47"/>
                    </a:cubicBezTo>
                    <a:cubicBezTo>
                      <a:pt x="251" y="37"/>
                      <a:pt x="244" y="30"/>
                      <a:pt x="239" y="25"/>
                    </a:cubicBezTo>
                    <a:cubicBezTo>
                      <a:pt x="236" y="20"/>
                      <a:pt x="234" y="18"/>
                      <a:pt x="231" y="18"/>
                    </a:cubicBezTo>
                    <a:cubicBezTo>
                      <a:pt x="231" y="15"/>
                      <a:pt x="231" y="15"/>
                      <a:pt x="231" y="15"/>
                    </a:cubicBezTo>
                    <a:cubicBezTo>
                      <a:pt x="221" y="0"/>
                      <a:pt x="221" y="0"/>
                      <a:pt x="221" y="0"/>
                    </a:cubicBezTo>
                    <a:cubicBezTo>
                      <a:pt x="212" y="15"/>
                      <a:pt x="212" y="15"/>
                      <a:pt x="212" y="15"/>
                    </a:cubicBezTo>
                    <a:cubicBezTo>
                      <a:pt x="212" y="15"/>
                      <a:pt x="212" y="15"/>
                      <a:pt x="209" y="18"/>
                    </a:cubicBezTo>
                    <a:cubicBezTo>
                      <a:pt x="199" y="27"/>
                      <a:pt x="157" y="79"/>
                      <a:pt x="57" y="79"/>
                    </a:cubicBezTo>
                    <a:cubicBezTo>
                      <a:pt x="43" y="79"/>
                      <a:pt x="28" y="79"/>
                      <a:pt x="13" y="77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0" y="89"/>
                      <a:pt x="0" y="173"/>
                      <a:pt x="28" y="269"/>
                    </a:cubicBezTo>
                    <a:cubicBezTo>
                      <a:pt x="52" y="366"/>
                      <a:pt x="107" y="474"/>
                      <a:pt x="217" y="524"/>
                    </a:cubicBezTo>
                    <a:cubicBezTo>
                      <a:pt x="221" y="524"/>
                      <a:pt x="221" y="524"/>
                      <a:pt x="221" y="524"/>
                    </a:cubicBezTo>
                    <a:cubicBezTo>
                      <a:pt x="226" y="524"/>
                      <a:pt x="226" y="524"/>
                      <a:pt x="226" y="524"/>
                    </a:cubicBezTo>
                    <a:cubicBezTo>
                      <a:pt x="336" y="474"/>
                      <a:pt x="388" y="366"/>
                      <a:pt x="415" y="269"/>
                    </a:cubicBezTo>
                    <a:cubicBezTo>
                      <a:pt x="440" y="173"/>
                      <a:pt x="440" y="89"/>
                      <a:pt x="440" y="89"/>
                    </a:cubicBezTo>
                    <a:cubicBezTo>
                      <a:pt x="440" y="77"/>
                      <a:pt x="440" y="77"/>
                      <a:pt x="440" y="77"/>
                    </a:cubicBezTo>
                    <a:lnTo>
                      <a:pt x="428" y="77"/>
                    </a:lnTo>
                    <a:close/>
                    <a:moveTo>
                      <a:pt x="415" y="141"/>
                    </a:moveTo>
                    <a:cubicBezTo>
                      <a:pt x="405" y="237"/>
                      <a:pt x="365" y="432"/>
                      <a:pt x="221" y="499"/>
                    </a:cubicBezTo>
                    <a:cubicBezTo>
                      <a:pt x="125" y="455"/>
                      <a:pt x="75" y="356"/>
                      <a:pt x="50" y="262"/>
                    </a:cubicBezTo>
                    <a:cubicBezTo>
                      <a:pt x="35" y="218"/>
                      <a:pt x="30" y="173"/>
                      <a:pt x="28" y="141"/>
                    </a:cubicBezTo>
                    <a:cubicBezTo>
                      <a:pt x="25" y="124"/>
                      <a:pt x="25" y="111"/>
                      <a:pt x="23" y="101"/>
                    </a:cubicBezTo>
                    <a:cubicBezTo>
                      <a:pt x="35" y="101"/>
                      <a:pt x="45" y="104"/>
                      <a:pt x="57" y="104"/>
                    </a:cubicBezTo>
                    <a:cubicBezTo>
                      <a:pt x="149" y="104"/>
                      <a:pt x="202" y="60"/>
                      <a:pt x="221" y="37"/>
                    </a:cubicBezTo>
                    <a:cubicBezTo>
                      <a:pt x="241" y="60"/>
                      <a:pt x="291" y="104"/>
                      <a:pt x="385" y="104"/>
                    </a:cubicBezTo>
                    <a:cubicBezTo>
                      <a:pt x="395" y="104"/>
                      <a:pt x="405" y="101"/>
                      <a:pt x="418" y="101"/>
                    </a:cubicBezTo>
                    <a:cubicBezTo>
                      <a:pt x="418" y="111"/>
                      <a:pt x="418" y="124"/>
                      <a:pt x="415" y="14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0096D6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7" name="Group 16"/>
            <p:cNvGrpSpPr>
              <a:grpSpLocks noChangeAspect="1"/>
            </p:cNvGrpSpPr>
            <p:nvPr userDrawn="1"/>
          </p:nvGrpSpPr>
          <p:grpSpPr>
            <a:xfrm>
              <a:off x="1810436" y="4229702"/>
              <a:ext cx="137160" cy="159312"/>
              <a:chOff x="3863751" y="3161988"/>
              <a:chExt cx="265911" cy="308856"/>
            </a:xfrm>
            <a:solidFill>
              <a:schemeClr val="bg1">
                <a:lumMod val="85000"/>
                <a:alpha val="30000"/>
              </a:schemeClr>
            </a:solidFill>
          </p:grpSpPr>
          <p:sp>
            <p:nvSpPr>
              <p:cNvPr id="18" name="Freeform 28"/>
              <p:cNvSpPr>
                <a:spLocks noEditPoints="1"/>
              </p:cNvSpPr>
              <p:nvPr/>
            </p:nvSpPr>
            <p:spPr bwMode="auto">
              <a:xfrm>
                <a:off x="3874596" y="3215995"/>
                <a:ext cx="255066" cy="254849"/>
              </a:xfrm>
              <a:custGeom>
                <a:avLst/>
                <a:gdLst>
                  <a:gd name="T0" fmla="*/ 68 w 165"/>
                  <a:gd name="T1" fmla="*/ 7 h 165"/>
                  <a:gd name="T2" fmla="*/ 68 w 165"/>
                  <a:gd name="T3" fmla="*/ 20 h 165"/>
                  <a:gd name="T4" fmla="*/ 100 w 165"/>
                  <a:gd name="T5" fmla="*/ 37 h 165"/>
                  <a:gd name="T6" fmla="*/ 110 w 165"/>
                  <a:gd name="T7" fmla="*/ 49 h 165"/>
                  <a:gd name="T8" fmla="*/ 102 w 165"/>
                  <a:gd name="T9" fmla="*/ 78 h 165"/>
                  <a:gd name="T10" fmla="*/ 81 w 165"/>
                  <a:gd name="T11" fmla="*/ 115 h 165"/>
                  <a:gd name="T12" fmla="*/ 73 w 165"/>
                  <a:gd name="T13" fmla="*/ 72 h 165"/>
                  <a:gd name="T14" fmla="*/ 68 w 165"/>
                  <a:gd name="T15" fmla="*/ 66 h 165"/>
                  <a:gd name="T16" fmla="*/ 77 w 165"/>
                  <a:gd name="T17" fmla="*/ 97 h 165"/>
                  <a:gd name="T18" fmla="*/ 37 w 165"/>
                  <a:gd name="T19" fmla="*/ 99 h 165"/>
                  <a:gd name="T20" fmla="*/ 33 w 165"/>
                  <a:gd name="T21" fmla="*/ 69 h 165"/>
                  <a:gd name="T22" fmla="*/ 10 w 165"/>
                  <a:gd name="T23" fmla="*/ 69 h 165"/>
                  <a:gd name="T24" fmla="*/ 165 w 165"/>
                  <a:gd name="T25" fmla="*/ 82 h 165"/>
                  <a:gd name="T26" fmla="*/ 135 w 165"/>
                  <a:gd name="T27" fmla="*/ 56 h 165"/>
                  <a:gd name="T28" fmla="*/ 133 w 165"/>
                  <a:gd name="T29" fmla="*/ 54 h 165"/>
                  <a:gd name="T30" fmla="*/ 114 w 165"/>
                  <a:gd name="T31" fmla="*/ 14 h 165"/>
                  <a:gd name="T32" fmla="*/ 107 w 165"/>
                  <a:gd name="T33" fmla="*/ 41 h 165"/>
                  <a:gd name="T34" fmla="*/ 109 w 165"/>
                  <a:gd name="T35" fmla="*/ 31 h 165"/>
                  <a:gd name="T36" fmla="*/ 119 w 165"/>
                  <a:gd name="T37" fmla="*/ 33 h 165"/>
                  <a:gd name="T38" fmla="*/ 117 w 165"/>
                  <a:gd name="T39" fmla="*/ 43 h 165"/>
                  <a:gd name="T40" fmla="*/ 99 w 165"/>
                  <a:gd name="T41" fmla="*/ 65 h 165"/>
                  <a:gd name="T42" fmla="*/ 114 w 165"/>
                  <a:gd name="T43" fmla="*/ 60 h 165"/>
                  <a:gd name="T44" fmla="*/ 106 w 165"/>
                  <a:gd name="T45" fmla="*/ 72 h 165"/>
                  <a:gd name="T46" fmla="*/ 103 w 165"/>
                  <a:gd name="T47" fmla="*/ 78 h 165"/>
                  <a:gd name="T48" fmla="*/ 112 w 165"/>
                  <a:gd name="T49" fmla="*/ 50 h 165"/>
                  <a:gd name="T50" fmla="*/ 122 w 165"/>
                  <a:gd name="T51" fmla="*/ 79 h 165"/>
                  <a:gd name="T52" fmla="*/ 84 w 165"/>
                  <a:gd name="T53" fmla="*/ 118 h 165"/>
                  <a:gd name="T54" fmla="*/ 155 w 165"/>
                  <a:gd name="T55" fmla="*/ 80 h 165"/>
                  <a:gd name="T56" fmla="*/ 110 w 165"/>
                  <a:gd name="T57" fmla="*/ 115 h 165"/>
                  <a:gd name="T58" fmla="*/ 82 w 165"/>
                  <a:gd name="T59" fmla="*/ 120 h 165"/>
                  <a:gd name="T60" fmla="*/ 145 w 165"/>
                  <a:gd name="T61" fmla="*/ 90 h 165"/>
                  <a:gd name="T62" fmla="*/ 143 w 165"/>
                  <a:gd name="T63" fmla="*/ 88 h 165"/>
                  <a:gd name="T64" fmla="*/ 145 w 165"/>
                  <a:gd name="T65" fmla="*/ 86 h 165"/>
                  <a:gd name="T66" fmla="*/ 147 w 165"/>
                  <a:gd name="T67" fmla="*/ 88 h 165"/>
                  <a:gd name="T68" fmla="*/ 102 w 165"/>
                  <a:gd name="T69" fmla="*/ 134 h 165"/>
                  <a:gd name="T70" fmla="*/ 95 w 165"/>
                  <a:gd name="T71" fmla="*/ 126 h 165"/>
                  <a:gd name="T72" fmla="*/ 110 w 165"/>
                  <a:gd name="T73" fmla="*/ 121 h 165"/>
                  <a:gd name="T74" fmla="*/ 69 w 165"/>
                  <a:gd name="T75" fmla="*/ 91 h 165"/>
                  <a:gd name="T76" fmla="*/ 67 w 165"/>
                  <a:gd name="T77" fmla="*/ 80 h 165"/>
                  <a:gd name="T78" fmla="*/ 77 w 165"/>
                  <a:gd name="T79" fmla="*/ 78 h 165"/>
                  <a:gd name="T80" fmla="*/ 79 w 165"/>
                  <a:gd name="T81" fmla="*/ 89 h 165"/>
                  <a:gd name="T82" fmla="*/ 64 w 165"/>
                  <a:gd name="T83" fmla="*/ 115 h 165"/>
                  <a:gd name="T84" fmla="*/ 76 w 165"/>
                  <a:gd name="T85" fmla="*/ 115 h 165"/>
                  <a:gd name="T86" fmla="*/ 76 w 165"/>
                  <a:gd name="T87" fmla="*/ 127 h 165"/>
                  <a:gd name="T88" fmla="*/ 64 w 165"/>
                  <a:gd name="T89" fmla="*/ 127 h 165"/>
                  <a:gd name="T90" fmla="*/ 22 w 165"/>
                  <a:gd name="T91" fmla="*/ 127 h 165"/>
                  <a:gd name="T92" fmla="*/ 12 w 165"/>
                  <a:gd name="T93" fmla="*/ 92 h 165"/>
                  <a:gd name="T94" fmla="*/ 23 w 165"/>
                  <a:gd name="T95" fmla="*/ 99 h 165"/>
                  <a:gd name="T96" fmla="*/ 23 w 165"/>
                  <a:gd name="T97" fmla="*/ 96 h 165"/>
                  <a:gd name="T98" fmla="*/ 25 w 165"/>
                  <a:gd name="T99" fmla="*/ 99 h 165"/>
                  <a:gd name="T100" fmla="*/ 35 w 165"/>
                  <a:gd name="T101" fmla="*/ 100 h 165"/>
                  <a:gd name="T102" fmla="*/ 27 w 165"/>
                  <a:gd name="T103" fmla="*/ 132 h 165"/>
                  <a:gd name="T104" fmla="*/ 70 w 165"/>
                  <a:gd name="T105" fmla="*/ 134 h 165"/>
                  <a:gd name="T106" fmla="*/ 82 w 165"/>
                  <a:gd name="T107" fmla="*/ 157 h 165"/>
                  <a:gd name="T108" fmla="*/ 90 w 165"/>
                  <a:gd name="T109" fmla="*/ 124 h 165"/>
                  <a:gd name="T110" fmla="*/ 84 w 165"/>
                  <a:gd name="T111" fmla="*/ 157 h 165"/>
                  <a:gd name="T112" fmla="*/ 116 w 165"/>
                  <a:gd name="T113" fmla="*/ 125 h 165"/>
                  <a:gd name="T114" fmla="*/ 111 w 165"/>
                  <a:gd name="T115" fmla="*/ 117 h 165"/>
                  <a:gd name="T116" fmla="*/ 156 w 165"/>
                  <a:gd name="T117" fmla="*/ 82 h 165"/>
                  <a:gd name="T118" fmla="*/ 116 w 165"/>
                  <a:gd name="T119" fmla="*/ 123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5" h="165">
                    <a:moveTo>
                      <a:pt x="83" y="0"/>
                    </a:moveTo>
                    <a:cubicBezTo>
                      <a:pt x="75" y="0"/>
                      <a:pt x="68" y="0"/>
                      <a:pt x="62" y="2"/>
                    </a:cubicBezTo>
                    <a:cubicBezTo>
                      <a:pt x="63" y="2"/>
                      <a:pt x="63" y="2"/>
                      <a:pt x="63" y="2"/>
                    </a:cubicBezTo>
                    <a:cubicBezTo>
                      <a:pt x="66" y="2"/>
                      <a:pt x="68" y="4"/>
                      <a:pt x="68" y="7"/>
                    </a:cubicBezTo>
                    <a:cubicBezTo>
                      <a:pt x="68" y="8"/>
                      <a:pt x="68" y="8"/>
                      <a:pt x="68" y="8"/>
                    </a:cubicBezTo>
                    <a:cubicBezTo>
                      <a:pt x="72" y="7"/>
                      <a:pt x="76" y="7"/>
                      <a:pt x="81" y="7"/>
                    </a:cubicBezTo>
                    <a:cubicBezTo>
                      <a:pt x="77" y="9"/>
                      <a:pt x="73" y="13"/>
                      <a:pt x="68" y="17"/>
                    </a:cubicBezTo>
                    <a:cubicBezTo>
                      <a:pt x="68" y="20"/>
                      <a:pt x="68" y="20"/>
                      <a:pt x="68" y="20"/>
                    </a:cubicBezTo>
                    <a:cubicBezTo>
                      <a:pt x="75" y="14"/>
                      <a:pt x="81" y="9"/>
                      <a:pt x="84" y="7"/>
                    </a:cubicBezTo>
                    <a:cubicBezTo>
                      <a:pt x="94" y="7"/>
                      <a:pt x="104" y="9"/>
                      <a:pt x="112" y="13"/>
                    </a:cubicBezTo>
                    <a:cubicBezTo>
                      <a:pt x="113" y="16"/>
                      <a:pt x="113" y="20"/>
                      <a:pt x="113" y="24"/>
                    </a:cubicBezTo>
                    <a:cubicBezTo>
                      <a:pt x="106" y="24"/>
                      <a:pt x="100" y="30"/>
                      <a:pt x="100" y="37"/>
                    </a:cubicBezTo>
                    <a:cubicBezTo>
                      <a:pt x="89" y="33"/>
                      <a:pt x="78" y="31"/>
                      <a:pt x="68" y="31"/>
                    </a:cubicBezTo>
                    <a:cubicBezTo>
                      <a:pt x="68" y="33"/>
                      <a:pt x="68" y="33"/>
                      <a:pt x="68" y="33"/>
                    </a:cubicBezTo>
                    <a:cubicBezTo>
                      <a:pt x="78" y="33"/>
                      <a:pt x="89" y="35"/>
                      <a:pt x="100" y="39"/>
                    </a:cubicBezTo>
                    <a:cubicBezTo>
                      <a:pt x="101" y="44"/>
                      <a:pt x="105" y="48"/>
                      <a:pt x="110" y="49"/>
                    </a:cubicBezTo>
                    <a:cubicBezTo>
                      <a:pt x="110" y="51"/>
                      <a:pt x="109" y="52"/>
                      <a:pt x="109" y="53"/>
                    </a:cubicBezTo>
                    <a:cubicBezTo>
                      <a:pt x="108" y="53"/>
                      <a:pt x="108" y="53"/>
                      <a:pt x="107" y="53"/>
                    </a:cubicBezTo>
                    <a:cubicBezTo>
                      <a:pt x="99" y="53"/>
                      <a:pt x="94" y="59"/>
                      <a:pt x="94" y="66"/>
                    </a:cubicBezTo>
                    <a:cubicBezTo>
                      <a:pt x="94" y="71"/>
                      <a:pt x="97" y="76"/>
                      <a:pt x="102" y="78"/>
                    </a:cubicBezTo>
                    <a:cubicBezTo>
                      <a:pt x="99" y="86"/>
                      <a:pt x="90" y="103"/>
                      <a:pt x="86" y="110"/>
                    </a:cubicBezTo>
                    <a:cubicBezTo>
                      <a:pt x="85" y="112"/>
                      <a:pt x="84" y="115"/>
                      <a:pt x="82" y="117"/>
                    </a:cubicBezTo>
                    <a:cubicBezTo>
                      <a:pt x="82" y="117"/>
                      <a:pt x="82" y="117"/>
                      <a:pt x="82" y="117"/>
                    </a:cubicBezTo>
                    <a:cubicBezTo>
                      <a:pt x="82" y="116"/>
                      <a:pt x="81" y="115"/>
                      <a:pt x="81" y="115"/>
                    </a:cubicBezTo>
                    <a:cubicBezTo>
                      <a:pt x="81" y="108"/>
                      <a:pt x="80" y="102"/>
                      <a:pt x="79" y="97"/>
                    </a:cubicBezTo>
                    <a:cubicBezTo>
                      <a:pt x="79" y="97"/>
                      <a:pt x="79" y="97"/>
                      <a:pt x="79" y="96"/>
                    </a:cubicBezTo>
                    <a:cubicBezTo>
                      <a:pt x="83" y="94"/>
                      <a:pt x="86" y="90"/>
                      <a:pt x="86" y="85"/>
                    </a:cubicBezTo>
                    <a:cubicBezTo>
                      <a:pt x="86" y="77"/>
                      <a:pt x="81" y="72"/>
                      <a:pt x="73" y="72"/>
                    </a:cubicBezTo>
                    <a:cubicBezTo>
                      <a:pt x="73" y="72"/>
                      <a:pt x="73" y="72"/>
                      <a:pt x="72" y="72"/>
                    </a:cubicBezTo>
                    <a:cubicBezTo>
                      <a:pt x="71" y="68"/>
                      <a:pt x="69" y="65"/>
                      <a:pt x="68" y="62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8" y="65"/>
                      <a:pt x="68" y="65"/>
                      <a:pt x="68" y="66"/>
                    </a:cubicBezTo>
                    <a:cubicBezTo>
                      <a:pt x="69" y="68"/>
                      <a:pt x="69" y="70"/>
                      <a:pt x="70" y="72"/>
                    </a:cubicBezTo>
                    <a:cubicBezTo>
                      <a:pt x="65" y="73"/>
                      <a:pt x="60" y="78"/>
                      <a:pt x="60" y="85"/>
                    </a:cubicBezTo>
                    <a:cubicBezTo>
                      <a:pt x="60" y="92"/>
                      <a:pt x="66" y="98"/>
                      <a:pt x="73" y="98"/>
                    </a:cubicBezTo>
                    <a:cubicBezTo>
                      <a:pt x="75" y="98"/>
                      <a:pt x="76" y="97"/>
                      <a:pt x="77" y="97"/>
                    </a:cubicBezTo>
                    <a:cubicBezTo>
                      <a:pt x="78" y="102"/>
                      <a:pt x="78" y="107"/>
                      <a:pt x="79" y="112"/>
                    </a:cubicBezTo>
                    <a:cubicBezTo>
                      <a:pt x="76" y="109"/>
                      <a:pt x="73" y="108"/>
                      <a:pt x="70" y="108"/>
                    </a:cubicBezTo>
                    <a:cubicBezTo>
                      <a:pt x="65" y="108"/>
                      <a:pt x="62" y="110"/>
                      <a:pt x="59" y="113"/>
                    </a:cubicBezTo>
                    <a:cubicBezTo>
                      <a:pt x="50" y="109"/>
                      <a:pt x="43" y="104"/>
                      <a:pt x="37" y="99"/>
                    </a:cubicBezTo>
                    <a:cubicBezTo>
                      <a:pt x="38" y="97"/>
                      <a:pt x="38" y="95"/>
                      <a:pt x="38" y="92"/>
                    </a:cubicBezTo>
                    <a:cubicBezTo>
                      <a:pt x="38" y="87"/>
                      <a:pt x="35" y="83"/>
                      <a:pt x="31" y="81"/>
                    </a:cubicBezTo>
                    <a:cubicBezTo>
                      <a:pt x="32" y="77"/>
                      <a:pt x="34" y="73"/>
                      <a:pt x="35" y="69"/>
                    </a:cubicBezTo>
                    <a:cubicBezTo>
                      <a:pt x="33" y="69"/>
                      <a:pt x="33" y="69"/>
                      <a:pt x="33" y="69"/>
                    </a:cubicBezTo>
                    <a:cubicBezTo>
                      <a:pt x="31" y="73"/>
                      <a:pt x="30" y="76"/>
                      <a:pt x="29" y="80"/>
                    </a:cubicBezTo>
                    <a:cubicBezTo>
                      <a:pt x="28" y="80"/>
                      <a:pt x="26" y="80"/>
                      <a:pt x="25" y="80"/>
                    </a:cubicBezTo>
                    <a:cubicBezTo>
                      <a:pt x="23" y="80"/>
                      <a:pt x="21" y="80"/>
                      <a:pt x="19" y="81"/>
                    </a:cubicBezTo>
                    <a:cubicBezTo>
                      <a:pt x="15" y="77"/>
                      <a:pt x="12" y="72"/>
                      <a:pt x="10" y="69"/>
                    </a:cubicBezTo>
                    <a:cubicBezTo>
                      <a:pt x="1" y="69"/>
                      <a:pt x="1" y="69"/>
                      <a:pt x="1" y="69"/>
                    </a:cubicBezTo>
                    <a:cubicBezTo>
                      <a:pt x="1" y="73"/>
                      <a:pt x="0" y="78"/>
                      <a:pt x="0" y="82"/>
                    </a:cubicBezTo>
                    <a:cubicBezTo>
                      <a:pt x="0" y="128"/>
                      <a:pt x="37" y="165"/>
                      <a:pt x="83" y="165"/>
                    </a:cubicBezTo>
                    <a:cubicBezTo>
                      <a:pt x="128" y="165"/>
                      <a:pt x="165" y="128"/>
                      <a:pt x="165" y="82"/>
                    </a:cubicBezTo>
                    <a:cubicBezTo>
                      <a:pt x="165" y="37"/>
                      <a:pt x="128" y="0"/>
                      <a:pt x="83" y="0"/>
                    </a:cubicBezTo>
                    <a:close/>
                    <a:moveTo>
                      <a:pt x="158" y="78"/>
                    </a:moveTo>
                    <a:cubicBezTo>
                      <a:pt x="158" y="78"/>
                      <a:pt x="158" y="79"/>
                      <a:pt x="157" y="79"/>
                    </a:cubicBezTo>
                    <a:cubicBezTo>
                      <a:pt x="150" y="69"/>
                      <a:pt x="142" y="62"/>
                      <a:pt x="135" y="56"/>
                    </a:cubicBezTo>
                    <a:cubicBezTo>
                      <a:pt x="138" y="46"/>
                      <a:pt x="140" y="38"/>
                      <a:pt x="140" y="33"/>
                    </a:cubicBezTo>
                    <a:cubicBezTo>
                      <a:pt x="151" y="46"/>
                      <a:pt x="157" y="61"/>
                      <a:pt x="158" y="78"/>
                    </a:cubicBezTo>
                    <a:close/>
                    <a:moveTo>
                      <a:pt x="139" y="31"/>
                    </a:moveTo>
                    <a:cubicBezTo>
                      <a:pt x="138" y="35"/>
                      <a:pt x="137" y="44"/>
                      <a:pt x="133" y="54"/>
                    </a:cubicBezTo>
                    <a:cubicBezTo>
                      <a:pt x="129" y="51"/>
                      <a:pt x="126" y="49"/>
                      <a:pt x="122" y="47"/>
                    </a:cubicBezTo>
                    <a:cubicBezTo>
                      <a:pt x="124" y="44"/>
                      <a:pt x="126" y="41"/>
                      <a:pt x="126" y="37"/>
                    </a:cubicBezTo>
                    <a:cubicBezTo>
                      <a:pt x="126" y="30"/>
                      <a:pt x="121" y="25"/>
                      <a:pt x="115" y="24"/>
                    </a:cubicBezTo>
                    <a:cubicBezTo>
                      <a:pt x="115" y="21"/>
                      <a:pt x="115" y="17"/>
                      <a:pt x="114" y="14"/>
                    </a:cubicBezTo>
                    <a:cubicBezTo>
                      <a:pt x="124" y="18"/>
                      <a:pt x="132" y="24"/>
                      <a:pt x="139" y="31"/>
                    </a:cubicBezTo>
                    <a:close/>
                    <a:moveTo>
                      <a:pt x="109" y="43"/>
                    </a:moveTo>
                    <a:cubicBezTo>
                      <a:pt x="109" y="44"/>
                      <a:pt x="108" y="44"/>
                      <a:pt x="107" y="43"/>
                    </a:cubicBezTo>
                    <a:cubicBezTo>
                      <a:pt x="107" y="42"/>
                      <a:pt x="107" y="42"/>
                      <a:pt x="107" y="41"/>
                    </a:cubicBezTo>
                    <a:cubicBezTo>
                      <a:pt x="111" y="37"/>
                      <a:pt x="111" y="37"/>
                      <a:pt x="111" y="37"/>
                    </a:cubicBezTo>
                    <a:cubicBezTo>
                      <a:pt x="108" y="33"/>
                      <a:pt x="107" y="33"/>
                      <a:pt x="107" y="33"/>
                    </a:cubicBezTo>
                    <a:cubicBezTo>
                      <a:pt x="107" y="32"/>
                      <a:pt x="107" y="31"/>
                      <a:pt x="107" y="31"/>
                    </a:cubicBezTo>
                    <a:cubicBezTo>
                      <a:pt x="108" y="30"/>
                      <a:pt x="109" y="30"/>
                      <a:pt x="109" y="31"/>
                    </a:cubicBezTo>
                    <a:cubicBezTo>
                      <a:pt x="113" y="34"/>
                      <a:pt x="113" y="35"/>
                      <a:pt x="113" y="35"/>
                    </a:cubicBezTo>
                    <a:cubicBezTo>
                      <a:pt x="117" y="31"/>
                      <a:pt x="117" y="31"/>
                      <a:pt x="117" y="31"/>
                    </a:cubicBezTo>
                    <a:cubicBezTo>
                      <a:pt x="118" y="30"/>
                      <a:pt x="119" y="30"/>
                      <a:pt x="119" y="31"/>
                    </a:cubicBezTo>
                    <a:cubicBezTo>
                      <a:pt x="120" y="31"/>
                      <a:pt x="120" y="32"/>
                      <a:pt x="119" y="33"/>
                    </a:cubicBezTo>
                    <a:cubicBezTo>
                      <a:pt x="116" y="36"/>
                      <a:pt x="115" y="37"/>
                      <a:pt x="115" y="37"/>
                    </a:cubicBezTo>
                    <a:cubicBezTo>
                      <a:pt x="119" y="40"/>
                      <a:pt x="119" y="41"/>
                      <a:pt x="119" y="41"/>
                    </a:cubicBezTo>
                    <a:cubicBezTo>
                      <a:pt x="120" y="42"/>
                      <a:pt x="120" y="42"/>
                      <a:pt x="119" y="43"/>
                    </a:cubicBezTo>
                    <a:cubicBezTo>
                      <a:pt x="119" y="44"/>
                      <a:pt x="118" y="44"/>
                      <a:pt x="117" y="43"/>
                    </a:cubicBezTo>
                    <a:cubicBezTo>
                      <a:pt x="114" y="39"/>
                      <a:pt x="113" y="39"/>
                      <a:pt x="113" y="39"/>
                    </a:cubicBezTo>
                    <a:cubicBezTo>
                      <a:pt x="110" y="42"/>
                      <a:pt x="109" y="43"/>
                      <a:pt x="109" y="43"/>
                    </a:cubicBezTo>
                    <a:close/>
                    <a:moveTo>
                      <a:pt x="99" y="67"/>
                    </a:moveTo>
                    <a:cubicBezTo>
                      <a:pt x="99" y="66"/>
                      <a:pt x="99" y="65"/>
                      <a:pt x="99" y="65"/>
                    </a:cubicBezTo>
                    <a:cubicBezTo>
                      <a:pt x="100" y="64"/>
                      <a:pt x="101" y="64"/>
                      <a:pt x="101" y="65"/>
                    </a:cubicBezTo>
                    <a:cubicBezTo>
                      <a:pt x="101" y="65"/>
                      <a:pt x="101" y="65"/>
                      <a:pt x="105" y="69"/>
                    </a:cubicBezTo>
                    <a:cubicBezTo>
                      <a:pt x="105" y="69"/>
                      <a:pt x="105" y="69"/>
                      <a:pt x="112" y="60"/>
                    </a:cubicBezTo>
                    <a:cubicBezTo>
                      <a:pt x="112" y="60"/>
                      <a:pt x="113" y="59"/>
                      <a:pt x="114" y="60"/>
                    </a:cubicBezTo>
                    <a:cubicBezTo>
                      <a:pt x="115" y="60"/>
                      <a:pt x="115" y="61"/>
                      <a:pt x="114" y="62"/>
                    </a:cubicBezTo>
                    <a:cubicBezTo>
                      <a:pt x="114" y="62"/>
                      <a:pt x="114" y="62"/>
                      <a:pt x="107" y="72"/>
                    </a:cubicBezTo>
                    <a:cubicBezTo>
                      <a:pt x="107" y="72"/>
                      <a:pt x="106" y="72"/>
                      <a:pt x="106" y="72"/>
                    </a:cubicBezTo>
                    <a:cubicBezTo>
                      <a:pt x="106" y="72"/>
                      <a:pt x="106" y="72"/>
                      <a:pt x="106" y="72"/>
                    </a:cubicBezTo>
                    <a:cubicBezTo>
                      <a:pt x="105" y="72"/>
                      <a:pt x="105" y="72"/>
                      <a:pt x="105" y="72"/>
                    </a:cubicBezTo>
                    <a:cubicBezTo>
                      <a:pt x="105" y="72"/>
                      <a:pt x="105" y="72"/>
                      <a:pt x="99" y="67"/>
                    </a:cubicBezTo>
                    <a:close/>
                    <a:moveTo>
                      <a:pt x="88" y="111"/>
                    </a:moveTo>
                    <a:cubicBezTo>
                      <a:pt x="91" y="107"/>
                      <a:pt x="99" y="89"/>
                      <a:pt x="103" y="78"/>
                    </a:cubicBezTo>
                    <a:cubicBezTo>
                      <a:pt x="105" y="79"/>
                      <a:pt x="106" y="79"/>
                      <a:pt x="107" y="79"/>
                    </a:cubicBezTo>
                    <a:cubicBezTo>
                      <a:pt x="114" y="79"/>
                      <a:pt x="120" y="73"/>
                      <a:pt x="120" y="66"/>
                    </a:cubicBezTo>
                    <a:cubicBezTo>
                      <a:pt x="120" y="60"/>
                      <a:pt x="116" y="56"/>
                      <a:pt x="111" y="54"/>
                    </a:cubicBezTo>
                    <a:cubicBezTo>
                      <a:pt x="111" y="52"/>
                      <a:pt x="112" y="51"/>
                      <a:pt x="112" y="50"/>
                    </a:cubicBezTo>
                    <a:cubicBezTo>
                      <a:pt x="113" y="50"/>
                      <a:pt x="113" y="50"/>
                      <a:pt x="113" y="50"/>
                    </a:cubicBezTo>
                    <a:cubicBezTo>
                      <a:pt x="116" y="50"/>
                      <a:pt x="118" y="49"/>
                      <a:pt x="120" y="48"/>
                    </a:cubicBezTo>
                    <a:cubicBezTo>
                      <a:pt x="124" y="50"/>
                      <a:pt x="128" y="53"/>
                      <a:pt x="132" y="56"/>
                    </a:cubicBezTo>
                    <a:cubicBezTo>
                      <a:pt x="130" y="63"/>
                      <a:pt x="127" y="71"/>
                      <a:pt x="122" y="79"/>
                    </a:cubicBezTo>
                    <a:cubicBezTo>
                      <a:pt x="114" y="91"/>
                      <a:pt x="103" y="104"/>
                      <a:pt x="86" y="115"/>
                    </a:cubicBezTo>
                    <a:cubicBezTo>
                      <a:pt x="87" y="113"/>
                      <a:pt x="87" y="112"/>
                      <a:pt x="88" y="111"/>
                    </a:cubicBezTo>
                    <a:close/>
                    <a:moveTo>
                      <a:pt x="82" y="120"/>
                    </a:moveTo>
                    <a:cubicBezTo>
                      <a:pt x="83" y="120"/>
                      <a:pt x="83" y="119"/>
                      <a:pt x="84" y="118"/>
                    </a:cubicBezTo>
                    <a:cubicBezTo>
                      <a:pt x="103" y="108"/>
                      <a:pt x="116" y="93"/>
                      <a:pt x="123" y="80"/>
                    </a:cubicBezTo>
                    <a:cubicBezTo>
                      <a:pt x="128" y="72"/>
                      <a:pt x="132" y="65"/>
                      <a:pt x="134" y="58"/>
                    </a:cubicBezTo>
                    <a:cubicBezTo>
                      <a:pt x="141" y="64"/>
                      <a:pt x="149" y="71"/>
                      <a:pt x="155" y="80"/>
                    </a:cubicBezTo>
                    <a:cubicBezTo>
                      <a:pt x="155" y="80"/>
                      <a:pt x="155" y="80"/>
                      <a:pt x="155" y="80"/>
                    </a:cubicBezTo>
                    <a:cubicBezTo>
                      <a:pt x="152" y="77"/>
                      <a:pt x="149" y="75"/>
                      <a:pt x="145" y="75"/>
                    </a:cubicBezTo>
                    <a:cubicBezTo>
                      <a:pt x="138" y="75"/>
                      <a:pt x="132" y="81"/>
                      <a:pt x="132" y="88"/>
                    </a:cubicBezTo>
                    <a:cubicBezTo>
                      <a:pt x="132" y="90"/>
                      <a:pt x="132" y="92"/>
                      <a:pt x="133" y="94"/>
                    </a:cubicBezTo>
                    <a:cubicBezTo>
                      <a:pt x="126" y="100"/>
                      <a:pt x="118" y="107"/>
                      <a:pt x="110" y="115"/>
                    </a:cubicBezTo>
                    <a:cubicBezTo>
                      <a:pt x="108" y="114"/>
                      <a:pt x="106" y="114"/>
                      <a:pt x="103" y="114"/>
                    </a:cubicBezTo>
                    <a:cubicBezTo>
                      <a:pt x="97" y="114"/>
                      <a:pt x="92" y="117"/>
                      <a:pt x="91" y="122"/>
                    </a:cubicBezTo>
                    <a:cubicBezTo>
                      <a:pt x="87" y="122"/>
                      <a:pt x="85" y="122"/>
                      <a:pt x="82" y="121"/>
                    </a:cubicBezTo>
                    <a:lnTo>
                      <a:pt x="82" y="120"/>
                    </a:lnTo>
                    <a:close/>
                    <a:moveTo>
                      <a:pt x="151" y="92"/>
                    </a:moveTo>
                    <a:cubicBezTo>
                      <a:pt x="151" y="93"/>
                      <a:pt x="151" y="94"/>
                      <a:pt x="151" y="94"/>
                    </a:cubicBezTo>
                    <a:cubicBezTo>
                      <a:pt x="150" y="95"/>
                      <a:pt x="149" y="95"/>
                      <a:pt x="149" y="94"/>
                    </a:cubicBezTo>
                    <a:cubicBezTo>
                      <a:pt x="145" y="91"/>
                      <a:pt x="145" y="90"/>
                      <a:pt x="145" y="90"/>
                    </a:cubicBezTo>
                    <a:cubicBezTo>
                      <a:pt x="141" y="94"/>
                      <a:pt x="141" y="94"/>
                      <a:pt x="141" y="94"/>
                    </a:cubicBezTo>
                    <a:cubicBezTo>
                      <a:pt x="140" y="95"/>
                      <a:pt x="139" y="95"/>
                      <a:pt x="139" y="94"/>
                    </a:cubicBezTo>
                    <a:cubicBezTo>
                      <a:pt x="138" y="94"/>
                      <a:pt x="138" y="93"/>
                      <a:pt x="139" y="92"/>
                    </a:cubicBezTo>
                    <a:cubicBezTo>
                      <a:pt x="142" y="89"/>
                      <a:pt x="143" y="88"/>
                      <a:pt x="143" y="88"/>
                    </a:cubicBezTo>
                    <a:cubicBezTo>
                      <a:pt x="139" y="85"/>
                      <a:pt x="139" y="84"/>
                      <a:pt x="139" y="84"/>
                    </a:cubicBezTo>
                    <a:cubicBezTo>
                      <a:pt x="138" y="84"/>
                      <a:pt x="138" y="83"/>
                      <a:pt x="139" y="82"/>
                    </a:cubicBezTo>
                    <a:cubicBezTo>
                      <a:pt x="139" y="82"/>
                      <a:pt x="140" y="82"/>
                      <a:pt x="141" y="82"/>
                    </a:cubicBezTo>
                    <a:cubicBezTo>
                      <a:pt x="144" y="86"/>
                      <a:pt x="145" y="86"/>
                      <a:pt x="145" y="86"/>
                    </a:cubicBezTo>
                    <a:cubicBezTo>
                      <a:pt x="149" y="82"/>
                      <a:pt x="149" y="82"/>
                      <a:pt x="149" y="82"/>
                    </a:cubicBezTo>
                    <a:cubicBezTo>
                      <a:pt x="149" y="82"/>
                      <a:pt x="150" y="82"/>
                      <a:pt x="151" y="82"/>
                    </a:cubicBezTo>
                    <a:cubicBezTo>
                      <a:pt x="151" y="83"/>
                      <a:pt x="151" y="84"/>
                      <a:pt x="151" y="84"/>
                    </a:cubicBezTo>
                    <a:cubicBezTo>
                      <a:pt x="147" y="88"/>
                      <a:pt x="147" y="88"/>
                      <a:pt x="147" y="88"/>
                    </a:cubicBezTo>
                    <a:cubicBezTo>
                      <a:pt x="150" y="92"/>
                      <a:pt x="151" y="92"/>
                      <a:pt x="151" y="92"/>
                    </a:cubicBezTo>
                    <a:close/>
                    <a:moveTo>
                      <a:pt x="110" y="123"/>
                    </a:moveTo>
                    <a:cubicBezTo>
                      <a:pt x="110" y="123"/>
                      <a:pt x="110" y="123"/>
                      <a:pt x="103" y="133"/>
                    </a:cubicBezTo>
                    <a:cubicBezTo>
                      <a:pt x="102" y="133"/>
                      <a:pt x="102" y="134"/>
                      <a:pt x="102" y="134"/>
                    </a:cubicBezTo>
                    <a:cubicBezTo>
                      <a:pt x="101" y="134"/>
                      <a:pt x="101" y="134"/>
                      <a:pt x="101" y="134"/>
                    </a:cubicBezTo>
                    <a:cubicBezTo>
                      <a:pt x="101" y="134"/>
                      <a:pt x="101" y="133"/>
                      <a:pt x="100" y="133"/>
                    </a:cubicBezTo>
                    <a:cubicBezTo>
                      <a:pt x="100" y="133"/>
                      <a:pt x="100" y="133"/>
                      <a:pt x="95" y="128"/>
                    </a:cubicBezTo>
                    <a:cubicBezTo>
                      <a:pt x="95" y="128"/>
                      <a:pt x="95" y="126"/>
                      <a:pt x="95" y="126"/>
                    </a:cubicBezTo>
                    <a:cubicBezTo>
                      <a:pt x="96" y="125"/>
                      <a:pt x="97" y="125"/>
                      <a:pt x="97" y="126"/>
                    </a:cubicBezTo>
                    <a:cubicBezTo>
                      <a:pt x="97" y="126"/>
                      <a:pt x="97" y="126"/>
                      <a:pt x="101" y="130"/>
                    </a:cubicBezTo>
                    <a:cubicBezTo>
                      <a:pt x="101" y="130"/>
                      <a:pt x="101" y="130"/>
                      <a:pt x="108" y="121"/>
                    </a:cubicBezTo>
                    <a:cubicBezTo>
                      <a:pt x="108" y="121"/>
                      <a:pt x="109" y="121"/>
                      <a:pt x="110" y="121"/>
                    </a:cubicBezTo>
                    <a:cubicBezTo>
                      <a:pt x="111" y="122"/>
                      <a:pt x="111" y="122"/>
                      <a:pt x="110" y="123"/>
                    </a:cubicBezTo>
                    <a:close/>
                    <a:moveTo>
                      <a:pt x="77" y="91"/>
                    </a:moveTo>
                    <a:cubicBezTo>
                      <a:pt x="74" y="87"/>
                      <a:pt x="73" y="87"/>
                      <a:pt x="73" y="87"/>
                    </a:cubicBezTo>
                    <a:cubicBezTo>
                      <a:pt x="70" y="90"/>
                      <a:pt x="69" y="91"/>
                      <a:pt x="69" y="91"/>
                    </a:cubicBezTo>
                    <a:cubicBezTo>
                      <a:pt x="69" y="91"/>
                      <a:pt x="68" y="91"/>
                      <a:pt x="67" y="91"/>
                    </a:cubicBezTo>
                    <a:cubicBezTo>
                      <a:pt x="67" y="90"/>
                      <a:pt x="67" y="89"/>
                      <a:pt x="67" y="89"/>
                    </a:cubicBezTo>
                    <a:cubicBezTo>
                      <a:pt x="71" y="85"/>
                      <a:pt x="71" y="85"/>
                      <a:pt x="71" y="85"/>
                    </a:cubicBezTo>
                    <a:cubicBezTo>
                      <a:pt x="68" y="81"/>
                      <a:pt x="67" y="80"/>
                      <a:pt x="67" y="80"/>
                    </a:cubicBezTo>
                    <a:cubicBezTo>
                      <a:pt x="67" y="80"/>
                      <a:pt x="67" y="79"/>
                      <a:pt x="67" y="78"/>
                    </a:cubicBezTo>
                    <a:cubicBezTo>
                      <a:pt x="68" y="78"/>
                      <a:pt x="69" y="78"/>
                      <a:pt x="69" y="78"/>
                    </a:cubicBezTo>
                    <a:cubicBezTo>
                      <a:pt x="73" y="82"/>
                      <a:pt x="73" y="83"/>
                      <a:pt x="73" y="83"/>
                    </a:cubicBezTo>
                    <a:cubicBezTo>
                      <a:pt x="77" y="78"/>
                      <a:pt x="77" y="78"/>
                      <a:pt x="77" y="78"/>
                    </a:cubicBezTo>
                    <a:cubicBezTo>
                      <a:pt x="78" y="78"/>
                      <a:pt x="79" y="78"/>
                      <a:pt x="79" y="78"/>
                    </a:cubicBezTo>
                    <a:cubicBezTo>
                      <a:pt x="80" y="79"/>
                      <a:pt x="80" y="80"/>
                      <a:pt x="79" y="80"/>
                    </a:cubicBezTo>
                    <a:cubicBezTo>
                      <a:pt x="76" y="84"/>
                      <a:pt x="75" y="85"/>
                      <a:pt x="75" y="85"/>
                    </a:cubicBezTo>
                    <a:cubicBezTo>
                      <a:pt x="79" y="88"/>
                      <a:pt x="79" y="89"/>
                      <a:pt x="79" y="89"/>
                    </a:cubicBezTo>
                    <a:cubicBezTo>
                      <a:pt x="80" y="89"/>
                      <a:pt x="80" y="90"/>
                      <a:pt x="79" y="91"/>
                    </a:cubicBezTo>
                    <a:cubicBezTo>
                      <a:pt x="79" y="91"/>
                      <a:pt x="78" y="91"/>
                      <a:pt x="77" y="91"/>
                    </a:cubicBezTo>
                    <a:close/>
                    <a:moveTo>
                      <a:pt x="64" y="117"/>
                    </a:moveTo>
                    <a:cubicBezTo>
                      <a:pt x="63" y="116"/>
                      <a:pt x="63" y="115"/>
                      <a:pt x="64" y="115"/>
                    </a:cubicBezTo>
                    <a:cubicBezTo>
                      <a:pt x="64" y="114"/>
                      <a:pt x="65" y="114"/>
                      <a:pt x="66" y="115"/>
                    </a:cubicBezTo>
                    <a:cubicBezTo>
                      <a:pt x="69" y="118"/>
                      <a:pt x="70" y="119"/>
                      <a:pt x="70" y="119"/>
                    </a:cubicBezTo>
                    <a:cubicBezTo>
                      <a:pt x="74" y="115"/>
                      <a:pt x="74" y="115"/>
                      <a:pt x="74" y="115"/>
                    </a:cubicBezTo>
                    <a:cubicBezTo>
                      <a:pt x="74" y="114"/>
                      <a:pt x="75" y="114"/>
                      <a:pt x="76" y="115"/>
                    </a:cubicBezTo>
                    <a:cubicBezTo>
                      <a:pt x="76" y="115"/>
                      <a:pt x="76" y="116"/>
                      <a:pt x="76" y="117"/>
                    </a:cubicBezTo>
                    <a:cubicBezTo>
                      <a:pt x="72" y="120"/>
                      <a:pt x="72" y="121"/>
                      <a:pt x="72" y="121"/>
                    </a:cubicBezTo>
                    <a:cubicBezTo>
                      <a:pt x="75" y="124"/>
                      <a:pt x="76" y="125"/>
                      <a:pt x="76" y="125"/>
                    </a:cubicBezTo>
                    <a:cubicBezTo>
                      <a:pt x="76" y="125"/>
                      <a:pt x="76" y="126"/>
                      <a:pt x="76" y="127"/>
                    </a:cubicBezTo>
                    <a:cubicBezTo>
                      <a:pt x="75" y="128"/>
                      <a:pt x="74" y="128"/>
                      <a:pt x="74" y="127"/>
                    </a:cubicBezTo>
                    <a:cubicBezTo>
                      <a:pt x="70" y="123"/>
                      <a:pt x="70" y="123"/>
                      <a:pt x="70" y="123"/>
                    </a:cubicBezTo>
                    <a:cubicBezTo>
                      <a:pt x="66" y="126"/>
                      <a:pt x="66" y="127"/>
                      <a:pt x="66" y="127"/>
                    </a:cubicBezTo>
                    <a:cubicBezTo>
                      <a:pt x="65" y="128"/>
                      <a:pt x="64" y="128"/>
                      <a:pt x="64" y="127"/>
                    </a:cubicBezTo>
                    <a:cubicBezTo>
                      <a:pt x="63" y="126"/>
                      <a:pt x="63" y="125"/>
                      <a:pt x="64" y="125"/>
                    </a:cubicBezTo>
                    <a:cubicBezTo>
                      <a:pt x="67" y="121"/>
                      <a:pt x="68" y="121"/>
                      <a:pt x="68" y="121"/>
                    </a:cubicBezTo>
                    <a:cubicBezTo>
                      <a:pt x="64" y="117"/>
                      <a:pt x="64" y="117"/>
                      <a:pt x="64" y="117"/>
                    </a:cubicBezTo>
                    <a:close/>
                    <a:moveTo>
                      <a:pt x="22" y="127"/>
                    </a:moveTo>
                    <a:cubicBezTo>
                      <a:pt x="13" y="114"/>
                      <a:pt x="7" y="99"/>
                      <a:pt x="7" y="82"/>
                    </a:cubicBezTo>
                    <a:cubicBezTo>
                      <a:pt x="7" y="78"/>
                      <a:pt x="8" y="74"/>
                      <a:pt x="8" y="70"/>
                    </a:cubicBezTo>
                    <a:cubicBezTo>
                      <a:pt x="10" y="74"/>
                      <a:pt x="13" y="78"/>
                      <a:pt x="17" y="82"/>
                    </a:cubicBezTo>
                    <a:cubicBezTo>
                      <a:pt x="14" y="85"/>
                      <a:pt x="12" y="88"/>
                      <a:pt x="12" y="92"/>
                    </a:cubicBezTo>
                    <a:cubicBezTo>
                      <a:pt x="12" y="99"/>
                      <a:pt x="17" y="104"/>
                      <a:pt x="24" y="105"/>
                    </a:cubicBezTo>
                    <a:cubicBezTo>
                      <a:pt x="23" y="112"/>
                      <a:pt x="22" y="119"/>
                      <a:pt x="22" y="127"/>
                    </a:cubicBezTo>
                    <a:close/>
                    <a:moveTo>
                      <a:pt x="24" y="99"/>
                    </a:moveTo>
                    <a:cubicBezTo>
                      <a:pt x="23" y="99"/>
                      <a:pt x="23" y="99"/>
                      <a:pt x="23" y="99"/>
                    </a:cubicBezTo>
                    <a:cubicBezTo>
                      <a:pt x="23" y="99"/>
                      <a:pt x="23" y="99"/>
                      <a:pt x="17" y="94"/>
                    </a:cubicBezTo>
                    <a:cubicBezTo>
                      <a:pt x="17" y="93"/>
                      <a:pt x="17" y="92"/>
                      <a:pt x="17" y="92"/>
                    </a:cubicBezTo>
                    <a:cubicBezTo>
                      <a:pt x="18" y="91"/>
                      <a:pt x="19" y="91"/>
                      <a:pt x="19" y="92"/>
                    </a:cubicBezTo>
                    <a:cubicBezTo>
                      <a:pt x="19" y="92"/>
                      <a:pt x="19" y="92"/>
                      <a:pt x="23" y="96"/>
                    </a:cubicBezTo>
                    <a:cubicBezTo>
                      <a:pt x="23" y="96"/>
                      <a:pt x="23" y="96"/>
                      <a:pt x="30" y="87"/>
                    </a:cubicBezTo>
                    <a:cubicBezTo>
                      <a:pt x="31" y="87"/>
                      <a:pt x="32" y="86"/>
                      <a:pt x="32" y="87"/>
                    </a:cubicBezTo>
                    <a:cubicBezTo>
                      <a:pt x="33" y="87"/>
                      <a:pt x="33" y="88"/>
                      <a:pt x="32" y="89"/>
                    </a:cubicBezTo>
                    <a:cubicBezTo>
                      <a:pt x="32" y="89"/>
                      <a:pt x="32" y="89"/>
                      <a:pt x="25" y="99"/>
                    </a:cubicBezTo>
                    <a:cubicBezTo>
                      <a:pt x="25" y="99"/>
                      <a:pt x="24" y="99"/>
                      <a:pt x="24" y="99"/>
                    </a:cubicBezTo>
                    <a:close/>
                    <a:moveTo>
                      <a:pt x="24" y="130"/>
                    </a:moveTo>
                    <a:cubicBezTo>
                      <a:pt x="24" y="121"/>
                      <a:pt x="25" y="113"/>
                      <a:pt x="26" y="106"/>
                    </a:cubicBezTo>
                    <a:cubicBezTo>
                      <a:pt x="30" y="105"/>
                      <a:pt x="33" y="103"/>
                      <a:pt x="35" y="100"/>
                    </a:cubicBezTo>
                    <a:cubicBezTo>
                      <a:pt x="42" y="106"/>
                      <a:pt x="49" y="111"/>
                      <a:pt x="58" y="115"/>
                    </a:cubicBezTo>
                    <a:cubicBezTo>
                      <a:pt x="57" y="117"/>
                      <a:pt x="57" y="119"/>
                      <a:pt x="57" y="121"/>
                    </a:cubicBezTo>
                    <a:cubicBezTo>
                      <a:pt x="57" y="123"/>
                      <a:pt x="57" y="125"/>
                      <a:pt x="58" y="127"/>
                    </a:cubicBezTo>
                    <a:cubicBezTo>
                      <a:pt x="49" y="130"/>
                      <a:pt x="38" y="132"/>
                      <a:pt x="27" y="132"/>
                    </a:cubicBezTo>
                    <a:cubicBezTo>
                      <a:pt x="26" y="132"/>
                      <a:pt x="25" y="131"/>
                      <a:pt x="24" y="130"/>
                    </a:cubicBezTo>
                    <a:close/>
                    <a:moveTo>
                      <a:pt x="29" y="134"/>
                    </a:moveTo>
                    <a:cubicBezTo>
                      <a:pt x="40" y="133"/>
                      <a:pt x="50" y="131"/>
                      <a:pt x="59" y="129"/>
                    </a:cubicBezTo>
                    <a:cubicBezTo>
                      <a:pt x="62" y="132"/>
                      <a:pt x="65" y="134"/>
                      <a:pt x="70" y="134"/>
                    </a:cubicBezTo>
                    <a:cubicBezTo>
                      <a:pt x="70" y="134"/>
                      <a:pt x="70" y="134"/>
                      <a:pt x="70" y="134"/>
                    </a:cubicBezTo>
                    <a:cubicBezTo>
                      <a:pt x="64" y="143"/>
                      <a:pt x="58" y="150"/>
                      <a:pt x="55" y="152"/>
                    </a:cubicBezTo>
                    <a:cubicBezTo>
                      <a:pt x="45" y="148"/>
                      <a:pt x="36" y="142"/>
                      <a:pt x="29" y="134"/>
                    </a:cubicBezTo>
                    <a:close/>
                    <a:moveTo>
                      <a:pt x="82" y="157"/>
                    </a:moveTo>
                    <a:cubicBezTo>
                      <a:pt x="74" y="157"/>
                      <a:pt x="65" y="156"/>
                      <a:pt x="57" y="153"/>
                    </a:cubicBezTo>
                    <a:cubicBezTo>
                      <a:pt x="60" y="150"/>
                      <a:pt x="66" y="143"/>
                      <a:pt x="74" y="133"/>
                    </a:cubicBezTo>
                    <a:cubicBezTo>
                      <a:pt x="78" y="132"/>
                      <a:pt x="81" y="128"/>
                      <a:pt x="82" y="123"/>
                    </a:cubicBezTo>
                    <a:cubicBezTo>
                      <a:pt x="85" y="124"/>
                      <a:pt x="87" y="124"/>
                      <a:pt x="90" y="124"/>
                    </a:cubicBezTo>
                    <a:cubicBezTo>
                      <a:pt x="90" y="125"/>
                      <a:pt x="90" y="126"/>
                      <a:pt x="90" y="127"/>
                    </a:cubicBezTo>
                    <a:cubicBezTo>
                      <a:pt x="90" y="130"/>
                      <a:pt x="91" y="133"/>
                      <a:pt x="94" y="136"/>
                    </a:cubicBezTo>
                    <a:cubicBezTo>
                      <a:pt x="89" y="142"/>
                      <a:pt x="85" y="150"/>
                      <a:pt x="82" y="157"/>
                    </a:cubicBezTo>
                    <a:close/>
                    <a:moveTo>
                      <a:pt x="84" y="157"/>
                    </a:moveTo>
                    <a:cubicBezTo>
                      <a:pt x="87" y="150"/>
                      <a:pt x="91" y="143"/>
                      <a:pt x="95" y="137"/>
                    </a:cubicBezTo>
                    <a:cubicBezTo>
                      <a:pt x="97" y="139"/>
                      <a:pt x="100" y="140"/>
                      <a:pt x="103" y="140"/>
                    </a:cubicBezTo>
                    <a:cubicBezTo>
                      <a:pt x="110" y="140"/>
                      <a:pt x="116" y="134"/>
                      <a:pt x="116" y="127"/>
                    </a:cubicBezTo>
                    <a:cubicBezTo>
                      <a:pt x="116" y="125"/>
                      <a:pt x="116" y="125"/>
                      <a:pt x="116" y="125"/>
                    </a:cubicBezTo>
                    <a:cubicBezTo>
                      <a:pt x="126" y="125"/>
                      <a:pt x="137" y="123"/>
                      <a:pt x="149" y="119"/>
                    </a:cubicBezTo>
                    <a:cubicBezTo>
                      <a:pt x="136" y="141"/>
                      <a:pt x="112" y="157"/>
                      <a:pt x="84" y="157"/>
                    </a:cubicBezTo>
                    <a:close/>
                    <a:moveTo>
                      <a:pt x="116" y="123"/>
                    </a:moveTo>
                    <a:cubicBezTo>
                      <a:pt x="115" y="121"/>
                      <a:pt x="113" y="118"/>
                      <a:pt x="111" y="117"/>
                    </a:cubicBezTo>
                    <a:cubicBezTo>
                      <a:pt x="119" y="108"/>
                      <a:pt x="127" y="101"/>
                      <a:pt x="134" y="96"/>
                    </a:cubicBezTo>
                    <a:cubicBezTo>
                      <a:pt x="137" y="99"/>
                      <a:pt x="140" y="101"/>
                      <a:pt x="145" y="101"/>
                    </a:cubicBezTo>
                    <a:cubicBezTo>
                      <a:pt x="152" y="101"/>
                      <a:pt x="158" y="96"/>
                      <a:pt x="158" y="88"/>
                    </a:cubicBezTo>
                    <a:cubicBezTo>
                      <a:pt x="158" y="86"/>
                      <a:pt x="157" y="84"/>
                      <a:pt x="156" y="82"/>
                    </a:cubicBezTo>
                    <a:cubicBezTo>
                      <a:pt x="156" y="82"/>
                      <a:pt x="156" y="81"/>
                      <a:pt x="156" y="81"/>
                    </a:cubicBezTo>
                    <a:cubicBezTo>
                      <a:pt x="157" y="82"/>
                      <a:pt x="158" y="83"/>
                      <a:pt x="158" y="84"/>
                    </a:cubicBezTo>
                    <a:cubicBezTo>
                      <a:pt x="158" y="95"/>
                      <a:pt x="155" y="106"/>
                      <a:pt x="150" y="116"/>
                    </a:cubicBezTo>
                    <a:cubicBezTo>
                      <a:pt x="138" y="121"/>
                      <a:pt x="126" y="123"/>
                      <a:pt x="116" y="1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CA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9" name="Freeform 29"/>
              <p:cNvSpPr>
                <a:spLocks noEditPoints="1"/>
              </p:cNvSpPr>
              <p:nvPr/>
            </p:nvSpPr>
            <p:spPr bwMode="auto">
              <a:xfrm>
                <a:off x="3863751" y="3161988"/>
                <a:ext cx="111266" cy="155946"/>
              </a:xfrm>
              <a:custGeom>
                <a:avLst/>
                <a:gdLst>
                  <a:gd name="T0" fmla="*/ 63 w 72"/>
                  <a:gd name="T1" fmla="*/ 27 h 101"/>
                  <a:gd name="T2" fmla="*/ 36 w 72"/>
                  <a:gd name="T3" fmla="*/ 0 h 101"/>
                  <a:gd name="T4" fmla="*/ 9 w 72"/>
                  <a:gd name="T5" fmla="*/ 27 h 101"/>
                  <a:gd name="T6" fmla="*/ 9 w 72"/>
                  <a:gd name="T7" fmla="*/ 41 h 101"/>
                  <a:gd name="T8" fmla="*/ 1 w 72"/>
                  <a:gd name="T9" fmla="*/ 41 h 101"/>
                  <a:gd name="T10" fmla="*/ 0 w 72"/>
                  <a:gd name="T11" fmla="*/ 42 h 101"/>
                  <a:gd name="T12" fmla="*/ 0 w 72"/>
                  <a:gd name="T13" fmla="*/ 99 h 101"/>
                  <a:gd name="T14" fmla="*/ 1 w 72"/>
                  <a:gd name="T15" fmla="*/ 101 h 101"/>
                  <a:gd name="T16" fmla="*/ 9 w 72"/>
                  <a:gd name="T17" fmla="*/ 101 h 101"/>
                  <a:gd name="T18" fmla="*/ 16 w 72"/>
                  <a:gd name="T19" fmla="*/ 101 h 101"/>
                  <a:gd name="T20" fmla="*/ 41 w 72"/>
                  <a:gd name="T21" fmla="*/ 101 h 101"/>
                  <a:gd name="T22" fmla="*/ 43 w 72"/>
                  <a:gd name="T23" fmla="*/ 101 h 101"/>
                  <a:gd name="T24" fmla="*/ 70 w 72"/>
                  <a:gd name="T25" fmla="*/ 101 h 101"/>
                  <a:gd name="T26" fmla="*/ 72 w 72"/>
                  <a:gd name="T27" fmla="*/ 99 h 101"/>
                  <a:gd name="T28" fmla="*/ 72 w 72"/>
                  <a:gd name="T29" fmla="*/ 95 h 101"/>
                  <a:gd name="T30" fmla="*/ 72 w 72"/>
                  <a:gd name="T31" fmla="*/ 90 h 101"/>
                  <a:gd name="T32" fmla="*/ 72 w 72"/>
                  <a:gd name="T33" fmla="*/ 71 h 101"/>
                  <a:gd name="T34" fmla="*/ 72 w 72"/>
                  <a:gd name="T35" fmla="*/ 65 h 101"/>
                  <a:gd name="T36" fmla="*/ 72 w 72"/>
                  <a:gd name="T37" fmla="*/ 58 h 101"/>
                  <a:gd name="T38" fmla="*/ 72 w 72"/>
                  <a:gd name="T39" fmla="*/ 55 h 101"/>
                  <a:gd name="T40" fmla="*/ 72 w 72"/>
                  <a:gd name="T41" fmla="*/ 44 h 101"/>
                  <a:gd name="T42" fmla="*/ 72 w 72"/>
                  <a:gd name="T43" fmla="*/ 42 h 101"/>
                  <a:gd name="T44" fmla="*/ 70 w 72"/>
                  <a:gd name="T45" fmla="*/ 41 h 101"/>
                  <a:gd name="T46" fmla="*/ 63 w 72"/>
                  <a:gd name="T47" fmla="*/ 41 h 101"/>
                  <a:gd name="T48" fmla="*/ 63 w 72"/>
                  <a:gd name="T49" fmla="*/ 39 h 101"/>
                  <a:gd name="T50" fmla="*/ 63 w 72"/>
                  <a:gd name="T51" fmla="*/ 27 h 101"/>
                  <a:gd name="T52" fmla="*/ 40 w 72"/>
                  <a:gd name="T53" fmla="*/ 69 h 101"/>
                  <a:gd name="T54" fmla="*/ 40 w 72"/>
                  <a:gd name="T55" fmla="*/ 71 h 101"/>
                  <a:gd name="T56" fmla="*/ 40 w 72"/>
                  <a:gd name="T57" fmla="*/ 77 h 101"/>
                  <a:gd name="T58" fmla="*/ 36 w 72"/>
                  <a:gd name="T59" fmla="*/ 81 h 101"/>
                  <a:gd name="T60" fmla="*/ 31 w 72"/>
                  <a:gd name="T61" fmla="*/ 77 h 101"/>
                  <a:gd name="T62" fmla="*/ 31 w 72"/>
                  <a:gd name="T63" fmla="*/ 73 h 101"/>
                  <a:gd name="T64" fmla="*/ 31 w 72"/>
                  <a:gd name="T65" fmla="*/ 71 h 101"/>
                  <a:gd name="T66" fmla="*/ 31 w 72"/>
                  <a:gd name="T67" fmla="*/ 69 h 101"/>
                  <a:gd name="T68" fmla="*/ 31 w 72"/>
                  <a:gd name="T69" fmla="*/ 65 h 101"/>
                  <a:gd name="T70" fmla="*/ 36 w 72"/>
                  <a:gd name="T71" fmla="*/ 60 h 101"/>
                  <a:gd name="T72" fmla="*/ 39 w 72"/>
                  <a:gd name="T73" fmla="*/ 62 h 101"/>
                  <a:gd name="T74" fmla="*/ 39 w 72"/>
                  <a:gd name="T75" fmla="*/ 62 h 101"/>
                  <a:gd name="T76" fmla="*/ 39 w 72"/>
                  <a:gd name="T77" fmla="*/ 62 h 101"/>
                  <a:gd name="T78" fmla="*/ 39 w 72"/>
                  <a:gd name="T79" fmla="*/ 62 h 101"/>
                  <a:gd name="T80" fmla="*/ 39 w 72"/>
                  <a:gd name="T81" fmla="*/ 62 h 101"/>
                  <a:gd name="T82" fmla="*/ 40 w 72"/>
                  <a:gd name="T83" fmla="*/ 65 h 101"/>
                  <a:gd name="T84" fmla="*/ 40 w 72"/>
                  <a:gd name="T85" fmla="*/ 69 h 101"/>
                  <a:gd name="T86" fmla="*/ 54 w 72"/>
                  <a:gd name="T87" fmla="*/ 41 h 101"/>
                  <a:gd name="T88" fmla="*/ 18 w 72"/>
                  <a:gd name="T89" fmla="*/ 41 h 101"/>
                  <a:gd name="T90" fmla="*/ 18 w 72"/>
                  <a:gd name="T91" fmla="*/ 27 h 101"/>
                  <a:gd name="T92" fmla="*/ 36 w 72"/>
                  <a:gd name="T93" fmla="*/ 9 h 101"/>
                  <a:gd name="T94" fmla="*/ 54 w 72"/>
                  <a:gd name="T95" fmla="*/ 27 h 101"/>
                  <a:gd name="T96" fmla="*/ 54 w 72"/>
                  <a:gd name="T97" fmla="*/ 4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72" h="101">
                    <a:moveTo>
                      <a:pt x="63" y="27"/>
                    </a:moveTo>
                    <a:cubicBezTo>
                      <a:pt x="63" y="13"/>
                      <a:pt x="51" y="0"/>
                      <a:pt x="36" y="0"/>
                    </a:cubicBezTo>
                    <a:cubicBezTo>
                      <a:pt x="21" y="0"/>
                      <a:pt x="9" y="13"/>
                      <a:pt x="9" y="27"/>
                    </a:cubicBezTo>
                    <a:cubicBezTo>
                      <a:pt x="9" y="41"/>
                      <a:pt x="9" y="41"/>
                      <a:pt x="9" y="41"/>
                    </a:cubicBezTo>
                    <a:cubicBezTo>
                      <a:pt x="1" y="41"/>
                      <a:pt x="1" y="41"/>
                      <a:pt x="1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99"/>
                      <a:pt x="0" y="99"/>
                      <a:pt x="0" y="99"/>
                    </a:cubicBezTo>
                    <a:cubicBezTo>
                      <a:pt x="0" y="100"/>
                      <a:pt x="0" y="101"/>
                      <a:pt x="1" y="101"/>
                    </a:cubicBezTo>
                    <a:cubicBezTo>
                      <a:pt x="9" y="101"/>
                      <a:pt x="9" y="101"/>
                      <a:pt x="9" y="101"/>
                    </a:cubicBezTo>
                    <a:cubicBezTo>
                      <a:pt x="11" y="101"/>
                      <a:pt x="14" y="101"/>
                      <a:pt x="16" y="101"/>
                    </a:cubicBezTo>
                    <a:cubicBezTo>
                      <a:pt x="41" y="101"/>
                      <a:pt x="41" y="101"/>
                      <a:pt x="41" y="101"/>
                    </a:cubicBezTo>
                    <a:cubicBezTo>
                      <a:pt x="42" y="101"/>
                      <a:pt x="43" y="101"/>
                      <a:pt x="43" y="101"/>
                    </a:cubicBezTo>
                    <a:cubicBezTo>
                      <a:pt x="70" y="101"/>
                      <a:pt x="70" y="101"/>
                      <a:pt x="70" y="101"/>
                    </a:cubicBezTo>
                    <a:cubicBezTo>
                      <a:pt x="71" y="101"/>
                      <a:pt x="72" y="100"/>
                      <a:pt x="72" y="99"/>
                    </a:cubicBezTo>
                    <a:cubicBezTo>
                      <a:pt x="72" y="95"/>
                      <a:pt x="72" y="95"/>
                      <a:pt x="72" y="95"/>
                    </a:cubicBezTo>
                    <a:cubicBezTo>
                      <a:pt x="72" y="93"/>
                      <a:pt x="72" y="91"/>
                      <a:pt x="72" y="90"/>
                    </a:cubicBezTo>
                    <a:cubicBezTo>
                      <a:pt x="72" y="71"/>
                      <a:pt x="72" y="71"/>
                      <a:pt x="72" y="71"/>
                    </a:cubicBezTo>
                    <a:cubicBezTo>
                      <a:pt x="72" y="69"/>
                      <a:pt x="72" y="67"/>
                      <a:pt x="72" y="65"/>
                    </a:cubicBezTo>
                    <a:cubicBezTo>
                      <a:pt x="72" y="58"/>
                      <a:pt x="72" y="58"/>
                      <a:pt x="72" y="58"/>
                    </a:cubicBezTo>
                    <a:cubicBezTo>
                      <a:pt x="72" y="57"/>
                      <a:pt x="72" y="56"/>
                      <a:pt x="72" y="55"/>
                    </a:cubicBezTo>
                    <a:cubicBezTo>
                      <a:pt x="72" y="44"/>
                      <a:pt x="72" y="44"/>
                      <a:pt x="72" y="44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72" y="41"/>
                      <a:pt x="71" y="41"/>
                      <a:pt x="70" y="41"/>
                    </a:cubicBezTo>
                    <a:cubicBezTo>
                      <a:pt x="63" y="41"/>
                      <a:pt x="63" y="41"/>
                      <a:pt x="63" y="41"/>
                    </a:cubicBezTo>
                    <a:cubicBezTo>
                      <a:pt x="63" y="40"/>
                      <a:pt x="63" y="40"/>
                      <a:pt x="63" y="39"/>
                    </a:cubicBezTo>
                    <a:cubicBezTo>
                      <a:pt x="63" y="27"/>
                      <a:pt x="63" y="27"/>
                      <a:pt x="63" y="27"/>
                    </a:cubicBezTo>
                    <a:close/>
                    <a:moveTo>
                      <a:pt x="40" y="69"/>
                    </a:moveTo>
                    <a:cubicBezTo>
                      <a:pt x="40" y="71"/>
                      <a:pt x="40" y="71"/>
                      <a:pt x="40" y="71"/>
                    </a:cubicBezTo>
                    <a:cubicBezTo>
                      <a:pt x="40" y="77"/>
                      <a:pt x="40" y="77"/>
                      <a:pt x="40" y="77"/>
                    </a:cubicBezTo>
                    <a:cubicBezTo>
                      <a:pt x="40" y="79"/>
                      <a:pt x="38" y="81"/>
                      <a:pt x="36" y="81"/>
                    </a:cubicBezTo>
                    <a:cubicBezTo>
                      <a:pt x="33" y="81"/>
                      <a:pt x="31" y="79"/>
                      <a:pt x="31" y="77"/>
                    </a:cubicBezTo>
                    <a:cubicBezTo>
                      <a:pt x="31" y="73"/>
                      <a:pt x="31" y="73"/>
                      <a:pt x="31" y="73"/>
                    </a:cubicBezTo>
                    <a:cubicBezTo>
                      <a:pt x="31" y="71"/>
                      <a:pt x="31" y="71"/>
                      <a:pt x="31" y="71"/>
                    </a:cubicBezTo>
                    <a:cubicBezTo>
                      <a:pt x="31" y="69"/>
                      <a:pt x="31" y="69"/>
                      <a:pt x="31" y="69"/>
                    </a:cubicBezTo>
                    <a:cubicBezTo>
                      <a:pt x="31" y="65"/>
                      <a:pt x="31" y="65"/>
                      <a:pt x="31" y="65"/>
                    </a:cubicBezTo>
                    <a:cubicBezTo>
                      <a:pt x="31" y="62"/>
                      <a:pt x="33" y="60"/>
                      <a:pt x="36" y="60"/>
                    </a:cubicBezTo>
                    <a:cubicBezTo>
                      <a:pt x="37" y="60"/>
                      <a:pt x="38" y="61"/>
                      <a:pt x="39" y="62"/>
                    </a:cubicBezTo>
                    <a:cubicBezTo>
                      <a:pt x="39" y="62"/>
                      <a:pt x="39" y="62"/>
                      <a:pt x="39" y="62"/>
                    </a:cubicBezTo>
                    <a:cubicBezTo>
                      <a:pt x="39" y="62"/>
                      <a:pt x="39" y="62"/>
                      <a:pt x="39" y="62"/>
                    </a:cubicBezTo>
                    <a:cubicBezTo>
                      <a:pt x="39" y="62"/>
                      <a:pt x="39" y="62"/>
                      <a:pt x="39" y="62"/>
                    </a:cubicBezTo>
                    <a:cubicBezTo>
                      <a:pt x="39" y="62"/>
                      <a:pt x="39" y="62"/>
                      <a:pt x="39" y="62"/>
                    </a:cubicBezTo>
                    <a:cubicBezTo>
                      <a:pt x="40" y="63"/>
                      <a:pt x="40" y="64"/>
                      <a:pt x="40" y="65"/>
                    </a:cubicBezTo>
                    <a:lnTo>
                      <a:pt x="40" y="69"/>
                    </a:lnTo>
                    <a:close/>
                    <a:moveTo>
                      <a:pt x="54" y="41"/>
                    </a:moveTo>
                    <a:cubicBezTo>
                      <a:pt x="18" y="41"/>
                      <a:pt x="18" y="41"/>
                      <a:pt x="18" y="41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18" y="17"/>
                      <a:pt x="26" y="9"/>
                      <a:pt x="36" y="9"/>
                    </a:cubicBezTo>
                    <a:cubicBezTo>
                      <a:pt x="46" y="9"/>
                      <a:pt x="54" y="17"/>
                      <a:pt x="54" y="27"/>
                    </a:cubicBezTo>
                    <a:cubicBezTo>
                      <a:pt x="54" y="41"/>
                      <a:pt x="54" y="41"/>
                      <a:pt x="54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CA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0" name="Group 19"/>
            <p:cNvGrpSpPr>
              <a:grpSpLocks noChangeAspect="1"/>
            </p:cNvGrpSpPr>
            <p:nvPr userDrawn="1"/>
          </p:nvGrpSpPr>
          <p:grpSpPr>
            <a:xfrm>
              <a:off x="2638427" y="2829910"/>
              <a:ext cx="137160" cy="97070"/>
              <a:chOff x="4521549" y="2449250"/>
              <a:chExt cx="242113" cy="171347"/>
            </a:xfrm>
            <a:solidFill>
              <a:schemeClr val="bg1">
                <a:lumMod val="85000"/>
                <a:alpha val="30000"/>
              </a:schemeClr>
            </a:solidFill>
          </p:grpSpPr>
          <p:sp>
            <p:nvSpPr>
              <p:cNvPr id="21" name="Freeform 5"/>
              <p:cNvSpPr>
                <a:spLocks noEditPoints="1"/>
              </p:cNvSpPr>
              <p:nvPr/>
            </p:nvSpPr>
            <p:spPr bwMode="auto">
              <a:xfrm>
                <a:off x="4521549" y="2493341"/>
                <a:ext cx="242113" cy="127256"/>
              </a:xfrm>
              <a:custGeom>
                <a:avLst/>
                <a:gdLst>
                  <a:gd name="T0" fmla="*/ 242 w 280"/>
                  <a:gd name="T1" fmla="*/ 51 h 147"/>
                  <a:gd name="T2" fmla="*/ 246 w 280"/>
                  <a:gd name="T3" fmla="*/ 51 h 147"/>
                  <a:gd name="T4" fmla="*/ 261 w 280"/>
                  <a:gd name="T5" fmla="*/ 51 h 147"/>
                  <a:gd name="T6" fmla="*/ 280 w 280"/>
                  <a:gd name="T7" fmla="*/ 70 h 147"/>
                  <a:gd name="T8" fmla="*/ 280 w 280"/>
                  <a:gd name="T9" fmla="*/ 127 h 147"/>
                  <a:gd name="T10" fmla="*/ 260 w 280"/>
                  <a:gd name="T11" fmla="*/ 147 h 147"/>
                  <a:gd name="T12" fmla="*/ 195 w 280"/>
                  <a:gd name="T13" fmla="*/ 147 h 147"/>
                  <a:gd name="T14" fmla="*/ 21 w 280"/>
                  <a:gd name="T15" fmla="*/ 147 h 147"/>
                  <a:gd name="T16" fmla="*/ 1 w 280"/>
                  <a:gd name="T17" fmla="*/ 132 h 147"/>
                  <a:gd name="T18" fmla="*/ 0 w 280"/>
                  <a:gd name="T19" fmla="*/ 126 h 147"/>
                  <a:gd name="T20" fmla="*/ 0 w 280"/>
                  <a:gd name="T21" fmla="*/ 72 h 147"/>
                  <a:gd name="T22" fmla="*/ 21 w 280"/>
                  <a:gd name="T23" fmla="*/ 51 h 147"/>
                  <a:gd name="T24" fmla="*/ 116 w 280"/>
                  <a:gd name="T25" fmla="*/ 51 h 147"/>
                  <a:gd name="T26" fmla="*/ 221 w 280"/>
                  <a:gd name="T27" fmla="*/ 51 h 147"/>
                  <a:gd name="T28" fmla="*/ 224 w 280"/>
                  <a:gd name="T29" fmla="*/ 48 h 147"/>
                  <a:gd name="T30" fmla="*/ 224 w 280"/>
                  <a:gd name="T31" fmla="*/ 13 h 147"/>
                  <a:gd name="T32" fmla="*/ 225 w 280"/>
                  <a:gd name="T33" fmla="*/ 5 h 147"/>
                  <a:gd name="T34" fmla="*/ 233 w 280"/>
                  <a:gd name="T35" fmla="*/ 0 h 147"/>
                  <a:gd name="T36" fmla="*/ 241 w 280"/>
                  <a:gd name="T37" fmla="*/ 5 h 147"/>
                  <a:gd name="T38" fmla="*/ 242 w 280"/>
                  <a:gd name="T39" fmla="*/ 13 h 147"/>
                  <a:gd name="T40" fmla="*/ 242 w 280"/>
                  <a:gd name="T41" fmla="*/ 47 h 147"/>
                  <a:gd name="T42" fmla="*/ 242 w 280"/>
                  <a:gd name="T43" fmla="*/ 51 h 147"/>
                  <a:gd name="T44" fmla="*/ 63 w 280"/>
                  <a:gd name="T45" fmla="*/ 119 h 147"/>
                  <a:gd name="T46" fmla="*/ 63 w 280"/>
                  <a:gd name="T47" fmla="*/ 119 h 147"/>
                  <a:gd name="T48" fmla="*/ 63 w 280"/>
                  <a:gd name="T49" fmla="*/ 126 h 147"/>
                  <a:gd name="T50" fmla="*/ 67 w 280"/>
                  <a:gd name="T51" fmla="*/ 129 h 147"/>
                  <a:gd name="T52" fmla="*/ 81 w 280"/>
                  <a:gd name="T53" fmla="*/ 129 h 147"/>
                  <a:gd name="T54" fmla="*/ 85 w 280"/>
                  <a:gd name="T55" fmla="*/ 126 h 147"/>
                  <a:gd name="T56" fmla="*/ 85 w 280"/>
                  <a:gd name="T57" fmla="*/ 112 h 147"/>
                  <a:gd name="T58" fmla="*/ 81 w 280"/>
                  <a:gd name="T59" fmla="*/ 108 h 147"/>
                  <a:gd name="T60" fmla="*/ 67 w 280"/>
                  <a:gd name="T61" fmla="*/ 108 h 147"/>
                  <a:gd name="T62" fmla="*/ 63 w 280"/>
                  <a:gd name="T63" fmla="*/ 112 h 147"/>
                  <a:gd name="T64" fmla="*/ 63 w 280"/>
                  <a:gd name="T65" fmla="*/ 119 h 147"/>
                  <a:gd name="T66" fmla="*/ 110 w 280"/>
                  <a:gd name="T67" fmla="*/ 129 h 147"/>
                  <a:gd name="T68" fmla="*/ 110 w 280"/>
                  <a:gd name="T69" fmla="*/ 129 h 147"/>
                  <a:gd name="T70" fmla="*/ 117 w 280"/>
                  <a:gd name="T71" fmla="*/ 129 h 147"/>
                  <a:gd name="T72" fmla="*/ 121 w 280"/>
                  <a:gd name="T73" fmla="*/ 126 h 147"/>
                  <a:gd name="T74" fmla="*/ 121 w 280"/>
                  <a:gd name="T75" fmla="*/ 112 h 147"/>
                  <a:gd name="T76" fmla="*/ 117 w 280"/>
                  <a:gd name="T77" fmla="*/ 108 h 147"/>
                  <a:gd name="T78" fmla="*/ 104 w 280"/>
                  <a:gd name="T79" fmla="*/ 108 h 147"/>
                  <a:gd name="T80" fmla="*/ 100 w 280"/>
                  <a:gd name="T81" fmla="*/ 112 h 147"/>
                  <a:gd name="T82" fmla="*/ 100 w 280"/>
                  <a:gd name="T83" fmla="*/ 125 h 147"/>
                  <a:gd name="T84" fmla="*/ 103 w 280"/>
                  <a:gd name="T85" fmla="*/ 129 h 147"/>
                  <a:gd name="T86" fmla="*/ 110 w 280"/>
                  <a:gd name="T87" fmla="*/ 129 h 147"/>
                  <a:gd name="T88" fmla="*/ 27 w 280"/>
                  <a:gd name="T89" fmla="*/ 118 h 147"/>
                  <a:gd name="T90" fmla="*/ 27 w 280"/>
                  <a:gd name="T91" fmla="*/ 118 h 147"/>
                  <a:gd name="T92" fmla="*/ 27 w 280"/>
                  <a:gd name="T93" fmla="*/ 126 h 147"/>
                  <a:gd name="T94" fmla="*/ 31 w 280"/>
                  <a:gd name="T95" fmla="*/ 129 h 147"/>
                  <a:gd name="T96" fmla="*/ 45 w 280"/>
                  <a:gd name="T97" fmla="*/ 129 h 147"/>
                  <a:gd name="T98" fmla="*/ 48 w 280"/>
                  <a:gd name="T99" fmla="*/ 125 h 147"/>
                  <a:gd name="T100" fmla="*/ 48 w 280"/>
                  <a:gd name="T101" fmla="*/ 112 h 147"/>
                  <a:gd name="T102" fmla="*/ 45 w 280"/>
                  <a:gd name="T103" fmla="*/ 108 h 147"/>
                  <a:gd name="T104" fmla="*/ 31 w 280"/>
                  <a:gd name="T105" fmla="*/ 108 h 147"/>
                  <a:gd name="T106" fmla="*/ 27 w 280"/>
                  <a:gd name="T107" fmla="*/ 112 h 147"/>
                  <a:gd name="T108" fmla="*/ 27 w 280"/>
                  <a:gd name="T109" fmla="*/ 118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80" h="147">
                    <a:moveTo>
                      <a:pt x="242" y="51"/>
                    </a:moveTo>
                    <a:cubicBezTo>
                      <a:pt x="244" y="51"/>
                      <a:pt x="245" y="51"/>
                      <a:pt x="246" y="51"/>
                    </a:cubicBezTo>
                    <a:cubicBezTo>
                      <a:pt x="251" y="51"/>
                      <a:pt x="256" y="51"/>
                      <a:pt x="261" y="51"/>
                    </a:cubicBezTo>
                    <a:cubicBezTo>
                      <a:pt x="272" y="52"/>
                      <a:pt x="280" y="60"/>
                      <a:pt x="280" y="70"/>
                    </a:cubicBezTo>
                    <a:cubicBezTo>
                      <a:pt x="280" y="89"/>
                      <a:pt x="280" y="108"/>
                      <a:pt x="280" y="127"/>
                    </a:cubicBezTo>
                    <a:cubicBezTo>
                      <a:pt x="280" y="138"/>
                      <a:pt x="271" y="147"/>
                      <a:pt x="260" y="147"/>
                    </a:cubicBezTo>
                    <a:cubicBezTo>
                      <a:pt x="238" y="147"/>
                      <a:pt x="217" y="147"/>
                      <a:pt x="195" y="147"/>
                    </a:cubicBezTo>
                    <a:cubicBezTo>
                      <a:pt x="137" y="147"/>
                      <a:pt x="79" y="147"/>
                      <a:pt x="21" y="147"/>
                    </a:cubicBezTo>
                    <a:cubicBezTo>
                      <a:pt x="11" y="147"/>
                      <a:pt x="3" y="141"/>
                      <a:pt x="1" y="132"/>
                    </a:cubicBezTo>
                    <a:cubicBezTo>
                      <a:pt x="0" y="130"/>
                      <a:pt x="0" y="128"/>
                      <a:pt x="0" y="126"/>
                    </a:cubicBezTo>
                    <a:cubicBezTo>
                      <a:pt x="0" y="108"/>
                      <a:pt x="0" y="90"/>
                      <a:pt x="0" y="72"/>
                    </a:cubicBezTo>
                    <a:cubicBezTo>
                      <a:pt x="0" y="60"/>
                      <a:pt x="8" y="51"/>
                      <a:pt x="21" y="51"/>
                    </a:cubicBezTo>
                    <a:cubicBezTo>
                      <a:pt x="52" y="51"/>
                      <a:pt x="84" y="51"/>
                      <a:pt x="116" y="51"/>
                    </a:cubicBezTo>
                    <a:cubicBezTo>
                      <a:pt x="151" y="51"/>
                      <a:pt x="186" y="51"/>
                      <a:pt x="221" y="51"/>
                    </a:cubicBezTo>
                    <a:cubicBezTo>
                      <a:pt x="224" y="51"/>
                      <a:pt x="224" y="50"/>
                      <a:pt x="224" y="48"/>
                    </a:cubicBezTo>
                    <a:cubicBezTo>
                      <a:pt x="224" y="36"/>
                      <a:pt x="224" y="25"/>
                      <a:pt x="224" y="13"/>
                    </a:cubicBezTo>
                    <a:cubicBezTo>
                      <a:pt x="224" y="11"/>
                      <a:pt x="224" y="8"/>
                      <a:pt x="225" y="5"/>
                    </a:cubicBezTo>
                    <a:cubicBezTo>
                      <a:pt x="226" y="2"/>
                      <a:pt x="229" y="0"/>
                      <a:pt x="233" y="0"/>
                    </a:cubicBezTo>
                    <a:cubicBezTo>
                      <a:pt x="237" y="0"/>
                      <a:pt x="240" y="2"/>
                      <a:pt x="241" y="5"/>
                    </a:cubicBezTo>
                    <a:cubicBezTo>
                      <a:pt x="242" y="8"/>
                      <a:pt x="242" y="10"/>
                      <a:pt x="242" y="13"/>
                    </a:cubicBezTo>
                    <a:cubicBezTo>
                      <a:pt x="242" y="24"/>
                      <a:pt x="242" y="36"/>
                      <a:pt x="242" y="47"/>
                    </a:cubicBezTo>
                    <a:cubicBezTo>
                      <a:pt x="242" y="48"/>
                      <a:pt x="242" y="49"/>
                      <a:pt x="242" y="51"/>
                    </a:cubicBezTo>
                    <a:close/>
                    <a:moveTo>
                      <a:pt x="63" y="119"/>
                    </a:moveTo>
                    <a:cubicBezTo>
                      <a:pt x="63" y="119"/>
                      <a:pt x="63" y="119"/>
                      <a:pt x="63" y="119"/>
                    </a:cubicBezTo>
                    <a:cubicBezTo>
                      <a:pt x="63" y="121"/>
                      <a:pt x="63" y="123"/>
                      <a:pt x="63" y="126"/>
                    </a:cubicBezTo>
                    <a:cubicBezTo>
                      <a:pt x="64" y="128"/>
                      <a:pt x="65" y="129"/>
                      <a:pt x="67" y="129"/>
                    </a:cubicBezTo>
                    <a:cubicBezTo>
                      <a:pt x="72" y="129"/>
                      <a:pt x="76" y="129"/>
                      <a:pt x="81" y="129"/>
                    </a:cubicBezTo>
                    <a:cubicBezTo>
                      <a:pt x="83" y="129"/>
                      <a:pt x="85" y="128"/>
                      <a:pt x="85" y="126"/>
                    </a:cubicBezTo>
                    <a:cubicBezTo>
                      <a:pt x="85" y="121"/>
                      <a:pt x="85" y="116"/>
                      <a:pt x="85" y="112"/>
                    </a:cubicBezTo>
                    <a:cubicBezTo>
                      <a:pt x="85" y="109"/>
                      <a:pt x="83" y="108"/>
                      <a:pt x="81" y="108"/>
                    </a:cubicBezTo>
                    <a:cubicBezTo>
                      <a:pt x="76" y="108"/>
                      <a:pt x="72" y="108"/>
                      <a:pt x="67" y="108"/>
                    </a:cubicBezTo>
                    <a:cubicBezTo>
                      <a:pt x="65" y="108"/>
                      <a:pt x="64" y="109"/>
                      <a:pt x="63" y="112"/>
                    </a:cubicBezTo>
                    <a:cubicBezTo>
                      <a:pt x="63" y="114"/>
                      <a:pt x="63" y="116"/>
                      <a:pt x="63" y="119"/>
                    </a:cubicBezTo>
                    <a:close/>
                    <a:moveTo>
                      <a:pt x="110" y="129"/>
                    </a:moveTo>
                    <a:cubicBezTo>
                      <a:pt x="110" y="129"/>
                      <a:pt x="110" y="129"/>
                      <a:pt x="110" y="129"/>
                    </a:cubicBezTo>
                    <a:cubicBezTo>
                      <a:pt x="113" y="129"/>
                      <a:pt x="115" y="129"/>
                      <a:pt x="117" y="129"/>
                    </a:cubicBezTo>
                    <a:cubicBezTo>
                      <a:pt x="120" y="129"/>
                      <a:pt x="121" y="128"/>
                      <a:pt x="121" y="126"/>
                    </a:cubicBezTo>
                    <a:cubicBezTo>
                      <a:pt x="121" y="121"/>
                      <a:pt x="121" y="116"/>
                      <a:pt x="121" y="112"/>
                    </a:cubicBezTo>
                    <a:cubicBezTo>
                      <a:pt x="121" y="109"/>
                      <a:pt x="120" y="108"/>
                      <a:pt x="117" y="108"/>
                    </a:cubicBezTo>
                    <a:cubicBezTo>
                      <a:pt x="113" y="108"/>
                      <a:pt x="108" y="108"/>
                      <a:pt x="104" y="108"/>
                    </a:cubicBezTo>
                    <a:cubicBezTo>
                      <a:pt x="101" y="108"/>
                      <a:pt x="100" y="109"/>
                      <a:pt x="100" y="112"/>
                    </a:cubicBezTo>
                    <a:cubicBezTo>
                      <a:pt x="100" y="116"/>
                      <a:pt x="100" y="121"/>
                      <a:pt x="100" y="125"/>
                    </a:cubicBezTo>
                    <a:cubicBezTo>
                      <a:pt x="100" y="128"/>
                      <a:pt x="101" y="129"/>
                      <a:pt x="103" y="129"/>
                    </a:cubicBezTo>
                    <a:cubicBezTo>
                      <a:pt x="106" y="129"/>
                      <a:pt x="108" y="129"/>
                      <a:pt x="110" y="129"/>
                    </a:cubicBezTo>
                    <a:close/>
                    <a:moveTo>
                      <a:pt x="27" y="118"/>
                    </a:moveTo>
                    <a:cubicBezTo>
                      <a:pt x="27" y="118"/>
                      <a:pt x="27" y="118"/>
                      <a:pt x="27" y="118"/>
                    </a:cubicBezTo>
                    <a:cubicBezTo>
                      <a:pt x="27" y="121"/>
                      <a:pt x="27" y="123"/>
                      <a:pt x="27" y="126"/>
                    </a:cubicBezTo>
                    <a:cubicBezTo>
                      <a:pt x="27" y="128"/>
                      <a:pt x="28" y="129"/>
                      <a:pt x="31" y="129"/>
                    </a:cubicBezTo>
                    <a:cubicBezTo>
                      <a:pt x="35" y="129"/>
                      <a:pt x="40" y="129"/>
                      <a:pt x="45" y="129"/>
                    </a:cubicBezTo>
                    <a:cubicBezTo>
                      <a:pt x="47" y="129"/>
                      <a:pt x="48" y="128"/>
                      <a:pt x="48" y="125"/>
                    </a:cubicBezTo>
                    <a:cubicBezTo>
                      <a:pt x="48" y="121"/>
                      <a:pt x="48" y="116"/>
                      <a:pt x="48" y="112"/>
                    </a:cubicBezTo>
                    <a:cubicBezTo>
                      <a:pt x="48" y="109"/>
                      <a:pt x="47" y="108"/>
                      <a:pt x="45" y="108"/>
                    </a:cubicBezTo>
                    <a:cubicBezTo>
                      <a:pt x="40" y="108"/>
                      <a:pt x="35" y="108"/>
                      <a:pt x="31" y="108"/>
                    </a:cubicBezTo>
                    <a:cubicBezTo>
                      <a:pt x="28" y="108"/>
                      <a:pt x="27" y="109"/>
                      <a:pt x="27" y="112"/>
                    </a:cubicBezTo>
                    <a:cubicBezTo>
                      <a:pt x="27" y="114"/>
                      <a:pt x="27" y="116"/>
                      <a:pt x="27" y="1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CA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22" name="Freeform 6"/>
              <p:cNvSpPr>
                <a:spLocks/>
              </p:cNvSpPr>
              <p:nvPr/>
            </p:nvSpPr>
            <p:spPr bwMode="auto">
              <a:xfrm>
                <a:off x="4683441" y="2449250"/>
                <a:ext cx="74384" cy="27712"/>
              </a:xfrm>
              <a:custGeom>
                <a:avLst/>
                <a:gdLst>
                  <a:gd name="T0" fmla="*/ 43 w 86"/>
                  <a:gd name="T1" fmla="*/ 0 h 32"/>
                  <a:gd name="T2" fmla="*/ 83 w 86"/>
                  <a:gd name="T3" fmla="*/ 20 h 32"/>
                  <a:gd name="T4" fmla="*/ 81 w 86"/>
                  <a:gd name="T5" fmla="*/ 30 h 32"/>
                  <a:gd name="T6" fmla="*/ 72 w 86"/>
                  <a:gd name="T7" fmla="*/ 29 h 32"/>
                  <a:gd name="T8" fmla="*/ 14 w 86"/>
                  <a:gd name="T9" fmla="*/ 28 h 32"/>
                  <a:gd name="T10" fmla="*/ 5 w 86"/>
                  <a:gd name="T11" fmla="*/ 30 h 32"/>
                  <a:gd name="T12" fmla="*/ 3 w 86"/>
                  <a:gd name="T13" fmla="*/ 20 h 32"/>
                  <a:gd name="T14" fmla="*/ 43 w 86"/>
                  <a:gd name="T1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6" h="32">
                    <a:moveTo>
                      <a:pt x="43" y="0"/>
                    </a:moveTo>
                    <a:cubicBezTo>
                      <a:pt x="60" y="0"/>
                      <a:pt x="73" y="7"/>
                      <a:pt x="83" y="20"/>
                    </a:cubicBezTo>
                    <a:cubicBezTo>
                      <a:pt x="86" y="24"/>
                      <a:pt x="85" y="26"/>
                      <a:pt x="81" y="30"/>
                    </a:cubicBezTo>
                    <a:cubicBezTo>
                      <a:pt x="77" y="32"/>
                      <a:pt x="75" y="32"/>
                      <a:pt x="72" y="29"/>
                    </a:cubicBezTo>
                    <a:cubicBezTo>
                      <a:pt x="57" y="9"/>
                      <a:pt x="30" y="9"/>
                      <a:pt x="14" y="28"/>
                    </a:cubicBezTo>
                    <a:cubicBezTo>
                      <a:pt x="11" y="32"/>
                      <a:pt x="9" y="32"/>
                      <a:pt x="5" y="30"/>
                    </a:cubicBezTo>
                    <a:cubicBezTo>
                      <a:pt x="1" y="26"/>
                      <a:pt x="0" y="24"/>
                      <a:pt x="3" y="20"/>
                    </a:cubicBezTo>
                    <a:cubicBezTo>
                      <a:pt x="13" y="7"/>
                      <a:pt x="26" y="0"/>
                      <a:pt x="4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CA" sz="700" dirty="0" smtClean="0">
                    <a:solidFill>
                      <a:srgbClr val="676767"/>
                    </a:solidFill>
                    <a:latin typeface="Arial"/>
                    <a:cs typeface="Arial" panose="020B0604020202020204" pitchFamily="34" charset="0"/>
                  </a:rPr>
                  <a:t> </a:t>
                </a:r>
                <a:endParaRPr lang="en-CA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23" name="Freeform 7"/>
              <p:cNvSpPr>
                <a:spLocks/>
              </p:cNvSpPr>
              <p:nvPr/>
            </p:nvSpPr>
            <p:spPr bwMode="auto">
              <a:xfrm>
                <a:off x="4700478" y="2463835"/>
                <a:ext cx="42297" cy="23336"/>
              </a:xfrm>
              <a:custGeom>
                <a:avLst/>
                <a:gdLst>
                  <a:gd name="T0" fmla="*/ 49 w 49"/>
                  <a:gd name="T1" fmla="*/ 18 h 27"/>
                  <a:gd name="T2" fmla="*/ 43 w 49"/>
                  <a:gd name="T3" fmla="*/ 26 h 27"/>
                  <a:gd name="T4" fmla="*/ 37 w 49"/>
                  <a:gd name="T5" fmla="*/ 23 h 27"/>
                  <a:gd name="T6" fmla="*/ 13 w 49"/>
                  <a:gd name="T7" fmla="*/ 23 h 27"/>
                  <a:gd name="T8" fmla="*/ 4 w 49"/>
                  <a:gd name="T9" fmla="*/ 24 h 27"/>
                  <a:gd name="T10" fmla="*/ 2 w 49"/>
                  <a:gd name="T11" fmla="*/ 15 h 27"/>
                  <a:gd name="T12" fmla="*/ 47 w 49"/>
                  <a:gd name="T13" fmla="*/ 15 h 27"/>
                  <a:gd name="T14" fmla="*/ 49 w 49"/>
                  <a:gd name="T15" fmla="*/ 18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9" h="27">
                    <a:moveTo>
                      <a:pt x="49" y="18"/>
                    </a:moveTo>
                    <a:cubicBezTo>
                      <a:pt x="49" y="22"/>
                      <a:pt x="46" y="25"/>
                      <a:pt x="43" y="26"/>
                    </a:cubicBezTo>
                    <a:cubicBezTo>
                      <a:pt x="40" y="27"/>
                      <a:pt x="38" y="26"/>
                      <a:pt x="37" y="23"/>
                    </a:cubicBezTo>
                    <a:cubicBezTo>
                      <a:pt x="30" y="15"/>
                      <a:pt x="20" y="15"/>
                      <a:pt x="13" y="23"/>
                    </a:cubicBezTo>
                    <a:cubicBezTo>
                      <a:pt x="10" y="27"/>
                      <a:pt x="8" y="27"/>
                      <a:pt x="4" y="24"/>
                    </a:cubicBezTo>
                    <a:cubicBezTo>
                      <a:pt x="0" y="21"/>
                      <a:pt x="0" y="18"/>
                      <a:pt x="2" y="15"/>
                    </a:cubicBezTo>
                    <a:cubicBezTo>
                      <a:pt x="14" y="0"/>
                      <a:pt x="36" y="0"/>
                      <a:pt x="47" y="15"/>
                    </a:cubicBezTo>
                    <a:cubicBezTo>
                      <a:pt x="48" y="16"/>
                      <a:pt x="49" y="18"/>
                      <a:pt x="49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CA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4" name="Freeform 23"/>
            <p:cNvSpPr>
              <a:spLocks noChangeAspect="1" noEditPoints="1"/>
            </p:cNvSpPr>
            <p:nvPr userDrawn="1"/>
          </p:nvSpPr>
          <p:spPr bwMode="auto">
            <a:xfrm>
              <a:off x="3127956" y="1996035"/>
              <a:ext cx="228600" cy="228231"/>
            </a:xfrm>
            <a:custGeom>
              <a:avLst/>
              <a:gdLst>
                <a:gd name="T0" fmla="*/ 229 w 645"/>
                <a:gd name="T1" fmla="*/ 234 h 644"/>
                <a:gd name="T2" fmla="*/ 347 w 645"/>
                <a:gd name="T3" fmla="*/ 288 h 644"/>
                <a:gd name="T4" fmla="*/ 288 w 645"/>
                <a:gd name="T5" fmla="*/ 296 h 644"/>
                <a:gd name="T6" fmla="*/ 309 w 645"/>
                <a:gd name="T7" fmla="*/ 280 h 644"/>
                <a:gd name="T8" fmla="*/ 426 w 645"/>
                <a:gd name="T9" fmla="*/ 242 h 644"/>
                <a:gd name="T10" fmla="*/ 438 w 645"/>
                <a:gd name="T11" fmla="*/ 251 h 644"/>
                <a:gd name="T12" fmla="*/ 413 w 645"/>
                <a:gd name="T13" fmla="*/ 248 h 644"/>
                <a:gd name="T14" fmla="*/ 408 w 645"/>
                <a:gd name="T15" fmla="*/ 265 h 644"/>
                <a:gd name="T16" fmla="*/ 242 w 645"/>
                <a:gd name="T17" fmla="*/ 360 h 644"/>
                <a:gd name="T18" fmla="*/ 213 w 645"/>
                <a:gd name="T19" fmla="*/ 391 h 644"/>
                <a:gd name="T20" fmla="*/ 261 w 645"/>
                <a:gd name="T21" fmla="*/ 315 h 644"/>
                <a:gd name="T22" fmla="*/ 334 w 645"/>
                <a:gd name="T23" fmla="*/ 331 h 644"/>
                <a:gd name="T24" fmla="*/ 321 w 645"/>
                <a:gd name="T25" fmla="*/ 391 h 644"/>
                <a:gd name="T26" fmla="*/ 392 w 645"/>
                <a:gd name="T27" fmla="*/ 354 h 644"/>
                <a:gd name="T28" fmla="*/ 376 w 645"/>
                <a:gd name="T29" fmla="*/ 316 h 644"/>
                <a:gd name="T30" fmla="*/ 0 w 645"/>
                <a:gd name="T31" fmla="*/ 322 h 644"/>
                <a:gd name="T32" fmla="*/ 526 w 645"/>
                <a:gd name="T33" fmla="*/ 219 h 644"/>
                <a:gd name="T34" fmla="*/ 564 w 645"/>
                <a:gd name="T35" fmla="*/ 354 h 644"/>
                <a:gd name="T36" fmla="*/ 540 w 645"/>
                <a:gd name="T37" fmla="*/ 323 h 644"/>
                <a:gd name="T38" fmla="*/ 572 w 645"/>
                <a:gd name="T39" fmla="*/ 347 h 644"/>
                <a:gd name="T40" fmla="*/ 349 w 645"/>
                <a:gd name="T41" fmla="*/ 409 h 644"/>
                <a:gd name="T42" fmla="*/ 304 w 645"/>
                <a:gd name="T43" fmla="*/ 409 h 644"/>
                <a:gd name="T44" fmla="*/ 120 w 645"/>
                <a:gd name="T45" fmla="*/ 318 h 644"/>
                <a:gd name="T46" fmla="*/ 229 w 645"/>
                <a:gd name="T47" fmla="*/ 177 h 644"/>
                <a:gd name="T48" fmla="*/ 424 w 645"/>
                <a:gd name="T49" fmla="*/ 216 h 644"/>
                <a:gd name="T50" fmla="*/ 475 w 645"/>
                <a:gd name="T51" fmla="*/ 309 h 644"/>
                <a:gd name="T52" fmla="*/ 523 w 645"/>
                <a:gd name="T53" fmla="*/ 227 h 644"/>
                <a:gd name="T54" fmla="*/ 427 w 645"/>
                <a:gd name="T55" fmla="*/ 453 h 644"/>
                <a:gd name="T56" fmla="*/ 325 w 645"/>
                <a:gd name="T57" fmla="*/ 464 h 644"/>
                <a:gd name="T58" fmla="*/ 410 w 645"/>
                <a:gd name="T59" fmla="*/ 391 h 644"/>
                <a:gd name="T60" fmla="*/ 396 w 645"/>
                <a:gd name="T61" fmla="*/ 523 h 644"/>
                <a:gd name="T62" fmla="*/ 420 w 645"/>
                <a:gd name="T63" fmla="*/ 475 h 644"/>
                <a:gd name="T64" fmla="*/ 271 w 645"/>
                <a:gd name="T65" fmla="*/ 482 h 644"/>
                <a:gd name="T66" fmla="*/ 247 w 645"/>
                <a:gd name="T67" fmla="*/ 450 h 644"/>
                <a:gd name="T68" fmla="*/ 279 w 645"/>
                <a:gd name="T69" fmla="*/ 474 h 644"/>
                <a:gd name="T70" fmla="*/ 222 w 645"/>
                <a:gd name="T71" fmla="*/ 113 h 644"/>
                <a:gd name="T72" fmla="*/ 193 w 645"/>
                <a:gd name="T73" fmla="*/ 159 h 644"/>
                <a:gd name="T74" fmla="*/ 447 w 645"/>
                <a:gd name="T75" fmla="*/ 95 h 644"/>
                <a:gd name="T76" fmla="*/ 449 w 645"/>
                <a:gd name="T77" fmla="*/ 145 h 644"/>
                <a:gd name="T78" fmla="*/ 418 w 645"/>
                <a:gd name="T79" fmla="*/ 169 h 644"/>
                <a:gd name="T80" fmla="*/ 442 w 645"/>
                <a:gd name="T81" fmla="*/ 137 h 644"/>
                <a:gd name="T82" fmla="*/ 264 w 645"/>
                <a:gd name="T83" fmla="*/ 121 h 644"/>
                <a:gd name="T84" fmla="*/ 203 w 645"/>
                <a:gd name="T85" fmla="*/ 83 h 644"/>
                <a:gd name="T86" fmla="*/ 153 w 645"/>
                <a:gd name="T87" fmla="*/ 129 h 644"/>
                <a:gd name="T88" fmla="*/ 112 w 645"/>
                <a:gd name="T89" fmla="*/ 315 h 644"/>
                <a:gd name="T90" fmla="*/ 28 w 645"/>
                <a:gd name="T91" fmla="*/ 322 h 644"/>
                <a:gd name="T92" fmla="*/ 92 w 645"/>
                <a:gd name="T93" fmla="*/ 390 h 644"/>
                <a:gd name="T94" fmla="*/ 116 w 645"/>
                <a:gd name="T95" fmla="*/ 342 h 644"/>
                <a:gd name="T96" fmla="*/ 95 w 645"/>
                <a:gd name="T97" fmla="*/ 508 h 644"/>
                <a:gd name="T98" fmla="*/ 104 w 645"/>
                <a:gd name="T99" fmla="*/ 519 h 644"/>
                <a:gd name="T100" fmla="*/ 216 w 645"/>
                <a:gd name="T101" fmla="*/ 596 h 644"/>
                <a:gd name="T102" fmla="*/ 352 w 645"/>
                <a:gd name="T103" fmla="*/ 488 h 644"/>
                <a:gd name="T104" fmla="*/ 402 w 645"/>
                <a:gd name="T105" fmla="*/ 547 h 644"/>
                <a:gd name="T106" fmla="*/ 434 w 645"/>
                <a:gd name="T107" fmla="*/ 457 h 644"/>
                <a:gd name="T108" fmla="*/ 617 w 645"/>
                <a:gd name="T109" fmla="*/ 329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45" h="644">
                  <a:moveTo>
                    <a:pt x="270" y="288"/>
                  </a:moveTo>
                  <a:cubicBezTo>
                    <a:pt x="223" y="288"/>
                    <a:pt x="223" y="288"/>
                    <a:pt x="223" y="288"/>
                  </a:cubicBezTo>
                  <a:cubicBezTo>
                    <a:pt x="223" y="280"/>
                    <a:pt x="223" y="280"/>
                    <a:pt x="223" y="280"/>
                  </a:cubicBezTo>
                  <a:cubicBezTo>
                    <a:pt x="270" y="280"/>
                    <a:pt x="270" y="280"/>
                    <a:pt x="270" y="280"/>
                  </a:cubicBezTo>
                  <a:cubicBezTo>
                    <a:pt x="270" y="288"/>
                    <a:pt x="270" y="288"/>
                    <a:pt x="270" y="288"/>
                  </a:cubicBezTo>
                  <a:close/>
                  <a:moveTo>
                    <a:pt x="229" y="234"/>
                  </a:moveTo>
                  <a:cubicBezTo>
                    <a:pt x="218" y="234"/>
                    <a:pt x="211" y="242"/>
                    <a:pt x="211" y="251"/>
                  </a:cubicBezTo>
                  <a:cubicBezTo>
                    <a:pt x="211" y="296"/>
                    <a:pt x="211" y="296"/>
                    <a:pt x="211" y="296"/>
                  </a:cubicBezTo>
                  <a:cubicBezTo>
                    <a:pt x="282" y="296"/>
                    <a:pt x="282" y="296"/>
                    <a:pt x="282" y="296"/>
                  </a:cubicBezTo>
                  <a:cubicBezTo>
                    <a:pt x="282" y="234"/>
                    <a:pt x="282" y="234"/>
                    <a:pt x="282" y="234"/>
                  </a:cubicBezTo>
                  <a:cubicBezTo>
                    <a:pt x="229" y="234"/>
                    <a:pt x="229" y="234"/>
                    <a:pt x="229" y="234"/>
                  </a:cubicBezTo>
                  <a:close/>
                  <a:moveTo>
                    <a:pt x="347" y="288"/>
                  </a:moveTo>
                  <a:cubicBezTo>
                    <a:pt x="301" y="288"/>
                    <a:pt x="301" y="288"/>
                    <a:pt x="301" y="288"/>
                  </a:cubicBezTo>
                  <a:cubicBezTo>
                    <a:pt x="301" y="242"/>
                    <a:pt x="301" y="242"/>
                    <a:pt x="301" y="242"/>
                  </a:cubicBezTo>
                  <a:cubicBezTo>
                    <a:pt x="347" y="242"/>
                    <a:pt x="347" y="242"/>
                    <a:pt x="347" y="242"/>
                  </a:cubicBezTo>
                  <a:cubicBezTo>
                    <a:pt x="347" y="288"/>
                    <a:pt x="347" y="288"/>
                    <a:pt x="347" y="288"/>
                  </a:cubicBezTo>
                  <a:close/>
                  <a:moveTo>
                    <a:pt x="288" y="234"/>
                  </a:moveTo>
                  <a:cubicBezTo>
                    <a:pt x="288" y="296"/>
                    <a:pt x="288" y="296"/>
                    <a:pt x="288" y="296"/>
                  </a:cubicBezTo>
                  <a:cubicBezTo>
                    <a:pt x="361" y="296"/>
                    <a:pt x="361" y="296"/>
                    <a:pt x="361" y="296"/>
                  </a:cubicBezTo>
                  <a:cubicBezTo>
                    <a:pt x="361" y="234"/>
                    <a:pt x="361" y="234"/>
                    <a:pt x="361" y="234"/>
                  </a:cubicBezTo>
                  <a:cubicBezTo>
                    <a:pt x="288" y="234"/>
                    <a:pt x="288" y="234"/>
                    <a:pt x="288" y="234"/>
                  </a:cubicBezTo>
                  <a:close/>
                  <a:moveTo>
                    <a:pt x="341" y="249"/>
                  </a:moveTo>
                  <a:cubicBezTo>
                    <a:pt x="309" y="249"/>
                    <a:pt x="309" y="249"/>
                    <a:pt x="309" y="249"/>
                  </a:cubicBezTo>
                  <a:cubicBezTo>
                    <a:pt x="309" y="280"/>
                    <a:pt x="309" y="280"/>
                    <a:pt x="309" y="280"/>
                  </a:cubicBezTo>
                  <a:cubicBezTo>
                    <a:pt x="341" y="280"/>
                    <a:pt x="341" y="280"/>
                    <a:pt x="341" y="280"/>
                  </a:cubicBezTo>
                  <a:cubicBezTo>
                    <a:pt x="341" y="249"/>
                    <a:pt x="341" y="249"/>
                    <a:pt x="341" y="249"/>
                  </a:cubicBezTo>
                  <a:moveTo>
                    <a:pt x="426" y="288"/>
                  </a:moveTo>
                  <a:cubicBezTo>
                    <a:pt x="379" y="288"/>
                    <a:pt x="379" y="288"/>
                    <a:pt x="379" y="288"/>
                  </a:cubicBezTo>
                  <a:cubicBezTo>
                    <a:pt x="379" y="242"/>
                    <a:pt x="379" y="242"/>
                    <a:pt x="379" y="242"/>
                  </a:cubicBezTo>
                  <a:cubicBezTo>
                    <a:pt x="426" y="242"/>
                    <a:pt x="426" y="242"/>
                    <a:pt x="426" y="242"/>
                  </a:cubicBezTo>
                  <a:cubicBezTo>
                    <a:pt x="426" y="288"/>
                    <a:pt x="426" y="288"/>
                    <a:pt x="426" y="288"/>
                  </a:cubicBezTo>
                  <a:close/>
                  <a:moveTo>
                    <a:pt x="421" y="234"/>
                  </a:moveTo>
                  <a:cubicBezTo>
                    <a:pt x="367" y="234"/>
                    <a:pt x="367" y="234"/>
                    <a:pt x="367" y="234"/>
                  </a:cubicBezTo>
                  <a:cubicBezTo>
                    <a:pt x="367" y="296"/>
                    <a:pt x="367" y="296"/>
                    <a:pt x="367" y="296"/>
                  </a:cubicBezTo>
                  <a:cubicBezTo>
                    <a:pt x="438" y="296"/>
                    <a:pt x="438" y="296"/>
                    <a:pt x="438" y="296"/>
                  </a:cubicBezTo>
                  <a:cubicBezTo>
                    <a:pt x="438" y="251"/>
                    <a:pt x="438" y="251"/>
                    <a:pt x="438" y="251"/>
                  </a:cubicBezTo>
                  <a:cubicBezTo>
                    <a:pt x="438" y="242"/>
                    <a:pt x="431" y="234"/>
                    <a:pt x="421" y="234"/>
                  </a:cubicBezTo>
                  <a:close/>
                  <a:moveTo>
                    <a:pt x="385" y="254"/>
                  </a:moveTo>
                  <a:cubicBezTo>
                    <a:pt x="385" y="276"/>
                    <a:pt x="385" y="276"/>
                    <a:pt x="385" y="276"/>
                  </a:cubicBezTo>
                  <a:cubicBezTo>
                    <a:pt x="396" y="265"/>
                    <a:pt x="396" y="265"/>
                    <a:pt x="396" y="265"/>
                  </a:cubicBezTo>
                  <a:cubicBezTo>
                    <a:pt x="385" y="254"/>
                    <a:pt x="385" y="254"/>
                    <a:pt x="385" y="254"/>
                  </a:cubicBezTo>
                  <a:moveTo>
                    <a:pt x="413" y="248"/>
                  </a:moveTo>
                  <a:cubicBezTo>
                    <a:pt x="391" y="248"/>
                    <a:pt x="391" y="248"/>
                    <a:pt x="391" y="248"/>
                  </a:cubicBezTo>
                  <a:cubicBezTo>
                    <a:pt x="402" y="259"/>
                    <a:pt x="402" y="259"/>
                    <a:pt x="402" y="259"/>
                  </a:cubicBezTo>
                  <a:cubicBezTo>
                    <a:pt x="413" y="248"/>
                    <a:pt x="413" y="248"/>
                    <a:pt x="413" y="248"/>
                  </a:cubicBezTo>
                  <a:moveTo>
                    <a:pt x="420" y="276"/>
                  </a:moveTo>
                  <a:cubicBezTo>
                    <a:pt x="420" y="253"/>
                    <a:pt x="420" y="253"/>
                    <a:pt x="420" y="253"/>
                  </a:cubicBezTo>
                  <a:cubicBezTo>
                    <a:pt x="408" y="265"/>
                    <a:pt x="408" y="265"/>
                    <a:pt x="408" y="265"/>
                  </a:cubicBezTo>
                  <a:cubicBezTo>
                    <a:pt x="420" y="276"/>
                    <a:pt x="420" y="276"/>
                    <a:pt x="420" y="276"/>
                  </a:cubicBezTo>
                  <a:moveTo>
                    <a:pt x="391" y="281"/>
                  </a:moveTo>
                  <a:cubicBezTo>
                    <a:pt x="413" y="281"/>
                    <a:pt x="413" y="281"/>
                    <a:pt x="413" y="281"/>
                  </a:cubicBezTo>
                  <a:cubicBezTo>
                    <a:pt x="402" y="270"/>
                    <a:pt x="402" y="270"/>
                    <a:pt x="402" y="270"/>
                  </a:cubicBezTo>
                  <a:cubicBezTo>
                    <a:pt x="391" y="281"/>
                    <a:pt x="391" y="281"/>
                    <a:pt x="391" y="281"/>
                  </a:cubicBezTo>
                  <a:moveTo>
                    <a:pt x="242" y="360"/>
                  </a:moveTo>
                  <a:cubicBezTo>
                    <a:pt x="253" y="336"/>
                    <a:pt x="253" y="336"/>
                    <a:pt x="253" y="336"/>
                  </a:cubicBezTo>
                  <a:cubicBezTo>
                    <a:pt x="263" y="360"/>
                    <a:pt x="263" y="360"/>
                    <a:pt x="263" y="360"/>
                  </a:cubicBezTo>
                  <a:cubicBezTo>
                    <a:pt x="242" y="360"/>
                    <a:pt x="242" y="360"/>
                    <a:pt x="242" y="360"/>
                  </a:cubicBezTo>
                  <a:close/>
                  <a:moveTo>
                    <a:pt x="261" y="315"/>
                  </a:moveTo>
                  <a:cubicBezTo>
                    <a:pt x="245" y="315"/>
                    <a:pt x="245" y="315"/>
                    <a:pt x="245" y="315"/>
                  </a:cubicBezTo>
                  <a:cubicBezTo>
                    <a:pt x="213" y="391"/>
                    <a:pt x="213" y="391"/>
                    <a:pt x="213" y="391"/>
                  </a:cubicBezTo>
                  <a:cubicBezTo>
                    <a:pt x="230" y="391"/>
                    <a:pt x="230" y="391"/>
                    <a:pt x="230" y="391"/>
                  </a:cubicBezTo>
                  <a:cubicBezTo>
                    <a:pt x="236" y="374"/>
                    <a:pt x="236" y="374"/>
                    <a:pt x="236" y="374"/>
                  </a:cubicBezTo>
                  <a:cubicBezTo>
                    <a:pt x="269" y="374"/>
                    <a:pt x="269" y="374"/>
                    <a:pt x="269" y="374"/>
                  </a:cubicBezTo>
                  <a:cubicBezTo>
                    <a:pt x="275" y="391"/>
                    <a:pt x="275" y="391"/>
                    <a:pt x="275" y="391"/>
                  </a:cubicBezTo>
                  <a:cubicBezTo>
                    <a:pt x="293" y="391"/>
                    <a:pt x="293" y="391"/>
                    <a:pt x="293" y="391"/>
                  </a:cubicBezTo>
                  <a:cubicBezTo>
                    <a:pt x="261" y="315"/>
                    <a:pt x="261" y="315"/>
                    <a:pt x="261" y="315"/>
                  </a:cubicBezTo>
                  <a:close/>
                  <a:moveTo>
                    <a:pt x="334" y="331"/>
                  </a:moveTo>
                  <a:cubicBezTo>
                    <a:pt x="337" y="331"/>
                    <a:pt x="347" y="332"/>
                    <a:pt x="347" y="343"/>
                  </a:cubicBezTo>
                  <a:cubicBezTo>
                    <a:pt x="347" y="354"/>
                    <a:pt x="334" y="354"/>
                    <a:pt x="334" y="354"/>
                  </a:cubicBezTo>
                  <a:cubicBezTo>
                    <a:pt x="321" y="354"/>
                    <a:pt x="321" y="354"/>
                    <a:pt x="321" y="354"/>
                  </a:cubicBezTo>
                  <a:cubicBezTo>
                    <a:pt x="321" y="331"/>
                    <a:pt x="321" y="331"/>
                    <a:pt x="321" y="331"/>
                  </a:cubicBezTo>
                  <a:cubicBezTo>
                    <a:pt x="334" y="331"/>
                    <a:pt x="334" y="331"/>
                    <a:pt x="334" y="331"/>
                  </a:cubicBezTo>
                  <a:close/>
                  <a:moveTo>
                    <a:pt x="333" y="369"/>
                  </a:moveTo>
                  <a:cubicBezTo>
                    <a:pt x="363" y="369"/>
                    <a:pt x="364" y="343"/>
                    <a:pt x="364" y="343"/>
                  </a:cubicBezTo>
                  <a:cubicBezTo>
                    <a:pt x="364" y="315"/>
                    <a:pt x="335" y="316"/>
                    <a:pt x="335" y="316"/>
                  </a:cubicBezTo>
                  <a:cubicBezTo>
                    <a:pt x="304" y="316"/>
                    <a:pt x="304" y="316"/>
                    <a:pt x="304" y="316"/>
                  </a:cubicBezTo>
                  <a:cubicBezTo>
                    <a:pt x="304" y="391"/>
                    <a:pt x="304" y="391"/>
                    <a:pt x="304" y="391"/>
                  </a:cubicBezTo>
                  <a:cubicBezTo>
                    <a:pt x="321" y="391"/>
                    <a:pt x="321" y="391"/>
                    <a:pt x="321" y="391"/>
                  </a:cubicBezTo>
                  <a:cubicBezTo>
                    <a:pt x="321" y="369"/>
                    <a:pt x="321" y="369"/>
                    <a:pt x="321" y="369"/>
                  </a:cubicBezTo>
                  <a:cubicBezTo>
                    <a:pt x="333" y="369"/>
                    <a:pt x="333" y="369"/>
                    <a:pt x="333" y="369"/>
                  </a:cubicBezTo>
                  <a:close/>
                  <a:moveTo>
                    <a:pt x="405" y="331"/>
                  </a:moveTo>
                  <a:cubicBezTo>
                    <a:pt x="409" y="331"/>
                    <a:pt x="418" y="332"/>
                    <a:pt x="418" y="343"/>
                  </a:cubicBezTo>
                  <a:cubicBezTo>
                    <a:pt x="418" y="354"/>
                    <a:pt x="405" y="354"/>
                    <a:pt x="405" y="354"/>
                  </a:cubicBezTo>
                  <a:cubicBezTo>
                    <a:pt x="392" y="354"/>
                    <a:pt x="392" y="354"/>
                    <a:pt x="392" y="354"/>
                  </a:cubicBezTo>
                  <a:cubicBezTo>
                    <a:pt x="392" y="331"/>
                    <a:pt x="392" y="331"/>
                    <a:pt x="392" y="331"/>
                  </a:cubicBezTo>
                  <a:cubicBezTo>
                    <a:pt x="405" y="331"/>
                    <a:pt x="405" y="331"/>
                    <a:pt x="405" y="331"/>
                  </a:cubicBezTo>
                  <a:close/>
                  <a:moveTo>
                    <a:pt x="405" y="369"/>
                  </a:moveTo>
                  <a:cubicBezTo>
                    <a:pt x="435" y="369"/>
                    <a:pt x="435" y="343"/>
                    <a:pt x="435" y="343"/>
                  </a:cubicBezTo>
                  <a:cubicBezTo>
                    <a:pt x="435" y="315"/>
                    <a:pt x="406" y="316"/>
                    <a:pt x="406" y="316"/>
                  </a:cubicBezTo>
                  <a:cubicBezTo>
                    <a:pt x="376" y="316"/>
                    <a:pt x="376" y="316"/>
                    <a:pt x="376" y="316"/>
                  </a:cubicBezTo>
                  <a:cubicBezTo>
                    <a:pt x="376" y="391"/>
                    <a:pt x="376" y="391"/>
                    <a:pt x="376" y="391"/>
                  </a:cubicBezTo>
                  <a:cubicBezTo>
                    <a:pt x="392" y="391"/>
                    <a:pt x="392" y="391"/>
                    <a:pt x="392" y="391"/>
                  </a:cubicBezTo>
                  <a:cubicBezTo>
                    <a:pt x="392" y="369"/>
                    <a:pt x="392" y="369"/>
                    <a:pt x="392" y="369"/>
                  </a:cubicBezTo>
                  <a:cubicBezTo>
                    <a:pt x="405" y="369"/>
                    <a:pt x="405" y="369"/>
                    <a:pt x="405" y="369"/>
                  </a:cubicBezTo>
                  <a:close/>
                  <a:moveTo>
                    <a:pt x="323" y="0"/>
                  </a:moveTo>
                  <a:cubicBezTo>
                    <a:pt x="145" y="0"/>
                    <a:pt x="0" y="144"/>
                    <a:pt x="0" y="322"/>
                  </a:cubicBezTo>
                  <a:cubicBezTo>
                    <a:pt x="0" y="500"/>
                    <a:pt x="145" y="644"/>
                    <a:pt x="323" y="644"/>
                  </a:cubicBezTo>
                  <a:cubicBezTo>
                    <a:pt x="500" y="644"/>
                    <a:pt x="645" y="500"/>
                    <a:pt x="645" y="322"/>
                  </a:cubicBezTo>
                  <a:cubicBezTo>
                    <a:pt x="645" y="144"/>
                    <a:pt x="500" y="0"/>
                    <a:pt x="323" y="0"/>
                  </a:cubicBezTo>
                  <a:close/>
                  <a:moveTo>
                    <a:pt x="617" y="307"/>
                  </a:moveTo>
                  <a:cubicBezTo>
                    <a:pt x="615" y="308"/>
                    <a:pt x="614" y="309"/>
                    <a:pt x="612" y="309"/>
                  </a:cubicBezTo>
                  <a:cubicBezTo>
                    <a:pt x="585" y="273"/>
                    <a:pt x="555" y="243"/>
                    <a:pt x="526" y="219"/>
                  </a:cubicBezTo>
                  <a:cubicBezTo>
                    <a:pt x="538" y="182"/>
                    <a:pt x="545" y="150"/>
                    <a:pt x="547" y="132"/>
                  </a:cubicBezTo>
                  <a:cubicBezTo>
                    <a:pt x="588" y="180"/>
                    <a:pt x="613" y="241"/>
                    <a:pt x="617" y="307"/>
                  </a:cubicBezTo>
                  <a:close/>
                  <a:moveTo>
                    <a:pt x="588" y="363"/>
                  </a:moveTo>
                  <a:cubicBezTo>
                    <a:pt x="590" y="365"/>
                    <a:pt x="590" y="368"/>
                    <a:pt x="588" y="370"/>
                  </a:cubicBezTo>
                  <a:cubicBezTo>
                    <a:pt x="586" y="373"/>
                    <a:pt x="582" y="373"/>
                    <a:pt x="580" y="370"/>
                  </a:cubicBezTo>
                  <a:cubicBezTo>
                    <a:pt x="566" y="356"/>
                    <a:pt x="564" y="354"/>
                    <a:pt x="564" y="354"/>
                  </a:cubicBezTo>
                  <a:cubicBezTo>
                    <a:pt x="550" y="368"/>
                    <a:pt x="548" y="370"/>
                    <a:pt x="548" y="370"/>
                  </a:cubicBezTo>
                  <a:cubicBezTo>
                    <a:pt x="546" y="373"/>
                    <a:pt x="543" y="373"/>
                    <a:pt x="540" y="370"/>
                  </a:cubicBezTo>
                  <a:cubicBezTo>
                    <a:pt x="538" y="368"/>
                    <a:pt x="538" y="365"/>
                    <a:pt x="540" y="363"/>
                  </a:cubicBezTo>
                  <a:cubicBezTo>
                    <a:pt x="554" y="349"/>
                    <a:pt x="556" y="347"/>
                    <a:pt x="556" y="347"/>
                  </a:cubicBezTo>
                  <a:cubicBezTo>
                    <a:pt x="542" y="333"/>
                    <a:pt x="540" y="330"/>
                    <a:pt x="540" y="330"/>
                  </a:cubicBezTo>
                  <a:cubicBezTo>
                    <a:pt x="538" y="328"/>
                    <a:pt x="538" y="325"/>
                    <a:pt x="540" y="323"/>
                  </a:cubicBezTo>
                  <a:cubicBezTo>
                    <a:pt x="543" y="320"/>
                    <a:pt x="546" y="320"/>
                    <a:pt x="548" y="323"/>
                  </a:cubicBezTo>
                  <a:cubicBezTo>
                    <a:pt x="562" y="337"/>
                    <a:pt x="564" y="339"/>
                    <a:pt x="564" y="339"/>
                  </a:cubicBezTo>
                  <a:cubicBezTo>
                    <a:pt x="580" y="323"/>
                    <a:pt x="580" y="323"/>
                    <a:pt x="580" y="323"/>
                  </a:cubicBezTo>
                  <a:cubicBezTo>
                    <a:pt x="582" y="321"/>
                    <a:pt x="586" y="321"/>
                    <a:pt x="588" y="323"/>
                  </a:cubicBezTo>
                  <a:cubicBezTo>
                    <a:pt x="590" y="325"/>
                    <a:pt x="590" y="329"/>
                    <a:pt x="588" y="331"/>
                  </a:cubicBezTo>
                  <a:cubicBezTo>
                    <a:pt x="574" y="345"/>
                    <a:pt x="572" y="347"/>
                    <a:pt x="572" y="347"/>
                  </a:cubicBezTo>
                  <a:cubicBezTo>
                    <a:pt x="586" y="361"/>
                    <a:pt x="588" y="363"/>
                    <a:pt x="588" y="363"/>
                  </a:cubicBezTo>
                  <a:close/>
                  <a:moveTo>
                    <a:pt x="390" y="409"/>
                  </a:moveTo>
                  <a:cubicBezTo>
                    <a:pt x="374" y="423"/>
                    <a:pt x="355" y="437"/>
                    <a:pt x="334" y="450"/>
                  </a:cubicBezTo>
                  <a:cubicBezTo>
                    <a:pt x="337" y="445"/>
                    <a:pt x="340" y="440"/>
                    <a:pt x="343" y="435"/>
                  </a:cubicBezTo>
                  <a:cubicBezTo>
                    <a:pt x="348" y="427"/>
                    <a:pt x="353" y="418"/>
                    <a:pt x="358" y="409"/>
                  </a:cubicBezTo>
                  <a:cubicBezTo>
                    <a:pt x="349" y="409"/>
                    <a:pt x="349" y="409"/>
                    <a:pt x="349" y="409"/>
                  </a:cubicBezTo>
                  <a:cubicBezTo>
                    <a:pt x="344" y="417"/>
                    <a:pt x="340" y="424"/>
                    <a:pt x="336" y="431"/>
                  </a:cubicBezTo>
                  <a:cubicBezTo>
                    <a:pt x="331" y="440"/>
                    <a:pt x="325" y="449"/>
                    <a:pt x="320" y="458"/>
                  </a:cubicBezTo>
                  <a:cubicBezTo>
                    <a:pt x="320" y="458"/>
                    <a:pt x="319" y="458"/>
                    <a:pt x="319" y="458"/>
                  </a:cubicBezTo>
                  <a:cubicBezTo>
                    <a:pt x="318" y="455"/>
                    <a:pt x="317" y="452"/>
                    <a:pt x="315" y="449"/>
                  </a:cubicBezTo>
                  <a:cubicBezTo>
                    <a:pt x="315" y="435"/>
                    <a:pt x="313" y="422"/>
                    <a:pt x="312" y="409"/>
                  </a:cubicBezTo>
                  <a:cubicBezTo>
                    <a:pt x="304" y="409"/>
                    <a:pt x="304" y="409"/>
                    <a:pt x="304" y="409"/>
                  </a:cubicBezTo>
                  <a:cubicBezTo>
                    <a:pt x="305" y="418"/>
                    <a:pt x="306" y="428"/>
                    <a:pt x="307" y="438"/>
                  </a:cubicBezTo>
                  <a:cubicBezTo>
                    <a:pt x="297" y="429"/>
                    <a:pt x="285" y="423"/>
                    <a:pt x="271" y="423"/>
                  </a:cubicBezTo>
                  <a:cubicBezTo>
                    <a:pt x="254" y="423"/>
                    <a:pt x="240" y="431"/>
                    <a:pt x="230" y="444"/>
                  </a:cubicBezTo>
                  <a:cubicBezTo>
                    <a:pt x="197" y="428"/>
                    <a:pt x="167" y="408"/>
                    <a:pt x="142" y="387"/>
                  </a:cubicBezTo>
                  <a:cubicBezTo>
                    <a:pt x="146" y="380"/>
                    <a:pt x="148" y="372"/>
                    <a:pt x="148" y="363"/>
                  </a:cubicBezTo>
                  <a:cubicBezTo>
                    <a:pt x="148" y="343"/>
                    <a:pt x="137" y="326"/>
                    <a:pt x="120" y="318"/>
                  </a:cubicBezTo>
                  <a:cubicBezTo>
                    <a:pt x="137" y="263"/>
                    <a:pt x="160" y="217"/>
                    <a:pt x="183" y="180"/>
                  </a:cubicBezTo>
                  <a:cubicBezTo>
                    <a:pt x="189" y="183"/>
                    <a:pt x="196" y="184"/>
                    <a:pt x="203" y="184"/>
                  </a:cubicBezTo>
                  <a:cubicBezTo>
                    <a:pt x="210" y="184"/>
                    <a:pt x="216" y="183"/>
                    <a:pt x="221" y="181"/>
                  </a:cubicBezTo>
                  <a:cubicBezTo>
                    <a:pt x="229" y="191"/>
                    <a:pt x="236" y="203"/>
                    <a:pt x="243" y="216"/>
                  </a:cubicBezTo>
                  <a:cubicBezTo>
                    <a:pt x="252" y="216"/>
                    <a:pt x="252" y="216"/>
                    <a:pt x="252" y="216"/>
                  </a:cubicBezTo>
                  <a:cubicBezTo>
                    <a:pt x="244" y="201"/>
                    <a:pt x="237" y="188"/>
                    <a:pt x="229" y="177"/>
                  </a:cubicBezTo>
                  <a:cubicBezTo>
                    <a:pt x="244" y="168"/>
                    <a:pt x="254" y="152"/>
                    <a:pt x="254" y="134"/>
                  </a:cubicBezTo>
                  <a:cubicBezTo>
                    <a:pt x="254" y="132"/>
                    <a:pt x="254" y="131"/>
                    <a:pt x="253" y="129"/>
                  </a:cubicBezTo>
                  <a:cubicBezTo>
                    <a:pt x="257" y="129"/>
                    <a:pt x="260" y="129"/>
                    <a:pt x="264" y="129"/>
                  </a:cubicBezTo>
                  <a:cubicBezTo>
                    <a:pt x="302" y="131"/>
                    <a:pt x="346" y="138"/>
                    <a:pt x="392" y="154"/>
                  </a:cubicBezTo>
                  <a:cubicBezTo>
                    <a:pt x="395" y="173"/>
                    <a:pt x="410" y="189"/>
                    <a:pt x="429" y="194"/>
                  </a:cubicBezTo>
                  <a:cubicBezTo>
                    <a:pt x="427" y="201"/>
                    <a:pt x="426" y="209"/>
                    <a:pt x="424" y="216"/>
                  </a:cubicBezTo>
                  <a:cubicBezTo>
                    <a:pt x="427" y="216"/>
                    <a:pt x="429" y="217"/>
                    <a:pt x="432" y="218"/>
                  </a:cubicBezTo>
                  <a:cubicBezTo>
                    <a:pt x="434" y="210"/>
                    <a:pt x="435" y="203"/>
                    <a:pt x="437" y="196"/>
                  </a:cubicBezTo>
                  <a:cubicBezTo>
                    <a:pt x="438" y="196"/>
                    <a:pt x="440" y="196"/>
                    <a:pt x="442" y="196"/>
                  </a:cubicBezTo>
                  <a:cubicBezTo>
                    <a:pt x="451" y="196"/>
                    <a:pt x="460" y="193"/>
                    <a:pt x="467" y="189"/>
                  </a:cubicBezTo>
                  <a:cubicBezTo>
                    <a:pt x="484" y="198"/>
                    <a:pt x="500" y="209"/>
                    <a:pt x="516" y="222"/>
                  </a:cubicBezTo>
                  <a:cubicBezTo>
                    <a:pt x="506" y="249"/>
                    <a:pt x="493" y="279"/>
                    <a:pt x="475" y="309"/>
                  </a:cubicBezTo>
                  <a:cubicBezTo>
                    <a:pt x="468" y="319"/>
                    <a:pt x="462" y="330"/>
                    <a:pt x="454" y="340"/>
                  </a:cubicBezTo>
                  <a:cubicBezTo>
                    <a:pt x="454" y="341"/>
                    <a:pt x="454" y="341"/>
                    <a:pt x="454" y="342"/>
                  </a:cubicBezTo>
                  <a:cubicBezTo>
                    <a:pt x="454" y="342"/>
                    <a:pt x="454" y="342"/>
                    <a:pt x="454" y="342"/>
                  </a:cubicBezTo>
                  <a:cubicBezTo>
                    <a:pt x="454" y="346"/>
                    <a:pt x="454" y="351"/>
                    <a:pt x="452" y="356"/>
                  </a:cubicBezTo>
                  <a:cubicBezTo>
                    <a:pt x="463" y="342"/>
                    <a:pt x="473" y="327"/>
                    <a:pt x="481" y="313"/>
                  </a:cubicBezTo>
                  <a:cubicBezTo>
                    <a:pt x="500" y="284"/>
                    <a:pt x="513" y="254"/>
                    <a:pt x="523" y="227"/>
                  </a:cubicBezTo>
                  <a:cubicBezTo>
                    <a:pt x="551" y="250"/>
                    <a:pt x="579" y="279"/>
                    <a:pt x="605" y="313"/>
                  </a:cubicBezTo>
                  <a:cubicBezTo>
                    <a:pt x="605" y="314"/>
                    <a:pt x="604" y="314"/>
                    <a:pt x="603" y="314"/>
                  </a:cubicBezTo>
                  <a:cubicBezTo>
                    <a:pt x="594" y="303"/>
                    <a:pt x="580" y="296"/>
                    <a:pt x="564" y="296"/>
                  </a:cubicBezTo>
                  <a:cubicBezTo>
                    <a:pt x="536" y="296"/>
                    <a:pt x="514" y="319"/>
                    <a:pt x="514" y="347"/>
                  </a:cubicBezTo>
                  <a:cubicBezTo>
                    <a:pt x="514" y="355"/>
                    <a:pt x="516" y="362"/>
                    <a:pt x="519" y="369"/>
                  </a:cubicBezTo>
                  <a:cubicBezTo>
                    <a:pt x="490" y="391"/>
                    <a:pt x="458" y="419"/>
                    <a:pt x="427" y="453"/>
                  </a:cubicBezTo>
                  <a:cubicBezTo>
                    <a:pt x="420" y="448"/>
                    <a:pt x="411" y="446"/>
                    <a:pt x="402" y="446"/>
                  </a:cubicBezTo>
                  <a:cubicBezTo>
                    <a:pt x="380" y="446"/>
                    <a:pt x="361" y="460"/>
                    <a:pt x="354" y="480"/>
                  </a:cubicBezTo>
                  <a:cubicBezTo>
                    <a:pt x="341" y="478"/>
                    <a:pt x="330" y="476"/>
                    <a:pt x="322" y="475"/>
                  </a:cubicBezTo>
                  <a:cubicBezTo>
                    <a:pt x="322" y="474"/>
                    <a:pt x="322" y="474"/>
                    <a:pt x="322" y="474"/>
                  </a:cubicBezTo>
                  <a:cubicBezTo>
                    <a:pt x="322" y="473"/>
                    <a:pt x="322" y="471"/>
                    <a:pt x="321" y="470"/>
                  </a:cubicBezTo>
                  <a:cubicBezTo>
                    <a:pt x="323" y="468"/>
                    <a:pt x="324" y="466"/>
                    <a:pt x="325" y="464"/>
                  </a:cubicBezTo>
                  <a:cubicBezTo>
                    <a:pt x="369" y="440"/>
                    <a:pt x="404" y="410"/>
                    <a:pt x="431" y="380"/>
                  </a:cubicBezTo>
                  <a:cubicBezTo>
                    <a:pt x="428" y="382"/>
                    <a:pt x="425" y="383"/>
                    <a:pt x="420" y="384"/>
                  </a:cubicBezTo>
                  <a:cubicBezTo>
                    <a:pt x="420" y="385"/>
                    <a:pt x="420" y="385"/>
                    <a:pt x="420" y="385"/>
                  </a:cubicBezTo>
                  <a:cubicBezTo>
                    <a:pt x="419" y="385"/>
                    <a:pt x="419" y="385"/>
                    <a:pt x="418" y="385"/>
                  </a:cubicBezTo>
                  <a:cubicBezTo>
                    <a:pt x="417" y="385"/>
                    <a:pt x="416" y="386"/>
                    <a:pt x="415" y="386"/>
                  </a:cubicBezTo>
                  <a:cubicBezTo>
                    <a:pt x="413" y="388"/>
                    <a:pt x="412" y="389"/>
                    <a:pt x="410" y="391"/>
                  </a:cubicBezTo>
                  <a:cubicBezTo>
                    <a:pt x="410" y="391"/>
                    <a:pt x="410" y="391"/>
                    <a:pt x="410" y="391"/>
                  </a:cubicBezTo>
                  <a:cubicBezTo>
                    <a:pt x="410" y="391"/>
                    <a:pt x="396" y="404"/>
                    <a:pt x="390" y="409"/>
                  </a:cubicBezTo>
                  <a:close/>
                  <a:moveTo>
                    <a:pt x="430" y="482"/>
                  </a:moveTo>
                  <a:cubicBezTo>
                    <a:pt x="430" y="482"/>
                    <a:pt x="430" y="482"/>
                    <a:pt x="400" y="521"/>
                  </a:cubicBezTo>
                  <a:cubicBezTo>
                    <a:pt x="399" y="522"/>
                    <a:pt x="398" y="523"/>
                    <a:pt x="396" y="523"/>
                  </a:cubicBezTo>
                  <a:cubicBezTo>
                    <a:pt x="396" y="523"/>
                    <a:pt x="396" y="523"/>
                    <a:pt x="396" y="523"/>
                  </a:cubicBezTo>
                  <a:cubicBezTo>
                    <a:pt x="394" y="523"/>
                    <a:pt x="393" y="523"/>
                    <a:pt x="392" y="522"/>
                  </a:cubicBezTo>
                  <a:cubicBezTo>
                    <a:pt x="392" y="522"/>
                    <a:pt x="392" y="522"/>
                    <a:pt x="371" y="502"/>
                  </a:cubicBezTo>
                  <a:cubicBezTo>
                    <a:pt x="368" y="500"/>
                    <a:pt x="368" y="496"/>
                    <a:pt x="370" y="494"/>
                  </a:cubicBezTo>
                  <a:cubicBezTo>
                    <a:pt x="372" y="491"/>
                    <a:pt x="376" y="491"/>
                    <a:pt x="378" y="493"/>
                  </a:cubicBezTo>
                  <a:cubicBezTo>
                    <a:pt x="378" y="493"/>
                    <a:pt x="378" y="493"/>
                    <a:pt x="395" y="509"/>
                  </a:cubicBezTo>
                  <a:cubicBezTo>
                    <a:pt x="395" y="509"/>
                    <a:pt x="395" y="509"/>
                    <a:pt x="420" y="475"/>
                  </a:cubicBezTo>
                  <a:cubicBezTo>
                    <a:pt x="422" y="473"/>
                    <a:pt x="426" y="472"/>
                    <a:pt x="428" y="474"/>
                  </a:cubicBezTo>
                  <a:cubicBezTo>
                    <a:pt x="431" y="476"/>
                    <a:pt x="431" y="480"/>
                    <a:pt x="430" y="482"/>
                  </a:cubicBezTo>
                  <a:close/>
                  <a:moveTo>
                    <a:pt x="295" y="490"/>
                  </a:moveTo>
                  <a:cubicBezTo>
                    <a:pt x="297" y="492"/>
                    <a:pt x="297" y="495"/>
                    <a:pt x="295" y="498"/>
                  </a:cubicBezTo>
                  <a:cubicBezTo>
                    <a:pt x="293" y="500"/>
                    <a:pt x="289" y="500"/>
                    <a:pt x="287" y="498"/>
                  </a:cubicBezTo>
                  <a:cubicBezTo>
                    <a:pt x="273" y="484"/>
                    <a:pt x="271" y="482"/>
                    <a:pt x="271" y="482"/>
                  </a:cubicBezTo>
                  <a:cubicBezTo>
                    <a:pt x="257" y="496"/>
                    <a:pt x="255" y="498"/>
                    <a:pt x="255" y="498"/>
                  </a:cubicBezTo>
                  <a:cubicBezTo>
                    <a:pt x="253" y="500"/>
                    <a:pt x="249" y="500"/>
                    <a:pt x="247" y="498"/>
                  </a:cubicBezTo>
                  <a:cubicBezTo>
                    <a:pt x="245" y="495"/>
                    <a:pt x="245" y="492"/>
                    <a:pt x="247" y="490"/>
                  </a:cubicBezTo>
                  <a:cubicBezTo>
                    <a:pt x="261" y="476"/>
                    <a:pt x="263" y="474"/>
                    <a:pt x="263" y="474"/>
                  </a:cubicBezTo>
                  <a:cubicBezTo>
                    <a:pt x="249" y="460"/>
                    <a:pt x="247" y="458"/>
                    <a:pt x="247" y="458"/>
                  </a:cubicBezTo>
                  <a:cubicBezTo>
                    <a:pt x="245" y="456"/>
                    <a:pt x="245" y="452"/>
                    <a:pt x="247" y="450"/>
                  </a:cubicBezTo>
                  <a:cubicBezTo>
                    <a:pt x="249" y="448"/>
                    <a:pt x="253" y="448"/>
                    <a:pt x="255" y="450"/>
                  </a:cubicBezTo>
                  <a:cubicBezTo>
                    <a:pt x="269" y="464"/>
                    <a:pt x="271" y="466"/>
                    <a:pt x="271" y="466"/>
                  </a:cubicBezTo>
                  <a:cubicBezTo>
                    <a:pt x="287" y="450"/>
                    <a:pt x="287" y="450"/>
                    <a:pt x="287" y="450"/>
                  </a:cubicBezTo>
                  <a:cubicBezTo>
                    <a:pt x="289" y="448"/>
                    <a:pt x="293" y="448"/>
                    <a:pt x="295" y="450"/>
                  </a:cubicBezTo>
                  <a:cubicBezTo>
                    <a:pt x="297" y="452"/>
                    <a:pt x="297" y="456"/>
                    <a:pt x="295" y="458"/>
                  </a:cubicBezTo>
                  <a:cubicBezTo>
                    <a:pt x="281" y="472"/>
                    <a:pt x="279" y="474"/>
                    <a:pt x="279" y="474"/>
                  </a:cubicBezTo>
                  <a:cubicBezTo>
                    <a:pt x="293" y="488"/>
                    <a:pt x="295" y="490"/>
                    <a:pt x="295" y="490"/>
                  </a:cubicBezTo>
                  <a:close/>
                  <a:moveTo>
                    <a:pt x="172" y="139"/>
                  </a:moveTo>
                  <a:cubicBezTo>
                    <a:pt x="170" y="137"/>
                    <a:pt x="169" y="133"/>
                    <a:pt x="172" y="131"/>
                  </a:cubicBezTo>
                  <a:cubicBezTo>
                    <a:pt x="174" y="129"/>
                    <a:pt x="177" y="129"/>
                    <a:pt x="180" y="131"/>
                  </a:cubicBezTo>
                  <a:cubicBezTo>
                    <a:pt x="180" y="131"/>
                    <a:pt x="180" y="131"/>
                    <a:pt x="196" y="147"/>
                  </a:cubicBezTo>
                  <a:cubicBezTo>
                    <a:pt x="196" y="147"/>
                    <a:pt x="196" y="147"/>
                    <a:pt x="222" y="113"/>
                  </a:cubicBezTo>
                  <a:cubicBezTo>
                    <a:pt x="224" y="110"/>
                    <a:pt x="227" y="110"/>
                    <a:pt x="230" y="112"/>
                  </a:cubicBezTo>
                  <a:cubicBezTo>
                    <a:pt x="232" y="114"/>
                    <a:pt x="233" y="117"/>
                    <a:pt x="231" y="120"/>
                  </a:cubicBezTo>
                  <a:cubicBezTo>
                    <a:pt x="231" y="120"/>
                    <a:pt x="231" y="120"/>
                    <a:pt x="201" y="159"/>
                  </a:cubicBezTo>
                  <a:cubicBezTo>
                    <a:pt x="201" y="160"/>
                    <a:pt x="199" y="161"/>
                    <a:pt x="197" y="161"/>
                  </a:cubicBezTo>
                  <a:cubicBezTo>
                    <a:pt x="197" y="161"/>
                    <a:pt x="197" y="161"/>
                    <a:pt x="197" y="161"/>
                  </a:cubicBezTo>
                  <a:cubicBezTo>
                    <a:pt x="195" y="161"/>
                    <a:pt x="194" y="160"/>
                    <a:pt x="193" y="159"/>
                  </a:cubicBezTo>
                  <a:cubicBezTo>
                    <a:pt x="193" y="159"/>
                    <a:pt x="193" y="159"/>
                    <a:pt x="172" y="139"/>
                  </a:cubicBezTo>
                  <a:close/>
                  <a:moveTo>
                    <a:pt x="540" y="124"/>
                  </a:moveTo>
                  <a:cubicBezTo>
                    <a:pt x="538" y="140"/>
                    <a:pt x="533" y="173"/>
                    <a:pt x="519" y="214"/>
                  </a:cubicBezTo>
                  <a:cubicBezTo>
                    <a:pt x="504" y="202"/>
                    <a:pt x="489" y="192"/>
                    <a:pt x="475" y="183"/>
                  </a:cubicBezTo>
                  <a:cubicBezTo>
                    <a:pt x="485" y="174"/>
                    <a:pt x="492" y="161"/>
                    <a:pt x="492" y="145"/>
                  </a:cubicBezTo>
                  <a:cubicBezTo>
                    <a:pt x="492" y="119"/>
                    <a:pt x="473" y="98"/>
                    <a:pt x="447" y="95"/>
                  </a:cubicBezTo>
                  <a:cubicBezTo>
                    <a:pt x="448" y="82"/>
                    <a:pt x="447" y="68"/>
                    <a:pt x="446" y="55"/>
                  </a:cubicBezTo>
                  <a:cubicBezTo>
                    <a:pt x="482" y="72"/>
                    <a:pt x="514" y="95"/>
                    <a:pt x="540" y="124"/>
                  </a:cubicBezTo>
                  <a:close/>
                  <a:moveTo>
                    <a:pt x="458" y="122"/>
                  </a:moveTo>
                  <a:cubicBezTo>
                    <a:pt x="460" y="119"/>
                    <a:pt x="463" y="119"/>
                    <a:pt x="465" y="122"/>
                  </a:cubicBezTo>
                  <a:cubicBezTo>
                    <a:pt x="468" y="124"/>
                    <a:pt x="468" y="127"/>
                    <a:pt x="465" y="129"/>
                  </a:cubicBezTo>
                  <a:cubicBezTo>
                    <a:pt x="451" y="143"/>
                    <a:pt x="449" y="145"/>
                    <a:pt x="449" y="145"/>
                  </a:cubicBezTo>
                  <a:cubicBezTo>
                    <a:pt x="463" y="159"/>
                    <a:pt x="465" y="161"/>
                    <a:pt x="465" y="161"/>
                  </a:cubicBezTo>
                  <a:cubicBezTo>
                    <a:pt x="468" y="163"/>
                    <a:pt x="468" y="167"/>
                    <a:pt x="465" y="169"/>
                  </a:cubicBezTo>
                  <a:cubicBezTo>
                    <a:pt x="463" y="171"/>
                    <a:pt x="460" y="171"/>
                    <a:pt x="458" y="169"/>
                  </a:cubicBezTo>
                  <a:cubicBezTo>
                    <a:pt x="444" y="155"/>
                    <a:pt x="442" y="153"/>
                    <a:pt x="442" y="153"/>
                  </a:cubicBezTo>
                  <a:cubicBezTo>
                    <a:pt x="428" y="167"/>
                    <a:pt x="425" y="169"/>
                    <a:pt x="425" y="169"/>
                  </a:cubicBezTo>
                  <a:cubicBezTo>
                    <a:pt x="423" y="171"/>
                    <a:pt x="420" y="171"/>
                    <a:pt x="418" y="169"/>
                  </a:cubicBezTo>
                  <a:cubicBezTo>
                    <a:pt x="415" y="167"/>
                    <a:pt x="415" y="163"/>
                    <a:pt x="418" y="161"/>
                  </a:cubicBezTo>
                  <a:cubicBezTo>
                    <a:pt x="432" y="147"/>
                    <a:pt x="434" y="145"/>
                    <a:pt x="434" y="145"/>
                  </a:cubicBezTo>
                  <a:cubicBezTo>
                    <a:pt x="420" y="131"/>
                    <a:pt x="418" y="129"/>
                    <a:pt x="418" y="129"/>
                  </a:cubicBezTo>
                  <a:cubicBezTo>
                    <a:pt x="415" y="127"/>
                    <a:pt x="415" y="123"/>
                    <a:pt x="418" y="121"/>
                  </a:cubicBezTo>
                  <a:cubicBezTo>
                    <a:pt x="420" y="119"/>
                    <a:pt x="423" y="119"/>
                    <a:pt x="425" y="121"/>
                  </a:cubicBezTo>
                  <a:cubicBezTo>
                    <a:pt x="440" y="135"/>
                    <a:pt x="442" y="137"/>
                    <a:pt x="442" y="137"/>
                  </a:cubicBezTo>
                  <a:lnTo>
                    <a:pt x="458" y="122"/>
                  </a:lnTo>
                  <a:close/>
                  <a:moveTo>
                    <a:pt x="328" y="28"/>
                  </a:moveTo>
                  <a:cubicBezTo>
                    <a:pt x="367" y="29"/>
                    <a:pt x="404" y="37"/>
                    <a:pt x="438" y="51"/>
                  </a:cubicBezTo>
                  <a:cubicBezTo>
                    <a:pt x="439" y="66"/>
                    <a:pt x="440" y="80"/>
                    <a:pt x="439" y="95"/>
                  </a:cubicBezTo>
                  <a:cubicBezTo>
                    <a:pt x="413" y="96"/>
                    <a:pt x="391" y="118"/>
                    <a:pt x="391" y="145"/>
                  </a:cubicBezTo>
                  <a:cubicBezTo>
                    <a:pt x="345" y="129"/>
                    <a:pt x="302" y="123"/>
                    <a:pt x="264" y="121"/>
                  </a:cubicBezTo>
                  <a:cubicBezTo>
                    <a:pt x="260" y="121"/>
                    <a:pt x="256" y="121"/>
                    <a:pt x="252" y="121"/>
                  </a:cubicBezTo>
                  <a:cubicBezTo>
                    <a:pt x="250" y="114"/>
                    <a:pt x="247" y="108"/>
                    <a:pt x="243" y="103"/>
                  </a:cubicBezTo>
                  <a:cubicBezTo>
                    <a:pt x="278" y="65"/>
                    <a:pt x="310" y="40"/>
                    <a:pt x="328" y="28"/>
                  </a:cubicBezTo>
                  <a:close/>
                  <a:moveTo>
                    <a:pt x="315" y="28"/>
                  </a:moveTo>
                  <a:cubicBezTo>
                    <a:pt x="296" y="42"/>
                    <a:pt x="268" y="65"/>
                    <a:pt x="238" y="97"/>
                  </a:cubicBezTo>
                  <a:cubicBezTo>
                    <a:pt x="229" y="88"/>
                    <a:pt x="217" y="83"/>
                    <a:pt x="203" y="83"/>
                  </a:cubicBezTo>
                  <a:cubicBezTo>
                    <a:pt x="188" y="83"/>
                    <a:pt x="174" y="90"/>
                    <a:pt x="165" y="101"/>
                  </a:cubicBezTo>
                  <a:cubicBezTo>
                    <a:pt x="157" y="94"/>
                    <a:pt x="151" y="89"/>
                    <a:pt x="147" y="86"/>
                  </a:cubicBezTo>
                  <a:cubicBezTo>
                    <a:pt x="194" y="51"/>
                    <a:pt x="252" y="30"/>
                    <a:pt x="315" y="28"/>
                  </a:cubicBezTo>
                  <a:close/>
                  <a:moveTo>
                    <a:pt x="140" y="91"/>
                  </a:moveTo>
                  <a:cubicBezTo>
                    <a:pt x="145" y="94"/>
                    <a:pt x="151" y="100"/>
                    <a:pt x="160" y="108"/>
                  </a:cubicBezTo>
                  <a:cubicBezTo>
                    <a:pt x="156" y="114"/>
                    <a:pt x="153" y="121"/>
                    <a:pt x="153" y="129"/>
                  </a:cubicBezTo>
                  <a:cubicBezTo>
                    <a:pt x="126" y="133"/>
                    <a:pt x="105" y="139"/>
                    <a:pt x="89" y="144"/>
                  </a:cubicBezTo>
                  <a:cubicBezTo>
                    <a:pt x="104" y="124"/>
                    <a:pt x="121" y="106"/>
                    <a:pt x="140" y="91"/>
                  </a:cubicBezTo>
                  <a:close/>
                  <a:moveTo>
                    <a:pt x="81" y="155"/>
                  </a:moveTo>
                  <a:cubicBezTo>
                    <a:pt x="96" y="150"/>
                    <a:pt x="121" y="142"/>
                    <a:pt x="153" y="137"/>
                  </a:cubicBezTo>
                  <a:cubicBezTo>
                    <a:pt x="154" y="154"/>
                    <a:pt x="163" y="168"/>
                    <a:pt x="176" y="177"/>
                  </a:cubicBezTo>
                  <a:cubicBezTo>
                    <a:pt x="152" y="214"/>
                    <a:pt x="129" y="260"/>
                    <a:pt x="112" y="315"/>
                  </a:cubicBezTo>
                  <a:cubicBezTo>
                    <a:pt x="108" y="313"/>
                    <a:pt x="103" y="312"/>
                    <a:pt x="98" y="312"/>
                  </a:cubicBezTo>
                  <a:cubicBezTo>
                    <a:pt x="89" y="312"/>
                    <a:pt x="80" y="315"/>
                    <a:pt x="73" y="319"/>
                  </a:cubicBezTo>
                  <a:cubicBezTo>
                    <a:pt x="54" y="296"/>
                    <a:pt x="41" y="277"/>
                    <a:pt x="34" y="265"/>
                  </a:cubicBezTo>
                  <a:cubicBezTo>
                    <a:pt x="42" y="224"/>
                    <a:pt x="58" y="187"/>
                    <a:pt x="81" y="155"/>
                  </a:cubicBezTo>
                  <a:close/>
                  <a:moveTo>
                    <a:pt x="87" y="498"/>
                  </a:moveTo>
                  <a:cubicBezTo>
                    <a:pt x="50" y="449"/>
                    <a:pt x="28" y="388"/>
                    <a:pt x="28" y="322"/>
                  </a:cubicBezTo>
                  <a:cubicBezTo>
                    <a:pt x="28" y="307"/>
                    <a:pt x="29" y="291"/>
                    <a:pt x="32" y="276"/>
                  </a:cubicBezTo>
                  <a:cubicBezTo>
                    <a:pt x="40" y="288"/>
                    <a:pt x="51" y="305"/>
                    <a:pt x="66" y="323"/>
                  </a:cubicBezTo>
                  <a:cubicBezTo>
                    <a:pt x="55" y="333"/>
                    <a:pt x="47" y="347"/>
                    <a:pt x="47" y="363"/>
                  </a:cubicBezTo>
                  <a:cubicBezTo>
                    <a:pt x="47" y="389"/>
                    <a:pt x="66" y="410"/>
                    <a:pt x="91" y="413"/>
                  </a:cubicBezTo>
                  <a:cubicBezTo>
                    <a:pt x="88" y="440"/>
                    <a:pt x="86" y="468"/>
                    <a:pt x="87" y="498"/>
                  </a:cubicBezTo>
                  <a:close/>
                  <a:moveTo>
                    <a:pt x="92" y="390"/>
                  </a:moveTo>
                  <a:cubicBezTo>
                    <a:pt x="90" y="390"/>
                    <a:pt x="89" y="390"/>
                    <a:pt x="88" y="389"/>
                  </a:cubicBezTo>
                  <a:cubicBezTo>
                    <a:pt x="88" y="389"/>
                    <a:pt x="88" y="389"/>
                    <a:pt x="67" y="368"/>
                  </a:cubicBezTo>
                  <a:cubicBezTo>
                    <a:pt x="64" y="366"/>
                    <a:pt x="64" y="363"/>
                    <a:pt x="66" y="360"/>
                  </a:cubicBezTo>
                  <a:cubicBezTo>
                    <a:pt x="68" y="358"/>
                    <a:pt x="72" y="358"/>
                    <a:pt x="74" y="360"/>
                  </a:cubicBezTo>
                  <a:cubicBezTo>
                    <a:pt x="74" y="360"/>
                    <a:pt x="74" y="360"/>
                    <a:pt x="91" y="376"/>
                  </a:cubicBezTo>
                  <a:cubicBezTo>
                    <a:pt x="91" y="376"/>
                    <a:pt x="91" y="376"/>
                    <a:pt x="116" y="342"/>
                  </a:cubicBezTo>
                  <a:cubicBezTo>
                    <a:pt x="118" y="340"/>
                    <a:pt x="122" y="339"/>
                    <a:pt x="124" y="341"/>
                  </a:cubicBezTo>
                  <a:cubicBezTo>
                    <a:pt x="127" y="343"/>
                    <a:pt x="127" y="346"/>
                    <a:pt x="126" y="349"/>
                  </a:cubicBezTo>
                  <a:cubicBezTo>
                    <a:pt x="126" y="349"/>
                    <a:pt x="126" y="349"/>
                    <a:pt x="96" y="388"/>
                  </a:cubicBezTo>
                  <a:cubicBezTo>
                    <a:pt x="95" y="389"/>
                    <a:pt x="94" y="390"/>
                    <a:pt x="92" y="390"/>
                  </a:cubicBezTo>
                  <a:cubicBezTo>
                    <a:pt x="92" y="390"/>
                    <a:pt x="92" y="390"/>
                    <a:pt x="92" y="390"/>
                  </a:cubicBezTo>
                  <a:close/>
                  <a:moveTo>
                    <a:pt x="95" y="508"/>
                  </a:moveTo>
                  <a:cubicBezTo>
                    <a:pt x="94" y="475"/>
                    <a:pt x="96" y="443"/>
                    <a:pt x="99" y="414"/>
                  </a:cubicBezTo>
                  <a:cubicBezTo>
                    <a:pt x="115" y="413"/>
                    <a:pt x="129" y="406"/>
                    <a:pt x="138" y="394"/>
                  </a:cubicBezTo>
                  <a:cubicBezTo>
                    <a:pt x="163" y="415"/>
                    <a:pt x="192" y="434"/>
                    <a:pt x="226" y="450"/>
                  </a:cubicBezTo>
                  <a:cubicBezTo>
                    <a:pt x="223" y="457"/>
                    <a:pt x="220" y="465"/>
                    <a:pt x="220" y="474"/>
                  </a:cubicBezTo>
                  <a:cubicBezTo>
                    <a:pt x="220" y="482"/>
                    <a:pt x="223" y="490"/>
                    <a:pt x="226" y="497"/>
                  </a:cubicBezTo>
                  <a:cubicBezTo>
                    <a:pt x="190" y="508"/>
                    <a:pt x="149" y="516"/>
                    <a:pt x="104" y="519"/>
                  </a:cubicBezTo>
                  <a:cubicBezTo>
                    <a:pt x="101" y="515"/>
                    <a:pt x="98" y="512"/>
                    <a:pt x="95" y="508"/>
                  </a:cubicBezTo>
                  <a:close/>
                  <a:moveTo>
                    <a:pt x="111" y="526"/>
                  </a:moveTo>
                  <a:cubicBezTo>
                    <a:pt x="155" y="523"/>
                    <a:pt x="195" y="515"/>
                    <a:pt x="231" y="504"/>
                  </a:cubicBezTo>
                  <a:cubicBezTo>
                    <a:pt x="240" y="516"/>
                    <a:pt x="254" y="524"/>
                    <a:pt x="271" y="524"/>
                  </a:cubicBezTo>
                  <a:cubicBezTo>
                    <a:pt x="272" y="524"/>
                    <a:pt x="273" y="524"/>
                    <a:pt x="275" y="524"/>
                  </a:cubicBezTo>
                  <a:cubicBezTo>
                    <a:pt x="248" y="561"/>
                    <a:pt x="225" y="586"/>
                    <a:pt x="216" y="596"/>
                  </a:cubicBezTo>
                  <a:cubicBezTo>
                    <a:pt x="176" y="581"/>
                    <a:pt x="140" y="557"/>
                    <a:pt x="111" y="526"/>
                  </a:cubicBezTo>
                  <a:close/>
                  <a:moveTo>
                    <a:pt x="319" y="616"/>
                  </a:moveTo>
                  <a:cubicBezTo>
                    <a:pt x="286" y="616"/>
                    <a:pt x="254" y="610"/>
                    <a:pt x="224" y="599"/>
                  </a:cubicBezTo>
                  <a:cubicBezTo>
                    <a:pt x="235" y="587"/>
                    <a:pt x="258" y="560"/>
                    <a:pt x="286" y="522"/>
                  </a:cubicBezTo>
                  <a:cubicBezTo>
                    <a:pt x="304" y="517"/>
                    <a:pt x="318" y="501"/>
                    <a:pt x="321" y="483"/>
                  </a:cubicBezTo>
                  <a:cubicBezTo>
                    <a:pt x="329" y="484"/>
                    <a:pt x="339" y="486"/>
                    <a:pt x="352" y="488"/>
                  </a:cubicBezTo>
                  <a:cubicBezTo>
                    <a:pt x="351" y="491"/>
                    <a:pt x="351" y="493"/>
                    <a:pt x="351" y="496"/>
                  </a:cubicBezTo>
                  <a:cubicBezTo>
                    <a:pt x="351" y="510"/>
                    <a:pt x="356" y="522"/>
                    <a:pt x="365" y="531"/>
                  </a:cubicBezTo>
                  <a:cubicBezTo>
                    <a:pt x="348" y="557"/>
                    <a:pt x="332" y="586"/>
                    <a:pt x="319" y="616"/>
                  </a:cubicBezTo>
                  <a:close/>
                  <a:moveTo>
                    <a:pt x="328" y="616"/>
                  </a:moveTo>
                  <a:cubicBezTo>
                    <a:pt x="341" y="588"/>
                    <a:pt x="355" y="561"/>
                    <a:pt x="371" y="537"/>
                  </a:cubicBezTo>
                  <a:cubicBezTo>
                    <a:pt x="380" y="543"/>
                    <a:pt x="390" y="547"/>
                    <a:pt x="402" y="547"/>
                  </a:cubicBezTo>
                  <a:cubicBezTo>
                    <a:pt x="430" y="547"/>
                    <a:pt x="452" y="524"/>
                    <a:pt x="452" y="496"/>
                  </a:cubicBezTo>
                  <a:cubicBezTo>
                    <a:pt x="452" y="495"/>
                    <a:pt x="452" y="493"/>
                    <a:pt x="452" y="491"/>
                  </a:cubicBezTo>
                  <a:cubicBezTo>
                    <a:pt x="491" y="488"/>
                    <a:pt x="535" y="481"/>
                    <a:pt x="580" y="464"/>
                  </a:cubicBezTo>
                  <a:cubicBezTo>
                    <a:pt x="531" y="553"/>
                    <a:pt x="437" y="614"/>
                    <a:pt x="328" y="616"/>
                  </a:cubicBezTo>
                  <a:close/>
                  <a:moveTo>
                    <a:pt x="451" y="483"/>
                  </a:moveTo>
                  <a:cubicBezTo>
                    <a:pt x="448" y="473"/>
                    <a:pt x="442" y="464"/>
                    <a:pt x="434" y="457"/>
                  </a:cubicBezTo>
                  <a:cubicBezTo>
                    <a:pt x="464" y="425"/>
                    <a:pt x="495" y="398"/>
                    <a:pt x="523" y="376"/>
                  </a:cubicBezTo>
                  <a:cubicBezTo>
                    <a:pt x="532" y="389"/>
                    <a:pt x="547" y="397"/>
                    <a:pt x="564" y="397"/>
                  </a:cubicBezTo>
                  <a:cubicBezTo>
                    <a:pt x="592" y="397"/>
                    <a:pt x="615" y="374"/>
                    <a:pt x="615" y="347"/>
                  </a:cubicBezTo>
                  <a:cubicBezTo>
                    <a:pt x="615" y="337"/>
                    <a:pt x="612" y="328"/>
                    <a:pt x="608" y="321"/>
                  </a:cubicBezTo>
                  <a:cubicBezTo>
                    <a:pt x="609" y="321"/>
                    <a:pt x="609" y="320"/>
                    <a:pt x="610" y="320"/>
                  </a:cubicBezTo>
                  <a:cubicBezTo>
                    <a:pt x="612" y="323"/>
                    <a:pt x="615" y="326"/>
                    <a:pt x="617" y="329"/>
                  </a:cubicBezTo>
                  <a:cubicBezTo>
                    <a:pt x="616" y="374"/>
                    <a:pt x="605" y="416"/>
                    <a:pt x="586" y="454"/>
                  </a:cubicBezTo>
                  <a:cubicBezTo>
                    <a:pt x="538" y="472"/>
                    <a:pt x="492" y="480"/>
                    <a:pt x="451" y="483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3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3" fontAlgn="auto">
                <a:spcBef>
                  <a:spcPts val="0"/>
                </a:spcBef>
                <a:spcAft>
                  <a:spcPts val="0"/>
                </a:spcAft>
              </a:pPr>
              <a:endParaRPr lang="en-US" sz="700" dirty="0">
                <a:solidFill>
                  <a:srgbClr val="676767"/>
                </a:solidFill>
                <a:latin typeface="Arial"/>
                <a:cs typeface="Arial" panose="020B0604020202020204" pitchFamily="34" charset="0"/>
              </a:endParaRPr>
            </a:p>
          </p:txBody>
        </p:sp>
        <p:grpSp>
          <p:nvGrpSpPr>
            <p:cNvPr id="25" name="Group 24"/>
            <p:cNvGrpSpPr>
              <a:grpSpLocks noChangeAspect="1"/>
            </p:cNvGrpSpPr>
            <p:nvPr userDrawn="1"/>
          </p:nvGrpSpPr>
          <p:grpSpPr>
            <a:xfrm>
              <a:off x="2657344" y="3809938"/>
              <a:ext cx="150248" cy="91440"/>
              <a:chOff x="2938971" y="2976976"/>
              <a:chExt cx="315059" cy="191742"/>
            </a:xfrm>
            <a:solidFill>
              <a:schemeClr val="bg1">
                <a:lumMod val="85000"/>
                <a:alpha val="30000"/>
              </a:schemeClr>
            </a:solidFill>
          </p:grpSpPr>
          <p:sp>
            <p:nvSpPr>
              <p:cNvPr id="26" name="Freeform 25"/>
              <p:cNvSpPr>
                <a:spLocks/>
              </p:cNvSpPr>
              <p:nvPr/>
            </p:nvSpPr>
            <p:spPr bwMode="auto">
              <a:xfrm>
                <a:off x="2966804" y="2992246"/>
                <a:ext cx="129889" cy="106115"/>
              </a:xfrm>
              <a:custGeom>
                <a:avLst/>
                <a:gdLst>
                  <a:gd name="T0" fmla="*/ 276 w 283"/>
                  <a:gd name="T1" fmla="*/ 210 h 231"/>
                  <a:gd name="T2" fmla="*/ 45 w 283"/>
                  <a:gd name="T3" fmla="*/ 210 h 231"/>
                  <a:gd name="T4" fmla="*/ 26 w 283"/>
                  <a:gd name="T5" fmla="*/ 191 h 231"/>
                  <a:gd name="T6" fmla="*/ 26 w 283"/>
                  <a:gd name="T7" fmla="*/ 42 h 231"/>
                  <a:gd name="T8" fmla="*/ 45 w 283"/>
                  <a:gd name="T9" fmla="*/ 22 h 231"/>
                  <a:gd name="T10" fmla="*/ 265 w 283"/>
                  <a:gd name="T11" fmla="*/ 22 h 231"/>
                  <a:gd name="T12" fmla="*/ 265 w 283"/>
                  <a:gd name="T13" fmla="*/ 0 h 231"/>
                  <a:gd name="T14" fmla="*/ 27 w 283"/>
                  <a:gd name="T15" fmla="*/ 0 h 231"/>
                  <a:gd name="T16" fmla="*/ 0 w 283"/>
                  <a:gd name="T17" fmla="*/ 26 h 231"/>
                  <a:gd name="T18" fmla="*/ 0 w 283"/>
                  <a:gd name="T19" fmla="*/ 231 h 231"/>
                  <a:gd name="T20" fmla="*/ 283 w 283"/>
                  <a:gd name="T21" fmla="*/ 231 h 231"/>
                  <a:gd name="T22" fmla="*/ 276 w 283"/>
                  <a:gd name="T23" fmla="*/ 210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3" h="231">
                    <a:moveTo>
                      <a:pt x="276" y="210"/>
                    </a:moveTo>
                    <a:cubicBezTo>
                      <a:pt x="45" y="210"/>
                      <a:pt x="45" y="210"/>
                      <a:pt x="45" y="210"/>
                    </a:cubicBezTo>
                    <a:cubicBezTo>
                      <a:pt x="34" y="210"/>
                      <a:pt x="26" y="201"/>
                      <a:pt x="26" y="191"/>
                    </a:cubicBezTo>
                    <a:cubicBezTo>
                      <a:pt x="26" y="42"/>
                      <a:pt x="26" y="42"/>
                      <a:pt x="26" y="42"/>
                    </a:cubicBezTo>
                    <a:cubicBezTo>
                      <a:pt x="26" y="31"/>
                      <a:pt x="34" y="22"/>
                      <a:pt x="45" y="22"/>
                    </a:cubicBezTo>
                    <a:cubicBezTo>
                      <a:pt x="265" y="22"/>
                      <a:pt x="265" y="22"/>
                      <a:pt x="265" y="22"/>
                    </a:cubicBezTo>
                    <a:cubicBezTo>
                      <a:pt x="265" y="0"/>
                      <a:pt x="265" y="0"/>
                      <a:pt x="265" y="0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12" y="0"/>
                      <a:pt x="0" y="11"/>
                      <a:pt x="0" y="26"/>
                    </a:cubicBezTo>
                    <a:cubicBezTo>
                      <a:pt x="0" y="231"/>
                      <a:pt x="0" y="231"/>
                      <a:pt x="0" y="231"/>
                    </a:cubicBezTo>
                    <a:cubicBezTo>
                      <a:pt x="283" y="231"/>
                      <a:pt x="283" y="231"/>
                      <a:pt x="283" y="231"/>
                    </a:cubicBezTo>
                    <a:cubicBezTo>
                      <a:pt x="280" y="224"/>
                      <a:pt x="278" y="217"/>
                      <a:pt x="276" y="21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27" name="Freeform 26"/>
              <p:cNvSpPr>
                <a:spLocks/>
              </p:cNvSpPr>
              <p:nvPr/>
            </p:nvSpPr>
            <p:spPr bwMode="auto">
              <a:xfrm>
                <a:off x="2938971" y="3105899"/>
                <a:ext cx="191162" cy="43103"/>
              </a:xfrm>
              <a:custGeom>
                <a:avLst/>
                <a:gdLst>
                  <a:gd name="T0" fmla="*/ 351 w 417"/>
                  <a:gd name="T1" fmla="*/ 0 h 94"/>
                  <a:gd name="T2" fmla="*/ 60 w 417"/>
                  <a:gd name="T3" fmla="*/ 0 h 94"/>
                  <a:gd name="T4" fmla="*/ 0 w 417"/>
                  <a:gd name="T5" fmla="*/ 94 h 94"/>
                  <a:gd name="T6" fmla="*/ 417 w 417"/>
                  <a:gd name="T7" fmla="*/ 94 h 94"/>
                  <a:gd name="T8" fmla="*/ 351 w 417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7" h="94">
                    <a:moveTo>
                      <a:pt x="351" y="0"/>
                    </a:moveTo>
                    <a:cubicBezTo>
                      <a:pt x="60" y="0"/>
                      <a:pt x="60" y="0"/>
                      <a:pt x="60" y="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417" y="94"/>
                      <a:pt x="417" y="94"/>
                      <a:pt x="417" y="94"/>
                    </a:cubicBezTo>
                    <a:cubicBezTo>
                      <a:pt x="389" y="67"/>
                      <a:pt x="366" y="35"/>
                      <a:pt x="35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28" name="Freeform 27"/>
              <p:cNvSpPr>
                <a:spLocks noEditPoints="1"/>
              </p:cNvSpPr>
              <p:nvPr/>
            </p:nvSpPr>
            <p:spPr bwMode="auto">
              <a:xfrm>
                <a:off x="3096693" y="2976976"/>
                <a:ext cx="157337" cy="191742"/>
              </a:xfrm>
              <a:custGeom>
                <a:avLst/>
                <a:gdLst>
                  <a:gd name="T0" fmla="*/ 280 w 343"/>
                  <a:gd name="T1" fmla="*/ 25 h 417"/>
                  <a:gd name="T2" fmla="*/ 280 w 343"/>
                  <a:gd name="T3" fmla="*/ 48 h 417"/>
                  <a:gd name="T4" fmla="*/ 211 w 343"/>
                  <a:gd name="T5" fmla="*/ 32 h 417"/>
                  <a:gd name="T6" fmla="*/ 211 w 343"/>
                  <a:gd name="T7" fmla="*/ 9 h 417"/>
                  <a:gd name="T8" fmla="*/ 172 w 343"/>
                  <a:gd name="T9" fmla="*/ 0 h 417"/>
                  <a:gd name="T10" fmla="*/ 132 w 343"/>
                  <a:gd name="T11" fmla="*/ 9 h 417"/>
                  <a:gd name="T12" fmla="*/ 132 w 343"/>
                  <a:gd name="T13" fmla="*/ 32 h 417"/>
                  <a:gd name="T14" fmla="*/ 63 w 343"/>
                  <a:gd name="T15" fmla="*/ 48 h 417"/>
                  <a:gd name="T16" fmla="*/ 63 w 343"/>
                  <a:gd name="T17" fmla="*/ 25 h 417"/>
                  <a:gd name="T18" fmla="*/ 0 w 343"/>
                  <a:gd name="T19" fmla="*/ 39 h 417"/>
                  <a:gd name="T20" fmla="*/ 0 w 343"/>
                  <a:gd name="T21" fmla="*/ 163 h 417"/>
                  <a:gd name="T22" fmla="*/ 172 w 343"/>
                  <a:gd name="T23" fmla="*/ 417 h 417"/>
                  <a:gd name="T24" fmla="*/ 343 w 343"/>
                  <a:gd name="T25" fmla="*/ 163 h 417"/>
                  <a:gd name="T26" fmla="*/ 343 w 343"/>
                  <a:gd name="T27" fmla="*/ 39 h 417"/>
                  <a:gd name="T28" fmla="*/ 280 w 343"/>
                  <a:gd name="T29" fmla="*/ 25 h 417"/>
                  <a:gd name="T30" fmla="*/ 52 w 343"/>
                  <a:gd name="T31" fmla="*/ 209 h 417"/>
                  <a:gd name="T32" fmla="*/ 47 w 343"/>
                  <a:gd name="T33" fmla="*/ 163 h 417"/>
                  <a:gd name="T34" fmla="*/ 47 w 343"/>
                  <a:gd name="T35" fmla="*/ 101 h 417"/>
                  <a:gd name="T36" fmla="*/ 172 w 343"/>
                  <a:gd name="T37" fmla="*/ 72 h 417"/>
                  <a:gd name="T38" fmla="*/ 283 w 343"/>
                  <a:gd name="T39" fmla="*/ 98 h 417"/>
                  <a:gd name="T40" fmla="*/ 89 w 343"/>
                  <a:gd name="T41" fmla="*/ 293 h 417"/>
                  <a:gd name="T42" fmla="*/ 52 w 343"/>
                  <a:gd name="T43" fmla="*/ 209 h 417"/>
                  <a:gd name="T44" fmla="*/ 296 w 343"/>
                  <a:gd name="T45" fmla="*/ 163 h 417"/>
                  <a:gd name="T46" fmla="*/ 291 w 343"/>
                  <a:gd name="T47" fmla="*/ 209 h 417"/>
                  <a:gd name="T48" fmla="*/ 172 w 343"/>
                  <a:gd name="T49" fmla="*/ 365 h 417"/>
                  <a:gd name="T50" fmla="*/ 106 w 343"/>
                  <a:gd name="T51" fmla="*/ 315 h 417"/>
                  <a:gd name="T52" fmla="*/ 296 w 343"/>
                  <a:gd name="T53" fmla="*/ 125 h 417"/>
                  <a:gd name="T54" fmla="*/ 296 w 343"/>
                  <a:gd name="T55" fmla="*/ 163 h 4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43" h="417">
                    <a:moveTo>
                      <a:pt x="280" y="25"/>
                    </a:moveTo>
                    <a:cubicBezTo>
                      <a:pt x="280" y="48"/>
                      <a:pt x="280" y="48"/>
                      <a:pt x="280" y="48"/>
                    </a:cubicBezTo>
                    <a:cubicBezTo>
                      <a:pt x="211" y="32"/>
                      <a:pt x="211" y="32"/>
                      <a:pt x="211" y="32"/>
                    </a:cubicBezTo>
                    <a:cubicBezTo>
                      <a:pt x="211" y="9"/>
                      <a:pt x="211" y="9"/>
                      <a:pt x="211" y="9"/>
                    </a:cubicBezTo>
                    <a:cubicBezTo>
                      <a:pt x="172" y="0"/>
                      <a:pt x="172" y="0"/>
                      <a:pt x="172" y="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2" y="32"/>
                      <a:pt x="132" y="32"/>
                      <a:pt x="132" y="32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25"/>
                      <a:pt x="63" y="25"/>
                      <a:pt x="63" y="25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163"/>
                      <a:pt x="0" y="163"/>
                      <a:pt x="0" y="163"/>
                    </a:cubicBezTo>
                    <a:cubicBezTo>
                      <a:pt x="0" y="278"/>
                      <a:pt x="71" y="376"/>
                      <a:pt x="172" y="417"/>
                    </a:cubicBezTo>
                    <a:cubicBezTo>
                      <a:pt x="272" y="376"/>
                      <a:pt x="343" y="278"/>
                      <a:pt x="343" y="163"/>
                    </a:cubicBezTo>
                    <a:cubicBezTo>
                      <a:pt x="343" y="39"/>
                      <a:pt x="343" y="39"/>
                      <a:pt x="343" y="39"/>
                    </a:cubicBezTo>
                    <a:lnTo>
                      <a:pt x="280" y="25"/>
                    </a:lnTo>
                    <a:close/>
                    <a:moveTo>
                      <a:pt x="52" y="209"/>
                    </a:moveTo>
                    <a:cubicBezTo>
                      <a:pt x="48" y="194"/>
                      <a:pt x="47" y="179"/>
                      <a:pt x="47" y="163"/>
                    </a:cubicBezTo>
                    <a:cubicBezTo>
                      <a:pt x="47" y="101"/>
                      <a:pt x="47" y="101"/>
                      <a:pt x="47" y="101"/>
                    </a:cubicBezTo>
                    <a:cubicBezTo>
                      <a:pt x="47" y="101"/>
                      <a:pt x="47" y="101"/>
                      <a:pt x="172" y="72"/>
                    </a:cubicBezTo>
                    <a:cubicBezTo>
                      <a:pt x="238" y="88"/>
                      <a:pt x="269" y="95"/>
                      <a:pt x="283" y="98"/>
                    </a:cubicBezTo>
                    <a:cubicBezTo>
                      <a:pt x="89" y="293"/>
                      <a:pt x="89" y="293"/>
                      <a:pt x="89" y="293"/>
                    </a:cubicBezTo>
                    <a:cubicBezTo>
                      <a:pt x="71" y="268"/>
                      <a:pt x="58" y="239"/>
                      <a:pt x="52" y="209"/>
                    </a:cubicBezTo>
                    <a:close/>
                    <a:moveTo>
                      <a:pt x="296" y="163"/>
                    </a:moveTo>
                    <a:cubicBezTo>
                      <a:pt x="296" y="179"/>
                      <a:pt x="295" y="194"/>
                      <a:pt x="291" y="209"/>
                    </a:cubicBezTo>
                    <a:cubicBezTo>
                      <a:pt x="278" y="275"/>
                      <a:pt x="233" y="333"/>
                      <a:pt x="172" y="365"/>
                    </a:cubicBezTo>
                    <a:cubicBezTo>
                      <a:pt x="147" y="352"/>
                      <a:pt x="125" y="335"/>
                      <a:pt x="106" y="315"/>
                    </a:cubicBezTo>
                    <a:cubicBezTo>
                      <a:pt x="296" y="125"/>
                      <a:pt x="296" y="125"/>
                      <a:pt x="296" y="125"/>
                    </a:cubicBezTo>
                    <a:lnTo>
                      <a:pt x="296" y="163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9" name="Freeform 74"/>
            <p:cNvSpPr>
              <a:spLocks noChangeAspect="1" noEditPoints="1"/>
            </p:cNvSpPr>
            <p:nvPr userDrawn="1"/>
          </p:nvSpPr>
          <p:spPr bwMode="auto">
            <a:xfrm>
              <a:off x="2584520" y="4248553"/>
              <a:ext cx="91440" cy="110964"/>
            </a:xfrm>
            <a:custGeom>
              <a:avLst/>
              <a:gdLst>
                <a:gd name="T0" fmla="*/ 21 w 116"/>
                <a:gd name="T1" fmla="*/ 3 h 141"/>
                <a:gd name="T2" fmla="*/ 28 w 116"/>
                <a:gd name="T3" fmla="*/ 3 h 141"/>
                <a:gd name="T4" fmla="*/ 29 w 116"/>
                <a:gd name="T5" fmla="*/ 28 h 141"/>
                <a:gd name="T6" fmla="*/ 45 w 116"/>
                <a:gd name="T7" fmla="*/ 32 h 141"/>
                <a:gd name="T8" fmla="*/ 38 w 116"/>
                <a:gd name="T9" fmla="*/ 22 h 141"/>
                <a:gd name="T10" fmla="*/ 45 w 116"/>
                <a:gd name="T11" fmla="*/ 17 h 141"/>
                <a:gd name="T12" fmla="*/ 42 w 116"/>
                <a:gd name="T13" fmla="*/ 64 h 141"/>
                <a:gd name="T14" fmla="*/ 42 w 116"/>
                <a:gd name="T15" fmla="*/ 108 h 141"/>
                <a:gd name="T16" fmla="*/ 28 w 116"/>
                <a:gd name="T17" fmla="*/ 123 h 141"/>
                <a:gd name="T18" fmla="*/ 28 w 116"/>
                <a:gd name="T19" fmla="*/ 69 h 141"/>
                <a:gd name="T20" fmla="*/ 21 w 116"/>
                <a:gd name="T21" fmla="*/ 76 h 141"/>
                <a:gd name="T22" fmla="*/ 7 w 116"/>
                <a:gd name="T23" fmla="*/ 81 h 141"/>
                <a:gd name="T24" fmla="*/ 7 w 116"/>
                <a:gd name="T25" fmla="*/ 23 h 141"/>
                <a:gd name="T26" fmla="*/ 0 w 116"/>
                <a:gd name="T27" fmla="*/ 81 h 141"/>
                <a:gd name="T28" fmla="*/ 0 w 116"/>
                <a:gd name="T29" fmla="*/ 82 h 141"/>
                <a:gd name="T30" fmla="*/ 21 w 116"/>
                <a:gd name="T31" fmla="*/ 141 h 141"/>
                <a:gd name="T32" fmla="*/ 49 w 116"/>
                <a:gd name="T33" fmla="*/ 109 h 141"/>
                <a:gd name="T34" fmla="*/ 49 w 116"/>
                <a:gd name="T35" fmla="*/ 102 h 141"/>
                <a:gd name="T36" fmla="*/ 71 w 116"/>
                <a:gd name="T37" fmla="*/ 52 h 141"/>
                <a:gd name="T38" fmla="*/ 72 w 116"/>
                <a:gd name="T39" fmla="*/ 51 h 141"/>
                <a:gd name="T40" fmla="*/ 73 w 116"/>
                <a:gd name="T41" fmla="*/ 51 h 141"/>
                <a:gd name="T42" fmla="*/ 74 w 116"/>
                <a:gd name="T43" fmla="*/ 51 h 141"/>
                <a:gd name="T44" fmla="*/ 46 w 116"/>
                <a:gd name="T45" fmla="*/ 38 h 141"/>
                <a:gd name="T46" fmla="*/ 28 w 116"/>
                <a:gd name="T47" fmla="*/ 30 h 141"/>
                <a:gd name="T48" fmla="*/ 9 w 116"/>
                <a:gd name="T49" fmla="*/ 21 h 141"/>
                <a:gd name="T50" fmla="*/ 9 w 116"/>
                <a:gd name="T51" fmla="*/ 21 h 141"/>
                <a:gd name="T52" fmla="*/ 16 w 116"/>
                <a:gd name="T53" fmla="*/ 70 h 141"/>
                <a:gd name="T54" fmla="*/ 49 w 116"/>
                <a:gd name="T55" fmla="*/ 59 h 141"/>
                <a:gd name="T56" fmla="*/ 30 w 116"/>
                <a:gd name="T57" fmla="*/ 52 h 141"/>
                <a:gd name="T58" fmla="*/ 18 w 116"/>
                <a:gd name="T59" fmla="*/ 52 h 141"/>
                <a:gd name="T60" fmla="*/ 25 w 116"/>
                <a:gd name="T61" fmla="*/ 46 h 141"/>
                <a:gd name="T62" fmla="*/ 26 w 116"/>
                <a:gd name="T63" fmla="*/ 43 h 141"/>
                <a:gd name="T64" fmla="*/ 22 w 116"/>
                <a:gd name="T65" fmla="*/ 44 h 141"/>
                <a:gd name="T66" fmla="*/ 20 w 116"/>
                <a:gd name="T67" fmla="*/ 41 h 141"/>
                <a:gd name="T68" fmla="*/ 27 w 116"/>
                <a:gd name="T69" fmla="*/ 40 h 141"/>
                <a:gd name="T70" fmla="*/ 30 w 116"/>
                <a:gd name="T71" fmla="*/ 44 h 141"/>
                <a:gd name="T72" fmla="*/ 28 w 116"/>
                <a:gd name="T73" fmla="*/ 48 h 141"/>
                <a:gd name="T74" fmla="*/ 30 w 116"/>
                <a:gd name="T75" fmla="*/ 52 h 141"/>
                <a:gd name="T76" fmla="*/ 51 w 116"/>
                <a:gd name="T77" fmla="*/ 107 h 141"/>
                <a:gd name="T78" fmla="*/ 70 w 116"/>
                <a:gd name="T79" fmla="*/ 88 h 141"/>
                <a:gd name="T80" fmla="*/ 63 w 116"/>
                <a:gd name="T81" fmla="*/ 89 h 141"/>
                <a:gd name="T82" fmla="*/ 59 w 116"/>
                <a:gd name="T83" fmla="*/ 85 h 141"/>
                <a:gd name="T84" fmla="*/ 65 w 116"/>
                <a:gd name="T85" fmla="*/ 87 h 141"/>
                <a:gd name="T86" fmla="*/ 67 w 116"/>
                <a:gd name="T87" fmla="*/ 83 h 141"/>
                <a:gd name="T88" fmla="*/ 63 w 116"/>
                <a:gd name="T89" fmla="*/ 80 h 141"/>
                <a:gd name="T90" fmla="*/ 67 w 116"/>
                <a:gd name="T91" fmla="*/ 79 h 141"/>
                <a:gd name="T92" fmla="*/ 67 w 116"/>
                <a:gd name="T93" fmla="*/ 76 h 141"/>
                <a:gd name="T94" fmla="*/ 60 w 116"/>
                <a:gd name="T95" fmla="*/ 77 h 141"/>
                <a:gd name="T96" fmla="*/ 68 w 116"/>
                <a:gd name="T97" fmla="*/ 74 h 141"/>
                <a:gd name="T98" fmla="*/ 71 w 116"/>
                <a:gd name="T99" fmla="*/ 77 h 141"/>
                <a:gd name="T100" fmla="*/ 69 w 116"/>
                <a:gd name="T101" fmla="*/ 80 h 141"/>
                <a:gd name="T102" fmla="*/ 71 w 116"/>
                <a:gd name="T103" fmla="*/ 82 h 141"/>
                <a:gd name="T104" fmla="*/ 71 w 116"/>
                <a:gd name="T105" fmla="*/ 86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16" h="141">
                  <a:moveTo>
                    <a:pt x="28" y="3"/>
                  </a:moveTo>
                  <a:cubicBezTo>
                    <a:pt x="28" y="1"/>
                    <a:pt x="26" y="0"/>
                    <a:pt x="24" y="0"/>
                  </a:cubicBezTo>
                  <a:cubicBezTo>
                    <a:pt x="23" y="0"/>
                    <a:pt x="21" y="1"/>
                    <a:pt x="21" y="3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11"/>
                    <a:pt x="28" y="3"/>
                    <a:pt x="28" y="3"/>
                  </a:cubicBezTo>
                  <a:close/>
                  <a:moveTo>
                    <a:pt x="94" y="32"/>
                  </a:moveTo>
                  <a:cubicBezTo>
                    <a:pt x="29" y="3"/>
                    <a:pt x="29" y="3"/>
                    <a:pt x="29" y="3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94" y="32"/>
                    <a:pt x="94" y="32"/>
                    <a:pt x="94" y="32"/>
                  </a:cubicBezTo>
                  <a:close/>
                  <a:moveTo>
                    <a:pt x="45" y="32"/>
                  </a:moveTo>
                  <a:cubicBezTo>
                    <a:pt x="42" y="32"/>
                    <a:pt x="42" y="32"/>
                    <a:pt x="42" y="32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5" y="17"/>
                    <a:pt x="45" y="17"/>
                    <a:pt x="45" y="17"/>
                  </a:cubicBezTo>
                  <a:lnTo>
                    <a:pt x="45" y="32"/>
                  </a:lnTo>
                  <a:close/>
                  <a:moveTo>
                    <a:pt x="49" y="62"/>
                  </a:moveTo>
                  <a:cubicBezTo>
                    <a:pt x="42" y="64"/>
                    <a:pt x="42" y="64"/>
                    <a:pt x="42" y="64"/>
                  </a:cubicBezTo>
                  <a:cubicBezTo>
                    <a:pt x="42" y="103"/>
                    <a:pt x="42" y="103"/>
                    <a:pt x="42" y="103"/>
                  </a:cubicBezTo>
                  <a:cubicBezTo>
                    <a:pt x="42" y="103"/>
                    <a:pt x="42" y="103"/>
                    <a:pt x="42" y="103"/>
                  </a:cubicBezTo>
                  <a:cubicBezTo>
                    <a:pt x="42" y="108"/>
                    <a:pt x="42" y="108"/>
                    <a:pt x="42" y="108"/>
                  </a:cubicBezTo>
                  <a:cubicBezTo>
                    <a:pt x="42" y="108"/>
                    <a:pt x="42" y="108"/>
                    <a:pt x="42" y="108"/>
                  </a:cubicBezTo>
                  <a:cubicBezTo>
                    <a:pt x="42" y="108"/>
                    <a:pt x="42" y="108"/>
                    <a:pt x="42" y="108"/>
                  </a:cubicBezTo>
                  <a:cubicBezTo>
                    <a:pt x="42" y="116"/>
                    <a:pt x="36" y="122"/>
                    <a:pt x="28" y="123"/>
                  </a:cubicBezTo>
                  <a:cubicBezTo>
                    <a:pt x="28" y="103"/>
                    <a:pt x="28" y="103"/>
                    <a:pt x="28" y="103"/>
                  </a:cubicBezTo>
                  <a:cubicBezTo>
                    <a:pt x="28" y="103"/>
                    <a:pt x="28" y="103"/>
                    <a:pt x="28" y="103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1" y="71"/>
                    <a:pt x="21" y="71"/>
                    <a:pt x="21" y="71"/>
                  </a:cubicBezTo>
                  <a:cubicBezTo>
                    <a:pt x="21" y="76"/>
                    <a:pt x="21" y="76"/>
                    <a:pt x="21" y="76"/>
                  </a:cubicBezTo>
                  <a:cubicBezTo>
                    <a:pt x="21" y="76"/>
                    <a:pt x="21" y="76"/>
                    <a:pt x="21" y="76"/>
                  </a:cubicBezTo>
                  <a:cubicBezTo>
                    <a:pt x="21" y="97"/>
                    <a:pt x="21" y="97"/>
                    <a:pt x="21" y="97"/>
                  </a:cubicBezTo>
                  <a:cubicBezTo>
                    <a:pt x="13" y="95"/>
                    <a:pt x="7" y="89"/>
                    <a:pt x="7" y="81"/>
                  </a:cubicBezTo>
                  <a:cubicBezTo>
                    <a:pt x="7" y="81"/>
                    <a:pt x="7" y="81"/>
                    <a:pt x="7" y="81"/>
                  </a:cubicBezTo>
                  <a:cubicBezTo>
                    <a:pt x="7" y="81"/>
                    <a:pt x="7" y="81"/>
                    <a:pt x="7" y="81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11"/>
                    <a:pt x="7" y="23"/>
                    <a:pt x="7" y="23"/>
                  </a:cubicBezTo>
                  <a:cubicBezTo>
                    <a:pt x="7" y="22"/>
                    <a:pt x="6" y="20"/>
                    <a:pt x="4" y="20"/>
                  </a:cubicBezTo>
                  <a:cubicBezTo>
                    <a:pt x="2" y="20"/>
                    <a:pt x="0" y="22"/>
                    <a:pt x="0" y="23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1" y="82"/>
                    <a:pt x="1" y="82"/>
                    <a:pt x="1" y="82"/>
                  </a:cubicBezTo>
                  <a:cubicBezTo>
                    <a:pt x="1" y="92"/>
                    <a:pt x="10" y="101"/>
                    <a:pt x="21" y="103"/>
                  </a:cubicBezTo>
                  <a:cubicBezTo>
                    <a:pt x="21" y="141"/>
                    <a:pt x="21" y="141"/>
                    <a:pt x="21" y="141"/>
                  </a:cubicBezTo>
                  <a:cubicBezTo>
                    <a:pt x="28" y="141"/>
                    <a:pt x="28" y="141"/>
                    <a:pt x="28" y="141"/>
                  </a:cubicBezTo>
                  <a:cubicBezTo>
                    <a:pt x="28" y="129"/>
                    <a:pt x="28" y="129"/>
                    <a:pt x="28" y="129"/>
                  </a:cubicBezTo>
                  <a:cubicBezTo>
                    <a:pt x="39" y="128"/>
                    <a:pt x="49" y="119"/>
                    <a:pt x="49" y="109"/>
                  </a:cubicBezTo>
                  <a:cubicBezTo>
                    <a:pt x="49" y="109"/>
                    <a:pt x="49" y="109"/>
                    <a:pt x="49" y="109"/>
                  </a:cubicBezTo>
                  <a:cubicBezTo>
                    <a:pt x="49" y="102"/>
                    <a:pt x="49" y="102"/>
                    <a:pt x="49" y="102"/>
                  </a:cubicBezTo>
                  <a:cubicBezTo>
                    <a:pt x="49" y="102"/>
                    <a:pt x="49" y="102"/>
                    <a:pt x="49" y="102"/>
                  </a:cubicBezTo>
                  <a:lnTo>
                    <a:pt x="49" y="62"/>
                  </a:lnTo>
                  <a:close/>
                  <a:moveTo>
                    <a:pt x="70" y="52"/>
                  </a:moveTo>
                  <a:cubicBezTo>
                    <a:pt x="71" y="52"/>
                    <a:pt x="71" y="52"/>
                    <a:pt x="71" y="52"/>
                  </a:cubicBezTo>
                  <a:cubicBezTo>
                    <a:pt x="71" y="52"/>
                    <a:pt x="71" y="52"/>
                    <a:pt x="72" y="52"/>
                  </a:cubicBezTo>
                  <a:cubicBezTo>
                    <a:pt x="72" y="52"/>
                    <a:pt x="72" y="51"/>
                    <a:pt x="72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1"/>
                    <a:pt x="73" y="51"/>
                    <a:pt x="73" y="51"/>
                  </a:cubicBezTo>
                  <a:cubicBezTo>
                    <a:pt x="73" y="51"/>
                    <a:pt x="73" y="51"/>
                    <a:pt x="73" y="51"/>
                  </a:cubicBezTo>
                  <a:cubicBezTo>
                    <a:pt x="73" y="51"/>
                    <a:pt x="73" y="51"/>
                    <a:pt x="73" y="51"/>
                  </a:cubicBezTo>
                  <a:cubicBezTo>
                    <a:pt x="73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68" y="48"/>
                    <a:pt x="63" y="46"/>
                    <a:pt x="59" y="44"/>
                  </a:cubicBezTo>
                  <a:cubicBezTo>
                    <a:pt x="54" y="42"/>
                    <a:pt x="50" y="40"/>
                    <a:pt x="46" y="38"/>
                  </a:cubicBezTo>
                  <a:cubicBezTo>
                    <a:pt x="45" y="38"/>
                    <a:pt x="44" y="37"/>
                    <a:pt x="43" y="37"/>
                  </a:cubicBezTo>
                  <a:cubicBezTo>
                    <a:pt x="38" y="34"/>
                    <a:pt x="33" y="32"/>
                    <a:pt x="29" y="31"/>
                  </a:cubicBezTo>
                  <a:cubicBezTo>
                    <a:pt x="29" y="30"/>
                    <a:pt x="28" y="30"/>
                    <a:pt x="28" y="30"/>
                  </a:cubicBezTo>
                  <a:cubicBezTo>
                    <a:pt x="25" y="29"/>
                    <a:pt x="23" y="28"/>
                    <a:pt x="21" y="27"/>
                  </a:cubicBezTo>
                  <a:cubicBezTo>
                    <a:pt x="20" y="26"/>
                    <a:pt x="19" y="26"/>
                    <a:pt x="18" y="25"/>
                  </a:cubicBezTo>
                  <a:cubicBezTo>
                    <a:pt x="10" y="22"/>
                    <a:pt x="9" y="21"/>
                    <a:pt x="9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72"/>
                    <a:pt x="9" y="72"/>
                    <a:pt x="9" y="72"/>
                  </a:cubicBezTo>
                  <a:cubicBezTo>
                    <a:pt x="10" y="72"/>
                    <a:pt x="11" y="72"/>
                    <a:pt x="12" y="71"/>
                  </a:cubicBezTo>
                  <a:cubicBezTo>
                    <a:pt x="14" y="71"/>
                    <a:pt x="15" y="70"/>
                    <a:pt x="16" y="70"/>
                  </a:cubicBezTo>
                  <a:cubicBezTo>
                    <a:pt x="20" y="69"/>
                    <a:pt x="24" y="67"/>
                    <a:pt x="28" y="66"/>
                  </a:cubicBezTo>
                  <a:cubicBezTo>
                    <a:pt x="33" y="64"/>
                    <a:pt x="38" y="63"/>
                    <a:pt x="42" y="61"/>
                  </a:cubicBezTo>
                  <a:cubicBezTo>
                    <a:pt x="45" y="60"/>
                    <a:pt x="47" y="60"/>
                    <a:pt x="49" y="59"/>
                  </a:cubicBezTo>
                  <a:cubicBezTo>
                    <a:pt x="49" y="59"/>
                    <a:pt x="50" y="59"/>
                    <a:pt x="51" y="59"/>
                  </a:cubicBezTo>
                  <a:cubicBezTo>
                    <a:pt x="62" y="55"/>
                    <a:pt x="67" y="53"/>
                    <a:pt x="70" y="52"/>
                  </a:cubicBezTo>
                  <a:close/>
                  <a:moveTo>
                    <a:pt x="30" y="52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8" y="55"/>
                    <a:pt x="18" y="55"/>
                    <a:pt x="18" y="55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23" y="48"/>
                    <a:pt x="24" y="48"/>
                    <a:pt x="24" y="47"/>
                  </a:cubicBezTo>
                  <a:cubicBezTo>
                    <a:pt x="25" y="47"/>
                    <a:pt x="25" y="46"/>
                    <a:pt x="25" y="46"/>
                  </a:cubicBezTo>
                  <a:cubicBezTo>
                    <a:pt x="26" y="46"/>
                    <a:pt x="26" y="45"/>
                    <a:pt x="26" y="45"/>
                  </a:cubicBezTo>
                  <a:cubicBezTo>
                    <a:pt x="26" y="45"/>
                    <a:pt x="26" y="44"/>
                    <a:pt x="26" y="44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5" y="42"/>
                    <a:pt x="25" y="42"/>
                    <a:pt x="24" y="42"/>
                  </a:cubicBezTo>
                  <a:cubicBezTo>
                    <a:pt x="24" y="42"/>
                    <a:pt x="23" y="42"/>
                    <a:pt x="23" y="43"/>
                  </a:cubicBezTo>
                  <a:cubicBezTo>
                    <a:pt x="22" y="43"/>
                    <a:pt x="22" y="44"/>
                    <a:pt x="22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9" y="42"/>
                  </a:cubicBezTo>
                  <a:cubicBezTo>
                    <a:pt x="19" y="42"/>
                    <a:pt x="20" y="41"/>
                    <a:pt x="20" y="41"/>
                  </a:cubicBezTo>
                  <a:cubicBezTo>
                    <a:pt x="21" y="41"/>
                    <a:pt x="21" y="40"/>
                    <a:pt x="22" y="40"/>
                  </a:cubicBezTo>
                  <a:cubicBezTo>
                    <a:pt x="23" y="40"/>
                    <a:pt x="24" y="40"/>
                    <a:pt x="24" y="40"/>
                  </a:cubicBezTo>
                  <a:cubicBezTo>
                    <a:pt x="25" y="40"/>
                    <a:pt x="26" y="40"/>
                    <a:pt x="27" y="40"/>
                  </a:cubicBezTo>
                  <a:cubicBezTo>
                    <a:pt x="27" y="40"/>
                    <a:pt x="28" y="41"/>
                    <a:pt x="28" y="41"/>
                  </a:cubicBezTo>
                  <a:cubicBezTo>
                    <a:pt x="29" y="41"/>
                    <a:pt x="29" y="42"/>
                    <a:pt x="30" y="42"/>
                  </a:cubicBezTo>
                  <a:cubicBezTo>
                    <a:pt x="30" y="43"/>
                    <a:pt x="30" y="43"/>
                    <a:pt x="30" y="44"/>
                  </a:cubicBezTo>
                  <a:cubicBezTo>
                    <a:pt x="30" y="45"/>
                    <a:pt x="30" y="45"/>
                    <a:pt x="30" y="46"/>
                  </a:cubicBezTo>
                  <a:cubicBezTo>
                    <a:pt x="30" y="46"/>
                    <a:pt x="29" y="47"/>
                    <a:pt x="29" y="47"/>
                  </a:cubicBezTo>
                  <a:cubicBezTo>
                    <a:pt x="29" y="47"/>
                    <a:pt x="28" y="48"/>
                    <a:pt x="28" y="48"/>
                  </a:cubicBezTo>
                  <a:cubicBezTo>
                    <a:pt x="27" y="49"/>
                    <a:pt x="26" y="50"/>
                    <a:pt x="26" y="50"/>
                  </a:cubicBezTo>
                  <a:cubicBezTo>
                    <a:pt x="23" y="52"/>
                    <a:pt x="23" y="52"/>
                    <a:pt x="23" y="52"/>
                  </a:cubicBezTo>
                  <a:lnTo>
                    <a:pt x="30" y="52"/>
                  </a:lnTo>
                  <a:close/>
                  <a:moveTo>
                    <a:pt x="58" y="59"/>
                  </a:moveTo>
                  <a:cubicBezTo>
                    <a:pt x="51" y="61"/>
                    <a:pt x="51" y="61"/>
                    <a:pt x="51" y="61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116" y="85"/>
                    <a:pt x="116" y="85"/>
                    <a:pt x="116" y="85"/>
                  </a:cubicBezTo>
                  <a:cubicBezTo>
                    <a:pt x="82" y="70"/>
                    <a:pt x="65" y="63"/>
                    <a:pt x="58" y="59"/>
                  </a:cubicBezTo>
                  <a:close/>
                  <a:moveTo>
                    <a:pt x="70" y="88"/>
                  </a:moveTo>
                  <a:cubicBezTo>
                    <a:pt x="69" y="88"/>
                    <a:pt x="69" y="89"/>
                    <a:pt x="68" y="89"/>
                  </a:cubicBezTo>
                  <a:cubicBezTo>
                    <a:pt x="67" y="89"/>
                    <a:pt x="66" y="89"/>
                    <a:pt x="65" y="89"/>
                  </a:cubicBezTo>
                  <a:cubicBezTo>
                    <a:pt x="65" y="89"/>
                    <a:pt x="64" y="89"/>
                    <a:pt x="63" y="89"/>
                  </a:cubicBezTo>
                  <a:cubicBezTo>
                    <a:pt x="62" y="89"/>
                    <a:pt x="62" y="88"/>
                    <a:pt x="61" y="88"/>
                  </a:cubicBezTo>
                  <a:cubicBezTo>
                    <a:pt x="61" y="88"/>
                    <a:pt x="60" y="87"/>
                    <a:pt x="60" y="87"/>
                  </a:cubicBezTo>
                  <a:cubicBezTo>
                    <a:pt x="60" y="86"/>
                    <a:pt x="59" y="86"/>
                    <a:pt x="59" y="85"/>
                  </a:cubicBezTo>
                  <a:cubicBezTo>
                    <a:pt x="63" y="85"/>
                    <a:pt x="63" y="85"/>
                    <a:pt x="63" y="85"/>
                  </a:cubicBezTo>
                  <a:cubicBezTo>
                    <a:pt x="63" y="86"/>
                    <a:pt x="63" y="86"/>
                    <a:pt x="64" y="86"/>
                  </a:cubicBezTo>
                  <a:cubicBezTo>
                    <a:pt x="64" y="87"/>
                    <a:pt x="65" y="87"/>
                    <a:pt x="65" y="87"/>
                  </a:cubicBezTo>
                  <a:cubicBezTo>
                    <a:pt x="66" y="87"/>
                    <a:pt x="67" y="87"/>
                    <a:pt x="67" y="86"/>
                  </a:cubicBezTo>
                  <a:cubicBezTo>
                    <a:pt x="68" y="86"/>
                    <a:pt x="68" y="85"/>
                    <a:pt x="68" y="85"/>
                  </a:cubicBezTo>
                  <a:cubicBezTo>
                    <a:pt x="68" y="84"/>
                    <a:pt x="68" y="83"/>
                    <a:pt x="67" y="83"/>
                  </a:cubicBezTo>
                  <a:cubicBezTo>
                    <a:pt x="67" y="82"/>
                    <a:pt x="66" y="82"/>
                    <a:pt x="65" y="82"/>
                  </a:cubicBezTo>
                  <a:cubicBezTo>
                    <a:pt x="63" y="82"/>
                    <a:pt x="63" y="82"/>
                    <a:pt x="63" y="82"/>
                  </a:cubicBezTo>
                  <a:cubicBezTo>
                    <a:pt x="63" y="80"/>
                    <a:pt x="63" y="80"/>
                    <a:pt x="63" y="80"/>
                  </a:cubicBezTo>
                  <a:cubicBezTo>
                    <a:pt x="65" y="80"/>
                    <a:pt x="65" y="80"/>
                    <a:pt x="65" y="80"/>
                  </a:cubicBezTo>
                  <a:cubicBezTo>
                    <a:pt x="65" y="80"/>
                    <a:pt x="66" y="80"/>
                    <a:pt x="66" y="80"/>
                  </a:cubicBezTo>
                  <a:cubicBezTo>
                    <a:pt x="66" y="80"/>
                    <a:pt x="67" y="79"/>
                    <a:pt x="67" y="79"/>
                  </a:cubicBezTo>
                  <a:cubicBezTo>
                    <a:pt x="67" y="79"/>
                    <a:pt x="67" y="79"/>
                    <a:pt x="67" y="79"/>
                  </a:cubicBezTo>
                  <a:cubicBezTo>
                    <a:pt x="67" y="78"/>
                    <a:pt x="67" y="78"/>
                    <a:pt x="67" y="78"/>
                  </a:cubicBezTo>
                  <a:cubicBezTo>
                    <a:pt x="67" y="77"/>
                    <a:pt x="67" y="77"/>
                    <a:pt x="67" y="76"/>
                  </a:cubicBezTo>
                  <a:cubicBezTo>
                    <a:pt x="67" y="76"/>
                    <a:pt x="66" y="76"/>
                    <a:pt x="65" y="76"/>
                  </a:cubicBezTo>
                  <a:cubicBezTo>
                    <a:pt x="64" y="76"/>
                    <a:pt x="64" y="76"/>
                    <a:pt x="63" y="77"/>
                  </a:cubicBezTo>
                  <a:cubicBezTo>
                    <a:pt x="60" y="77"/>
                    <a:pt x="60" y="77"/>
                    <a:pt x="60" y="77"/>
                  </a:cubicBezTo>
                  <a:cubicBezTo>
                    <a:pt x="60" y="76"/>
                    <a:pt x="61" y="75"/>
                    <a:pt x="62" y="75"/>
                  </a:cubicBezTo>
                  <a:cubicBezTo>
                    <a:pt x="63" y="74"/>
                    <a:pt x="64" y="74"/>
                    <a:pt x="66" y="74"/>
                  </a:cubicBezTo>
                  <a:cubicBezTo>
                    <a:pt x="66" y="74"/>
                    <a:pt x="67" y="74"/>
                    <a:pt x="68" y="74"/>
                  </a:cubicBezTo>
                  <a:cubicBezTo>
                    <a:pt x="69" y="74"/>
                    <a:pt x="69" y="74"/>
                    <a:pt x="70" y="75"/>
                  </a:cubicBezTo>
                  <a:cubicBezTo>
                    <a:pt x="70" y="75"/>
                    <a:pt x="71" y="75"/>
                    <a:pt x="71" y="76"/>
                  </a:cubicBezTo>
                  <a:cubicBezTo>
                    <a:pt x="71" y="76"/>
                    <a:pt x="71" y="77"/>
                    <a:pt x="71" y="77"/>
                  </a:cubicBezTo>
                  <a:cubicBezTo>
                    <a:pt x="71" y="78"/>
                    <a:pt x="71" y="78"/>
                    <a:pt x="71" y="79"/>
                  </a:cubicBezTo>
                  <a:cubicBezTo>
                    <a:pt x="71" y="79"/>
                    <a:pt x="71" y="79"/>
                    <a:pt x="70" y="80"/>
                  </a:cubicBezTo>
                  <a:cubicBezTo>
                    <a:pt x="70" y="80"/>
                    <a:pt x="70" y="80"/>
                    <a:pt x="69" y="80"/>
                  </a:cubicBezTo>
                  <a:cubicBezTo>
                    <a:pt x="69" y="81"/>
                    <a:pt x="68" y="81"/>
                    <a:pt x="68" y="81"/>
                  </a:cubicBezTo>
                  <a:cubicBezTo>
                    <a:pt x="68" y="81"/>
                    <a:pt x="69" y="81"/>
                    <a:pt x="69" y="81"/>
                  </a:cubicBezTo>
                  <a:cubicBezTo>
                    <a:pt x="70" y="81"/>
                    <a:pt x="70" y="82"/>
                    <a:pt x="71" y="82"/>
                  </a:cubicBezTo>
                  <a:cubicBezTo>
                    <a:pt x="71" y="82"/>
                    <a:pt x="71" y="83"/>
                    <a:pt x="71" y="83"/>
                  </a:cubicBezTo>
                  <a:cubicBezTo>
                    <a:pt x="72" y="84"/>
                    <a:pt x="72" y="84"/>
                    <a:pt x="72" y="84"/>
                  </a:cubicBezTo>
                  <a:cubicBezTo>
                    <a:pt x="72" y="85"/>
                    <a:pt x="72" y="86"/>
                    <a:pt x="71" y="86"/>
                  </a:cubicBezTo>
                  <a:cubicBezTo>
                    <a:pt x="71" y="87"/>
                    <a:pt x="70" y="87"/>
                    <a:pt x="70" y="88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3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3" fontAlgn="auto">
                <a:spcBef>
                  <a:spcPts val="0"/>
                </a:spcBef>
                <a:spcAft>
                  <a:spcPts val="0"/>
                </a:spcAft>
              </a:pPr>
              <a:endParaRPr lang="en-CA" sz="700" dirty="0">
                <a:solidFill>
                  <a:srgbClr val="BF0E11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30" name="Freeform 74"/>
            <p:cNvSpPr>
              <a:spLocks noChangeAspect="1" noEditPoints="1"/>
            </p:cNvSpPr>
            <p:nvPr userDrawn="1"/>
          </p:nvSpPr>
          <p:spPr bwMode="auto">
            <a:xfrm>
              <a:off x="5931413" y="3282761"/>
              <a:ext cx="137160" cy="166445"/>
            </a:xfrm>
            <a:custGeom>
              <a:avLst/>
              <a:gdLst>
                <a:gd name="T0" fmla="*/ 21 w 116"/>
                <a:gd name="T1" fmla="*/ 3 h 141"/>
                <a:gd name="T2" fmla="*/ 28 w 116"/>
                <a:gd name="T3" fmla="*/ 3 h 141"/>
                <a:gd name="T4" fmla="*/ 29 w 116"/>
                <a:gd name="T5" fmla="*/ 28 h 141"/>
                <a:gd name="T6" fmla="*/ 45 w 116"/>
                <a:gd name="T7" fmla="*/ 32 h 141"/>
                <a:gd name="T8" fmla="*/ 38 w 116"/>
                <a:gd name="T9" fmla="*/ 22 h 141"/>
                <a:gd name="T10" fmla="*/ 45 w 116"/>
                <a:gd name="T11" fmla="*/ 17 h 141"/>
                <a:gd name="T12" fmla="*/ 42 w 116"/>
                <a:gd name="T13" fmla="*/ 64 h 141"/>
                <a:gd name="T14" fmla="*/ 42 w 116"/>
                <a:gd name="T15" fmla="*/ 108 h 141"/>
                <a:gd name="T16" fmla="*/ 28 w 116"/>
                <a:gd name="T17" fmla="*/ 123 h 141"/>
                <a:gd name="T18" fmla="*/ 28 w 116"/>
                <a:gd name="T19" fmla="*/ 69 h 141"/>
                <a:gd name="T20" fmla="*/ 21 w 116"/>
                <a:gd name="T21" fmla="*/ 76 h 141"/>
                <a:gd name="T22" fmla="*/ 7 w 116"/>
                <a:gd name="T23" fmla="*/ 81 h 141"/>
                <a:gd name="T24" fmla="*/ 7 w 116"/>
                <a:gd name="T25" fmla="*/ 23 h 141"/>
                <a:gd name="T26" fmla="*/ 0 w 116"/>
                <a:gd name="T27" fmla="*/ 81 h 141"/>
                <a:gd name="T28" fmla="*/ 0 w 116"/>
                <a:gd name="T29" fmla="*/ 82 h 141"/>
                <a:gd name="T30" fmla="*/ 21 w 116"/>
                <a:gd name="T31" fmla="*/ 141 h 141"/>
                <a:gd name="T32" fmla="*/ 49 w 116"/>
                <a:gd name="T33" fmla="*/ 109 h 141"/>
                <a:gd name="T34" fmla="*/ 49 w 116"/>
                <a:gd name="T35" fmla="*/ 102 h 141"/>
                <a:gd name="T36" fmla="*/ 71 w 116"/>
                <a:gd name="T37" fmla="*/ 52 h 141"/>
                <a:gd name="T38" fmla="*/ 72 w 116"/>
                <a:gd name="T39" fmla="*/ 51 h 141"/>
                <a:gd name="T40" fmla="*/ 73 w 116"/>
                <a:gd name="T41" fmla="*/ 51 h 141"/>
                <a:gd name="T42" fmla="*/ 74 w 116"/>
                <a:gd name="T43" fmla="*/ 51 h 141"/>
                <a:gd name="T44" fmla="*/ 46 w 116"/>
                <a:gd name="T45" fmla="*/ 38 h 141"/>
                <a:gd name="T46" fmla="*/ 28 w 116"/>
                <a:gd name="T47" fmla="*/ 30 h 141"/>
                <a:gd name="T48" fmla="*/ 9 w 116"/>
                <a:gd name="T49" fmla="*/ 21 h 141"/>
                <a:gd name="T50" fmla="*/ 9 w 116"/>
                <a:gd name="T51" fmla="*/ 21 h 141"/>
                <a:gd name="T52" fmla="*/ 16 w 116"/>
                <a:gd name="T53" fmla="*/ 70 h 141"/>
                <a:gd name="T54" fmla="*/ 49 w 116"/>
                <a:gd name="T55" fmla="*/ 59 h 141"/>
                <a:gd name="T56" fmla="*/ 30 w 116"/>
                <a:gd name="T57" fmla="*/ 52 h 141"/>
                <a:gd name="T58" fmla="*/ 18 w 116"/>
                <a:gd name="T59" fmla="*/ 52 h 141"/>
                <a:gd name="T60" fmla="*/ 25 w 116"/>
                <a:gd name="T61" fmla="*/ 46 h 141"/>
                <a:gd name="T62" fmla="*/ 26 w 116"/>
                <a:gd name="T63" fmla="*/ 43 h 141"/>
                <a:gd name="T64" fmla="*/ 22 w 116"/>
                <a:gd name="T65" fmla="*/ 44 h 141"/>
                <a:gd name="T66" fmla="*/ 20 w 116"/>
                <a:gd name="T67" fmla="*/ 41 h 141"/>
                <a:gd name="T68" fmla="*/ 27 w 116"/>
                <a:gd name="T69" fmla="*/ 40 h 141"/>
                <a:gd name="T70" fmla="*/ 30 w 116"/>
                <a:gd name="T71" fmla="*/ 44 h 141"/>
                <a:gd name="T72" fmla="*/ 28 w 116"/>
                <a:gd name="T73" fmla="*/ 48 h 141"/>
                <a:gd name="T74" fmla="*/ 30 w 116"/>
                <a:gd name="T75" fmla="*/ 52 h 141"/>
                <a:gd name="T76" fmla="*/ 51 w 116"/>
                <a:gd name="T77" fmla="*/ 107 h 141"/>
                <a:gd name="T78" fmla="*/ 70 w 116"/>
                <a:gd name="T79" fmla="*/ 88 h 141"/>
                <a:gd name="T80" fmla="*/ 63 w 116"/>
                <a:gd name="T81" fmla="*/ 89 h 141"/>
                <a:gd name="T82" fmla="*/ 59 w 116"/>
                <a:gd name="T83" fmla="*/ 85 h 141"/>
                <a:gd name="T84" fmla="*/ 65 w 116"/>
                <a:gd name="T85" fmla="*/ 87 h 141"/>
                <a:gd name="T86" fmla="*/ 67 w 116"/>
                <a:gd name="T87" fmla="*/ 83 h 141"/>
                <a:gd name="T88" fmla="*/ 63 w 116"/>
                <a:gd name="T89" fmla="*/ 80 h 141"/>
                <a:gd name="T90" fmla="*/ 67 w 116"/>
                <a:gd name="T91" fmla="*/ 79 h 141"/>
                <a:gd name="T92" fmla="*/ 67 w 116"/>
                <a:gd name="T93" fmla="*/ 76 h 141"/>
                <a:gd name="T94" fmla="*/ 60 w 116"/>
                <a:gd name="T95" fmla="*/ 77 h 141"/>
                <a:gd name="T96" fmla="*/ 68 w 116"/>
                <a:gd name="T97" fmla="*/ 74 h 141"/>
                <a:gd name="T98" fmla="*/ 71 w 116"/>
                <a:gd name="T99" fmla="*/ 77 h 141"/>
                <a:gd name="T100" fmla="*/ 69 w 116"/>
                <a:gd name="T101" fmla="*/ 80 h 141"/>
                <a:gd name="T102" fmla="*/ 71 w 116"/>
                <a:gd name="T103" fmla="*/ 82 h 141"/>
                <a:gd name="T104" fmla="*/ 71 w 116"/>
                <a:gd name="T105" fmla="*/ 86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16" h="141">
                  <a:moveTo>
                    <a:pt x="28" y="3"/>
                  </a:moveTo>
                  <a:cubicBezTo>
                    <a:pt x="28" y="1"/>
                    <a:pt x="26" y="0"/>
                    <a:pt x="24" y="0"/>
                  </a:cubicBezTo>
                  <a:cubicBezTo>
                    <a:pt x="23" y="0"/>
                    <a:pt x="21" y="1"/>
                    <a:pt x="21" y="3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11"/>
                    <a:pt x="28" y="3"/>
                    <a:pt x="28" y="3"/>
                  </a:cubicBezTo>
                  <a:close/>
                  <a:moveTo>
                    <a:pt x="94" y="32"/>
                  </a:moveTo>
                  <a:cubicBezTo>
                    <a:pt x="29" y="3"/>
                    <a:pt x="29" y="3"/>
                    <a:pt x="29" y="3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94" y="32"/>
                    <a:pt x="94" y="32"/>
                    <a:pt x="94" y="32"/>
                  </a:cubicBezTo>
                  <a:close/>
                  <a:moveTo>
                    <a:pt x="45" y="32"/>
                  </a:moveTo>
                  <a:cubicBezTo>
                    <a:pt x="42" y="32"/>
                    <a:pt x="42" y="32"/>
                    <a:pt x="42" y="32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5" y="17"/>
                    <a:pt x="45" y="17"/>
                    <a:pt x="45" y="17"/>
                  </a:cubicBezTo>
                  <a:lnTo>
                    <a:pt x="45" y="32"/>
                  </a:lnTo>
                  <a:close/>
                  <a:moveTo>
                    <a:pt x="49" y="62"/>
                  </a:moveTo>
                  <a:cubicBezTo>
                    <a:pt x="42" y="64"/>
                    <a:pt x="42" y="64"/>
                    <a:pt x="42" y="64"/>
                  </a:cubicBezTo>
                  <a:cubicBezTo>
                    <a:pt x="42" y="103"/>
                    <a:pt x="42" y="103"/>
                    <a:pt x="42" y="103"/>
                  </a:cubicBezTo>
                  <a:cubicBezTo>
                    <a:pt x="42" y="103"/>
                    <a:pt x="42" y="103"/>
                    <a:pt x="42" y="103"/>
                  </a:cubicBezTo>
                  <a:cubicBezTo>
                    <a:pt x="42" y="108"/>
                    <a:pt x="42" y="108"/>
                    <a:pt x="42" y="108"/>
                  </a:cubicBezTo>
                  <a:cubicBezTo>
                    <a:pt x="42" y="108"/>
                    <a:pt x="42" y="108"/>
                    <a:pt x="42" y="108"/>
                  </a:cubicBezTo>
                  <a:cubicBezTo>
                    <a:pt x="42" y="108"/>
                    <a:pt x="42" y="108"/>
                    <a:pt x="42" y="108"/>
                  </a:cubicBezTo>
                  <a:cubicBezTo>
                    <a:pt x="42" y="116"/>
                    <a:pt x="36" y="122"/>
                    <a:pt x="28" y="123"/>
                  </a:cubicBezTo>
                  <a:cubicBezTo>
                    <a:pt x="28" y="103"/>
                    <a:pt x="28" y="103"/>
                    <a:pt x="28" y="103"/>
                  </a:cubicBezTo>
                  <a:cubicBezTo>
                    <a:pt x="28" y="103"/>
                    <a:pt x="28" y="103"/>
                    <a:pt x="28" y="103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1" y="71"/>
                    <a:pt x="21" y="71"/>
                    <a:pt x="21" y="71"/>
                  </a:cubicBezTo>
                  <a:cubicBezTo>
                    <a:pt x="21" y="76"/>
                    <a:pt x="21" y="76"/>
                    <a:pt x="21" y="76"/>
                  </a:cubicBezTo>
                  <a:cubicBezTo>
                    <a:pt x="21" y="76"/>
                    <a:pt x="21" y="76"/>
                    <a:pt x="21" y="76"/>
                  </a:cubicBezTo>
                  <a:cubicBezTo>
                    <a:pt x="21" y="97"/>
                    <a:pt x="21" y="97"/>
                    <a:pt x="21" y="97"/>
                  </a:cubicBezTo>
                  <a:cubicBezTo>
                    <a:pt x="13" y="95"/>
                    <a:pt x="7" y="89"/>
                    <a:pt x="7" y="81"/>
                  </a:cubicBezTo>
                  <a:cubicBezTo>
                    <a:pt x="7" y="81"/>
                    <a:pt x="7" y="81"/>
                    <a:pt x="7" y="81"/>
                  </a:cubicBezTo>
                  <a:cubicBezTo>
                    <a:pt x="7" y="81"/>
                    <a:pt x="7" y="81"/>
                    <a:pt x="7" y="81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11"/>
                    <a:pt x="7" y="23"/>
                    <a:pt x="7" y="23"/>
                  </a:cubicBezTo>
                  <a:cubicBezTo>
                    <a:pt x="7" y="22"/>
                    <a:pt x="6" y="20"/>
                    <a:pt x="4" y="20"/>
                  </a:cubicBezTo>
                  <a:cubicBezTo>
                    <a:pt x="2" y="20"/>
                    <a:pt x="0" y="22"/>
                    <a:pt x="0" y="23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1" y="82"/>
                    <a:pt x="1" y="82"/>
                    <a:pt x="1" y="82"/>
                  </a:cubicBezTo>
                  <a:cubicBezTo>
                    <a:pt x="1" y="92"/>
                    <a:pt x="10" y="101"/>
                    <a:pt x="21" y="103"/>
                  </a:cubicBezTo>
                  <a:cubicBezTo>
                    <a:pt x="21" y="141"/>
                    <a:pt x="21" y="141"/>
                    <a:pt x="21" y="141"/>
                  </a:cubicBezTo>
                  <a:cubicBezTo>
                    <a:pt x="28" y="141"/>
                    <a:pt x="28" y="141"/>
                    <a:pt x="28" y="141"/>
                  </a:cubicBezTo>
                  <a:cubicBezTo>
                    <a:pt x="28" y="129"/>
                    <a:pt x="28" y="129"/>
                    <a:pt x="28" y="129"/>
                  </a:cubicBezTo>
                  <a:cubicBezTo>
                    <a:pt x="39" y="128"/>
                    <a:pt x="49" y="119"/>
                    <a:pt x="49" y="109"/>
                  </a:cubicBezTo>
                  <a:cubicBezTo>
                    <a:pt x="49" y="109"/>
                    <a:pt x="49" y="109"/>
                    <a:pt x="49" y="109"/>
                  </a:cubicBezTo>
                  <a:cubicBezTo>
                    <a:pt x="49" y="102"/>
                    <a:pt x="49" y="102"/>
                    <a:pt x="49" y="102"/>
                  </a:cubicBezTo>
                  <a:cubicBezTo>
                    <a:pt x="49" y="102"/>
                    <a:pt x="49" y="102"/>
                    <a:pt x="49" y="102"/>
                  </a:cubicBezTo>
                  <a:lnTo>
                    <a:pt x="49" y="62"/>
                  </a:lnTo>
                  <a:close/>
                  <a:moveTo>
                    <a:pt x="70" y="52"/>
                  </a:moveTo>
                  <a:cubicBezTo>
                    <a:pt x="71" y="52"/>
                    <a:pt x="71" y="52"/>
                    <a:pt x="71" y="52"/>
                  </a:cubicBezTo>
                  <a:cubicBezTo>
                    <a:pt x="71" y="52"/>
                    <a:pt x="71" y="52"/>
                    <a:pt x="72" y="52"/>
                  </a:cubicBezTo>
                  <a:cubicBezTo>
                    <a:pt x="72" y="52"/>
                    <a:pt x="72" y="51"/>
                    <a:pt x="72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1"/>
                    <a:pt x="73" y="51"/>
                    <a:pt x="73" y="51"/>
                  </a:cubicBezTo>
                  <a:cubicBezTo>
                    <a:pt x="73" y="51"/>
                    <a:pt x="73" y="51"/>
                    <a:pt x="73" y="51"/>
                  </a:cubicBezTo>
                  <a:cubicBezTo>
                    <a:pt x="73" y="51"/>
                    <a:pt x="73" y="51"/>
                    <a:pt x="73" y="51"/>
                  </a:cubicBezTo>
                  <a:cubicBezTo>
                    <a:pt x="73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68" y="48"/>
                    <a:pt x="63" y="46"/>
                    <a:pt x="59" y="44"/>
                  </a:cubicBezTo>
                  <a:cubicBezTo>
                    <a:pt x="54" y="42"/>
                    <a:pt x="50" y="40"/>
                    <a:pt x="46" y="38"/>
                  </a:cubicBezTo>
                  <a:cubicBezTo>
                    <a:pt x="45" y="38"/>
                    <a:pt x="44" y="37"/>
                    <a:pt x="43" y="37"/>
                  </a:cubicBezTo>
                  <a:cubicBezTo>
                    <a:pt x="38" y="34"/>
                    <a:pt x="33" y="32"/>
                    <a:pt x="29" y="31"/>
                  </a:cubicBezTo>
                  <a:cubicBezTo>
                    <a:pt x="29" y="30"/>
                    <a:pt x="28" y="30"/>
                    <a:pt x="28" y="30"/>
                  </a:cubicBezTo>
                  <a:cubicBezTo>
                    <a:pt x="25" y="29"/>
                    <a:pt x="23" y="28"/>
                    <a:pt x="21" y="27"/>
                  </a:cubicBezTo>
                  <a:cubicBezTo>
                    <a:pt x="20" y="26"/>
                    <a:pt x="19" y="26"/>
                    <a:pt x="18" y="25"/>
                  </a:cubicBezTo>
                  <a:cubicBezTo>
                    <a:pt x="10" y="22"/>
                    <a:pt x="9" y="21"/>
                    <a:pt x="9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72"/>
                    <a:pt x="9" y="72"/>
                    <a:pt x="9" y="72"/>
                  </a:cubicBezTo>
                  <a:cubicBezTo>
                    <a:pt x="10" y="72"/>
                    <a:pt x="11" y="72"/>
                    <a:pt x="12" y="71"/>
                  </a:cubicBezTo>
                  <a:cubicBezTo>
                    <a:pt x="14" y="71"/>
                    <a:pt x="15" y="70"/>
                    <a:pt x="16" y="70"/>
                  </a:cubicBezTo>
                  <a:cubicBezTo>
                    <a:pt x="20" y="69"/>
                    <a:pt x="24" y="67"/>
                    <a:pt x="28" y="66"/>
                  </a:cubicBezTo>
                  <a:cubicBezTo>
                    <a:pt x="33" y="64"/>
                    <a:pt x="38" y="63"/>
                    <a:pt x="42" y="61"/>
                  </a:cubicBezTo>
                  <a:cubicBezTo>
                    <a:pt x="45" y="60"/>
                    <a:pt x="47" y="60"/>
                    <a:pt x="49" y="59"/>
                  </a:cubicBezTo>
                  <a:cubicBezTo>
                    <a:pt x="49" y="59"/>
                    <a:pt x="50" y="59"/>
                    <a:pt x="51" y="59"/>
                  </a:cubicBezTo>
                  <a:cubicBezTo>
                    <a:pt x="62" y="55"/>
                    <a:pt x="67" y="53"/>
                    <a:pt x="70" y="52"/>
                  </a:cubicBezTo>
                  <a:close/>
                  <a:moveTo>
                    <a:pt x="30" y="52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8" y="55"/>
                    <a:pt x="18" y="55"/>
                    <a:pt x="18" y="55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23" y="48"/>
                    <a:pt x="24" y="48"/>
                    <a:pt x="24" y="47"/>
                  </a:cubicBezTo>
                  <a:cubicBezTo>
                    <a:pt x="25" y="47"/>
                    <a:pt x="25" y="46"/>
                    <a:pt x="25" y="46"/>
                  </a:cubicBezTo>
                  <a:cubicBezTo>
                    <a:pt x="26" y="46"/>
                    <a:pt x="26" y="45"/>
                    <a:pt x="26" y="45"/>
                  </a:cubicBezTo>
                  <a:cubicBezTo>
                    <a:pt x="26" y="45"/>
                    <a:pt x="26" y="44"/>
                    <a:pt x="26" y="44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5" y="42"/>
                    <a:pt x="25" y="42"/>
                    <a:pt x="24" y="42"/>
                  </a:cubicBezTo>
                  <a:cubicBezTo>
                    <a:pt x="24" y="42"/>
                    <a:pt x="23" y="42"/>
                    <a:pt x="23" y="43"/>
                  </a:cubicBezTo>
                  <a:cubicBezTo>
                    <a:pt x="22" y="43"/>
                    <a:pt x="22" y="44"/>
                    <a:pt x="22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9" y="42"/>
                  </a:cubicBezTo>
                  <a:cubicBezTo>
                    <a:pt x="19" y="42"/>
                    <a:pt x="20" y="41"/>
                    <a:pt x="20" y="41"/>
                  </a:cubicBezTo>
                  <a:cubicBezTo>
                    <a:pt x="21" y="41"/>
                    <a:pt x="21" y="40"/>
                    <a:pt x="22" y="40"/>
                  </a:cubicBezTo>
                  <a:cubicBezTo>
                    <a:pt x="23" y="40"/>
                    <a:pt x="24" y="40"/>
                    <a:pt x="24" y="40"/>
                  </a:cubicBezTo>
                  <a:cubicBezTo>
                    <a:pt x="25" y="40"/>
                    <a:pt x="26" y="40"/>
                    <a:pt x="27" y="40"/>
                  </a:cubicBezTo>
                  <a:cubicBezTo>
                    <a:pt x="27" y="40"/>
                    <a:pt x="28" y="41"/>
                    <a:pt x="28" y="41"/>
                  </a:cubicBezTo>
                  <a:cubicBezTo>
                    <a:pt x="29" y="41"/>
                    <a:pt x="29" y="42"/>
                    <a:pt x="30" y="42"/>
                  </a:cubicBezTo>
                  <a:cubicBezTo>
                    <a:pt x="30" y="43"/>
                    <a:pt x="30" y="43"/>
                    <a:pt x="30" y="44"/>
                  </a:cubicBezTo>
                  <a:cubicBezTo>
                    <a:pt x="30" y="45"/>
                    <a:pt x="30" y="45"/>
                    <a:pt x="30" y="46"/>
                  </a:cubicBezTo>
                  <a:cubicBezTo>
                    <a:pt x="30" y="46"/>
                    <a:pt x="29" y="47"/>
                    <a:pt x="29" y="47"/>
                  </a:cubicBezTo>
                  <a:cubicBezTo>
                    <a:pt x="29" y="47"/>
                    <a:pt x="28" y="48"/>
                    <a:pt x="28" y="48"/>
                  </a:cubicBezTo>
                  <a:cubicBezTo>
                    <a:pt x="27" y="49"/>
                    <a:pt x="26" y="50"/>
                    <a:pt x="26" y="50"/>
                  </a:cubicBezTo>
                  <a:cubicBezTo>
                    <a:pt x="23" y="52"/>
                    <a:pt x="23" y="52"/>
                    <a:pt x="23" y="52"/>
                  </a:cubicBezTo>
                  <a:lnTo>
                    <a:pt x="30" y="52"/>
                  </a:lnTo>
                  <a:close/>
                  <a:moveTo>
                    <a:pt x="58" y="59"/>
                  </a:moveTo>
                  <a:cubicBezTo>
                    <a:pt x="51" y="61"/>
                    <a:pt x="51" y="61"/>
                    <a:pt x="51" y="61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116" y="85"/>
                    <a:pt x="116" y="85"/>
                    <a:pt x="116" y="85"/>
                  </a:cubicBezTo>
                  <a:cubicBezTo>
                    <a:pt x="82" y="70"/>
                    <a:pt x="65" y="63"/>
                    <a:pt x="58" y="59"/>
                  </a:cubicBezTo>
                  <a:close/>
                  <a:moveTo>
                    <a:pt x="70" y="88"/>
                  </a:moveTo>
                  <a:cubicBezTo>
                    <a:pt x="69" y="88"/>
                    <a:pt x="69" y="89"/>
                    <a:pt x="68" y="89"/>
                  </a:cubicBezTo>
                  <a:cubicBezTo>
                    <a:pt x="67" y="89"/>
                    <a:pt x="66" y="89"/>
                    <a:pt x="65" y="89"/>
                  </a:cubicBezTo>
                  <a:cubicBezTo>
                    <a:pt x="65" y="89"/>
                    <a:pt x="64" y="89"/>
                    <a:pt x="63" y="89"/>
                  </a:cubicBezTo>
                  <a:cubicBezTo>
                    <a:pt x="62" y="89"/>
                    <a:pt x="62" y="88"/>
                    <a:pt x="61" y="88"/>
                  </a:cubicBezTo>
                  <a:cubicBezTo>
                    <a:pt x="61" y="88"/>
                    <a:pt x="60" y="87"/>
                    <a:pt x="60" y="87"/>
                  </a:cubicBezTo>
                  <a:cubicBezTo>
                    <a:pt x="60" y="86"/>
                    <a:pt x="59" y="86"/>
                    <a:pt x="59" y="85"/>
                  </a:cubicBezTo>
                  <a:cubicBezTo>
                    <a:pt x="63" y="85"/>
                    <a:pt x="63" y="85"/>
                    <a:pt x="63" y="85"/>
                  </a:cubicBezTo>
                  <a:cubicBezTo>
                    <a:pt x="63" y="86"/>
                    <a:pt x="63" y="86"/>
                    <a:pt x="64" y="86"/>
                  </a:cubicBezTo>
                  <a:cubicBezTo>
                    <a:pt x="64" y="87"/>
                    <a:pt x="65" y="87"/>
                    <a:pt x="65" y="87"/>
                  </a:cubicBezTo>
                  <a:cubicBezTo>
                    <a:pt x="66" y="87"/>
                    <a:pt x="67" y="87"/>
                    <a:pt x="67" y="86"/>
                  </a:cubicBezTo>
                  <a:cubicBezTo>
                    <a:pt x="68" y="86"/>
                    <a:pt x="68" y="85"/>
                    <a:pt x="68" y="85"/>
                  </a:cubicBezTo>
                  <a:cubicBezTo>
                    <a:pt x="68" y="84"/>
                    <a:pt x="68" y="83"/>
                    <a:pt x="67" y="83"/>
                  </a:cubicBezTo>
                  <a:cubicBezTo>
                    <a:pt x="67" y="82"/>
                    <a:pt x="66" y="82"/>
                    <a:pt x="65" y="82"/>
                  </a:cubicBezTo>
                  <a:cubicBezTo>
                    <a:pt x="63" y="82"/>
                    <a:pt x="63" y="82"/>
                    <a:pt x="63" y="82"/>
                  </a:cubicBezTo>
                  <a:cubicBezTo>
                    <a:pt x="63" y="80"/>
                    <a:pt x="63" y="80"/>
                    <a:pt x="63" y="80"/>
                  </a:cubicBezTo>
                  <a:cubicBezTo>
                    <a:pt x="65" y="80"/>
                    <a:pt x="65" y="80"/>
                    <a:pt x="65" y="80"/>
                  </a:cubicBezTo>
                  <a:cubicBezTo>
                    <a:pt x="65" y="80"/>
                    <a:pt x="66" y="80"/>
                    <a:pt x="66" y="80"/>
                  </a:cubicBezTo>
                  <a:cubicBezTo>
                    <a:pt x="66" y="80"/>
                    <a:pt x="67" y="79"/>
                    <a:pt x="67" y="79"/>
                  </a:cubicBezTo>
                  <a:cubicBezTo>
                    <a:pt x="67" y="79"/>
                    <a:pt x="67" y="79"/>
                    <a:pt x="67" y="79"/>
                  </a:cubicBezTo>
                  <a:cubicBezTo>
                    <a:pt x="67" y="78"/>
                    <a:pt x="67" y="78"/>
                    <a:pt x="67" y="78"/>
                  </a:cubicBezTo>
                  <a:cubicBezTo>
                    <a:pt x="67" y="77"/>
                    <a:pt x="67" y="77"/>
                    <a:pt x="67" y="76"/>
                  </a:cubicBezTo>
                  <a:cubicBezTo>
                    <a:pt x="67" y="76"/>
                    <a:pt x="66" y="76"/>
                    <a:pt x="65" y="76"/>
                  </a:cubicBezTo>
                  <a:cubicBezTo>
                    <a:pt x="64" y="76"/>
                    <a:pt x="64" y="76"/>
                    <a:pt x="63" y="77"/>
                  </a:cubicBezTo>
                  <a:cubicBezTo>
                    <a:pt x="60" y="77"/>
                    <a:pt x="60" y="77"/>
                    <a:pt x="60" y="77"/>
                  </a:cubicBezTo>
                  <a:cubicBezTo>
                    <a:pt x="60" y="76"/>
                    <a:pt x="61" y="75"/>
                    <a:pt x="62" y="75"/>
                  </a:cubicBezTo>
                  <a:cubicBezTo>
                    <a:pt x="63" y="74"/>
                    <a:pt x="64" y="74"/>
                    <a:pt x="66" y="74"/>
                  </a:cubicBezTo>
                  <a:cubicBezTo>
                    <a:pt x="66" y="74"/>
                    <a:pt x="67" y="74"/>
                    <a:pt x="68" y="74"/>
                  </a:cubicBezTo>
                  <a:cubicBezTo>
                    <a:pt x="69" y="74"/>
                    <a:pt x="69" y="74"/>
                    <a:pt x="70" y="75"/>
                  </a:cubicBezTo>
                  <a:cubicBezTo>
                    <a:pt x="70" y="75"/>
                    <a:pt x="71" y="75"/>
                    <a:pt x="71" y="76"/>
                  </a:cubicBezTo>
                  <a:cubicBezTo>
                    <a:pt x="71" y="76"/>
                    <a:pt x="71" y="77"/>
                    <a:pt x="71" y="77"/>
                  </a:cubicBezTo>
                  <a:cubicBezTo>
                    <a:pt x="71" y="78"/>
                    <a:pt x="71" y="78"/>
                    <a:pt x="71" y="79"/>
                  </a:cubicBezTo>
                  <a:cubicBezTo>
                    <a:pt x="71" y="79"/>
                    <a:pt x="71" y="79"/>
                    <a:pt x="70" y="80"/>
                  </a:cubicBezTo>
                  <a:cubicBezTo>
                    <a:pt x="70" y="80"/>
                    <a:pt x="70" y="80"/>
                    <a:pt x="69" y="80"/>
                  </a:cubicBezTo>
                  <a:cubicBezTo>
                    <a:pt x="69" y="81"/>
                    <a:pt x="68" y="81"/>
                    <a:pt x="68" y="81"/>
                  </a:cubicBezTo>
                  <a:cubicBezTo>
                    <a:pt x="68" y="81"/>
                    <a:pt x="69" y="81"/>
                    <a:pt x="69" y="81"/>
                  </a:cubicBezTo>
                  <a:cubicBezTo>
                    <a:pt x="70" y="81"/>
                    <a:pt x="70" y="82"/>
                    <a:pt x="71" y="82"/>
                  </a:cubicBezTo>
                  <a:cubicBezTo>
                    <a:pt x="71" y="82"/>
                    <a:pt x="71" y="83"/>
                    <a:pt x="71" y="83"/>
                  </a:cubicBezTo>
                  <a:cubicBezTo>
                    <a:pt x="72" y="84"/>
                    <a:pt x="72" y="84"/>
                    <a:pt x="72" y="84"/>
                  </a:cubicBezTo>
                  <a:cubicBezTo>
                    <a:pt x="72" y="85"/>
                    <a:pt x="72" y="86"/>
                    <a:pt x="71" y="86"/>
                  </a:cubicBezTo>
                  <a:cubicBezTo>
                    <a:pt x="71" y="87"/>
                    <a:pt x="70" y="87"/>
                    <a:pt x="70" y="88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3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3" fontAlgn="auto">
                <a:spcBef>
                  <a:spcPts val="0"/>
                </a:spcBef>
                <a:spcAft>
                  <a:spcPts val="0"/>
                </a:spcAft>
              </a:pPr>
              <a:endParaRPr lang="en-CA" sz="700" dirty="0">
                <a:solidFill>
                  <a:srgbClr val="BF0E11"/>
                </a:solidFill>
                <a:latin typeface="Arial"/>
                <a:cs typeface="Arial" panose="020B0604020202020204" pitchFamily="34" charset="0"/>
              </a:endParaRPr>
            </a:p>
          </p:txBody>
        </p:sp>
        <p:grpSp>
          <p:nvGrpSpPr>
            <p:cNvPr id="31" name="Group 30"/>
            <p:cNvGrpSpPr>
              <a:grpSpLocks noChangeAspect="1"/>
            </p:cNvGrpSpPr>
            <p:nvPr userDrawn="1"/>
          </p:nvGrpSpPr>
          <p:grpSpPr>
            <a:xfrm>
              <a:off x="3976703" y="2462325"/>
              <a:ext cx="137160" cy="102044"/>
              <a:chOff x="3450620" y="1866903"/>
              <a:chExt cx="242113" cy="180127"/>
            </a:xfrm>
          </p:grpSpPr>
          <p:sp>
            <p:nvSpPr>
              <p:cNvPr id="32" name="Freeform 5"/>
              <p:cNvSpPr>
                <a:spLocks noEditPoints="1"/>
              </p:cNvSpPr>
              <p:nvPr/>
            </p:nvSpPr>
            <p:spPr bwMode="auto">
              <a:xfrm>
                <a:off x="3450620" y="1919774"/>
                <a:ext cx="242113" cy="127256"/>
              </a:xfrm>
              <a:custGeom>
                <a:avLst/>
                <a:gdLst>
                  <a:gd name="T0" fmla="*/ 242 w 280"/>
                  <a:gd name="T1" fmla="*/ 51 h 147"/>
                  <a:gd name="T2" fmla="*/ 246 w 280"/>
                  <a:gd name="T3" fmla="*/ 51 h 147"/>
                  <a:gd name="T4" fmla="*/ 261 w 280"/>
                  <a:gd name="T5" fmla="*/ 51 h 147"/>
                  <a:gd name="T6" fmla="*/ 280 w 280"/>
                  <a:gd name="T7" fmla="*/ 70 h 147"/>
                  <a:gd name="T8" fmla="*/ 280 w 280"/>
                  <a:gd name="T9" fmla="*/ 127 h 147"/>
                  <a:gd name="T10" fmla="*/ 260 w 280"/>
                  <a:gd name="T11" fmla="*/ 147 h 147"/>
                  <a:gd name="T12" fmla="*/ 195 w 280"/>
                  <a:gd name="T13" fmla="*/ 147 h 147"/>
                  <a:gd name="T14" fmla="*/ 21 w 280"/>
                  <a:gd name="T15" fmla="*/ 147 h 147"/>
                  <a:gd name="T16" fmla="*/ 1 w 280"/>
                  <a:gd name="T17" fmla="*/ 132 h 147"/>
                  <a:gd name="T18" fmla="*/ 0 w 280"/>
                  <a:gd name="T19" fmla="*/ 126 h 147"/>
                  <a:gd name="T20" fmla="*/ 0 w 280"/>
                  <a:gd name="T21" fmla="*/ 72 h 147"/>
                  <a:gd name="T22" fmla="*/ 21 w 280"/>
                  <a:gd name="T23" fmla="*/ 51 h 147"/>
                  <a:gd name="T24" fmla="*/ 116 w 280"/>
                  <a:gd name="T25" fmla="*/ 51 h 147"/>
                  <a:gd name="T26" fmla="*/ 221 w 280"/>
                  <a:gd name="T27" fmla="*/ 51 h 147"/>
                  <a:gd name="T28" fmla="*/ 224 w 280"/>
                  <a:gd name="T29" fmla="*/ 48 h 147"/>
                  <a:gd name="T30" fmla="*/ 224 w 280"/>
                  <a:gd name="T31" fmla="*/ 13 h 147"/>
                  <a:gd name="T32" fmla="*/ 225 w 280"/>
                  <a:gd name="T33" fmla="*/ 5 h 147"/>
                  <a:gd name="T34" fmla="*/ 233 w 280"/>
                  <a:gd name="T35" fmla="*/ 0 h 147"/>
                  <a:gd name="T36" fmla="*/ 241 w 280"/>
                  <a:gd name="T37" fmla="*/ 5 h 147"/>
                  <a:gd name="T38" fmla="*/ 242 w 280"/>
                  <a:gd name="T39" fmla="*/ 13 h 147"/>
                  <a:gd name="T40" fmla="*/ 242 w 280"/>
                  <a:gd name="T41" fmla="*/ 47 h 147"/>
                  <a:gd name="T42" fmla="*/ 242 w 280"/>
                  <a:gd name="T43" fmla="*/ 51 h 147"/>
                  <a:gd name="T44" fmla="*/ 63 w 280"/>
                  <a:gd name="T45" fmla="*/ 119 h 147"/>
                  <a:gd name="T46" fmla="*/ 63 w 280"/>
                  <a:gd name="T47" fmla="*/ 119 h 147"/>
                  <a:gd name="T48" fmla="*/ 63 w 280"/>
                  <a:gd name="T49" fmla="*/ 126 h 147"/>
                  <a:gd name="T50" fmla="*/ 67 w 280"/>
                  <a:gd name="T51" fmla="*/ 129 h 147"/>
                  <a:gd name="T52" fmla="*/ 81 w 280"/>
                  <a:gd name="T53" fmla="*/ 129 h 147"/>
                  <a:gd name="T54" fmla="*/ 85 w 280"/>
                  <a:gd name="T55" fmla="*/ 126 h 147"/>
                  <a:gd name="T56" fmla="*/ 85 w 280"/>
                  <a:gd name="T57" fmla="*/ 112 h 147"/>
                  <a:gd name="T58" fmla="*/ 81 w 280"/>
                  <a:gd name="T59" fmla="*/ 108 h 147"/>
                  <a:gd name="T60" fmla="*/ 67 w 280"/>
                  <a:gd name="T61" fmla="*/ 108 h 147"/>
                  <a:gd name="T62" fmla="*/ 63 w 280"/>
                  <a:gd name="T63" fmla="*/ 112 h 147"/>
                  <a:gd name="T64" fmla="*/ 63 w 280"/>
                  <a:gd name="T65" fmla="*/ 119 h 147"/>
                  <a:gd name="T66" fmla="*/ 110 w 280"/>
                  <a:gd name="T67" fmla="*/ 129 h 147"/>
                  <a:gd name="T68" fmla="*/ 110 w 280"/>
                  <a:gd name="T69" fmla="*/ 129 h 147"/>
                  <a:gd name="T70" fmla="*/ 117 w 280"/>
                  <a:gd name="T71" fmla="*/ 129 h 147"/>
                  <a:gd name="T72" fmla="*/ 121 w 280"/>
                  <a:gd name="T73" fmla="*/ 126 h 147"/>
                  <a:gd name="T74" fmla="*/ 121 w 280"/>
                  <a:gd name="T75" fmla="*/ 112 h 147"/>
                  <a:gd name="T76" fmla="*/ 117 w 280"/>
                  <a:gd name="T77" fmla="*/ 108 h 147"/>
                  <a:gd name="T78" fmla="*/ 104 w 280"/>
                  <a:gd name="T79" fmla="*/ 108 h 147"/>
                  <a:gd name="T80" fmla="*/ 100 w 280"/>
                  <a:gd name="T81" fmla="*/ 112 h 147"/>
                  <a:gd name="T82" fmla="*/ 100 w 280"/>
                  <a:gd name="T83" fmla="*/ 125 h 147"/>
                  <a:gd name="T84" fmla="*/ 103 w 280"/>
                  <a:gd name="T85" fmla="*/ 129 h 147"/>
                  <a:gd name="T86" fmla="*/ 110 w 280"/>
                  <a:gd name="T87" fmla="*/ 129 h 147"/>
                  <a:gd name="T88" fmla="*/ 27 w 280"/>
                  <a:gd name="T89" fmla="*/ 118 h 147"/>
                  <a:gd name="T90" fmla="*/ 27 w 280"/>
                  <a:gd name="T91" fmla="*/ 118 h 147"/>
                  <a:gd name="T92" fmla="*/ 27 w 280"/>
                  <a:gd name="T93" fmla="*/ 126 h 147"/>
                  <a:gd name="T94" fmla="*/ 31 w 280"/>
                  <a:gd name="T95" fmla="*/ 129 h 147"/>
                  <a:gd name="T96" fmla="*/ 45 w 280"/>
                  <a:gd name="T97" fmla="*/ 129 h 147"/>
                  <a:gd name="T98" fmla="*/ 48 w 280"/>
                  <a:gd name="T99" fmla="*/ 125 h 147"/>
                  <a:gd name="T100" fmla="*/ 48 w 280"/>
                  <a:gd name="T101" fmla="*/ 112 h 147"/>
                  <a:gd name="T102" fmla="*/ 45 w 280"/>
                  <a:gd name="T103" fmla="*/ 108 h 147"/>
                  <a:gd name="T104" fmla="*/ 31 w 280"/>
                  <a:gd name="T105" fmla="*/ 108 h 147"/>
                  <a:gd name="T106" fmla="*/ 27 w 280"/>
                  <a:gd name="T107" fmla="*/ 112 h 147"/>
                  <a:gd name="T108" fmla="*/ 27 w 280"/>
                  <a:gd name="T109" fmla="*/ 118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80" h="147">
                    <a:moveTo>
                      <a:pt x="242" y="51"/>
                    </a:moveTo>
                    <a:cubicBezTo>
                      <a:pt x="244" y="51"/>
                      <a:pt x="245" y="51"/>
                      <a:pt x="246" y="51"/>
                    </a:cubicBezTo>
                    <a:cubicBezTo>
                      <a:pt x="251" y="51"/>
                      <a:pt x="256" y="51"/>
                      <a:pt x="261" y="51"/>
                    </a:cubicBezTo>
                    <a:cubicBezTo>
                      <a:pt x="272" y="52"/>
                      <a:pt x="280" y="60"/>
                      <a:pt x="280" y="70"/>
                    </a:cubicBezTo>
                    <a:cubicBezTo>
                      <a:pt x="280" y="89"/>
                      <a:pt x="280" y="108"/>
                      <a:pt x="280" y="127"/>
                    </a:cubicBezTo>
                    <a:cubicBezTo>
                      <a:pt x="280" y="138"/>
                      <a:pt x="271" y="147"/>
                      <a:pt x="260" y="147"/>
                    </a:cubicBezTo>
                    <a:cubicBezTo>
                      <a:pt x="238" y="147"/>
                      <a:pt x="217" y="147"/>
                      <a:pt x="195" y="147"/>
                    </a:cubicBezTo>
                    <a:cubicBezTo>
                      <a:pt x="137" y="147"/>
                      <a:pt x="79" y="147"/>
                      <a:pt x="21" y="147"/>
                    </a:cubicBezTo>
                    <a:cubicBezTo>
                      <a:pt x="11" y="147"/>
                      <a:pt x="3" y="141"/>
                      <a:pt x="1" y="132"/>
                    </a:cubicBezTo>
                    <a:cubicBezTo>
                      <a:pt x="0" y="130"/>
                      <a:pt x="0" y="128"/>
                      <a:pt x="0" y="126"/>
                    </a:cubicBezTo>
                    <a:cubicBezTo>
                      <a:pt x="0" y="108"/>
                      <a:pt x="0" y="90"/>
                      <a:pt x="0" y="72"/>
                    </a:cubicBezTo>
                    <a:cubicBezTo>
                      <a:pt x="0" y="60"/>
                      <a:pt x="8" y="51"/>
                      <a:pt x="21" y="51"/>
                    </a:cubicBezTo>
                    <a:cubicBezTo>
                      <a:pt x="52" y="51"/>
                      <a:pt x="84" y="51"/>
                      <a:pt x="116" y="51"/>
                    </a:cubicBezTo>
                    <a:cubicBezTo>
                      <a:pt x="151" y="51"/>
                      <a:pt x="186" y="51"/>
                      <a:pt x="221" y="51"/>
                    </a:cubicBezTo>
                    <a:cubicBezTo>
                      <a:pt x="224" y="51"/>
                      <a:pt x="224" y="50"/>
                      <a:pt x="224" y="48"/>
                    </a:cubicBezTo>
                    <a:cubicBezTo>
                      <a:pt x="224" y="36"/>
                      <a:pt x="224" y="25"/>
                      <a:pt x="224" y="13"/>
                    </a:cubicBezTo>
                    <a:cubicBezTo>
                      <a:pt x="224" y="11"/>
                      <a:pt x="224" y="8"/>
                      <a:pt x="225" y="5"/>
                    </a:cubicBezTo>
                    <a:cubicBezTo>
                      <a:pt x="226" y="2"/>
                      <a:pt x="229" y="0"/>
                      <a:pt x="233" y="0"/>
                    </a:cubicBezTo>
                    <a:cubicBezTo>
                      <a:pt x="237" y="0"/>
                      <a:pt x="240" y="2"/>
                      <a:pt x="241" y="5"/>
                    </a:cubicBezTo>
                    <a:cubicBezTo>
                      <a:pt x="242" y="8"/>
                      <a:pt x="242" y="10"/>
                      <a:pt x="242" y="13"/>
                    </a:cubicBezTo>
                    <a:cubicBezTo>
                      <a:pt x="242" y="24"/>
                      <a:pt x="242" y="36"/>
                      <a:pt x="242" y="47"/>
                    </a:cubicBezTo>
                    <a:cubicBezTo>
                      <a:pt x="242" y="48"/>
                      <a:pt x="242" y="49"/>
                      <a:pt x="242" y="51"/>
                    </a:cubicBezTo>
                    <a:close/>
                    <a:moveTo>
                      <a:pt x="63" y="119"/>
                    </a:moveTo>
                    <a:cubicBezTo>
                      <a:pt x="63" y="119"/>
                      <a:pt x="63" y="119"/>
                      <a:pt x="63" y="119"/>
                    </a:cubicBezTo>
                    <a:cubicBezTo>
                      <a:pt x="63" y="121"/>
                      <a:pt x="63" y="123"/>
                      <a:pt x="63" y="126"/>
                    </a:cubicBezTo>
                    <a:cubicBezTo>
                      <a:pt x="64" y="128"/>
                      <a:pt x="65" y="129"/>
                      <a:pt x="67" y="129"/>
                    </a:cubicBezTo>
                    <a:cubicBezTo>
                      <a:pt x="72" y="129"/>
                      <a:pt x="76" y="129"/>
                      <a:pt x="81" y="129"/>
                    </a:cubicBezTo>
                    <a:cubicBezTo>
                      <a:pt x="83" y="129"/>
                      <a:pt x="85" y="128"/>
                      <a:pt x="85" y="126"/>
                    </a:cubicBezTo>
                    <a:cubicBezTo>
                      <a:pt x="85" y="121"/>
                      <a:pt x="85" y="116"/>
                      <a:pt x="85" y="112"/>
                    </a:cubicBezTo>
                    <a:cubicBezTo>
                      <a:pt x="85" y="109"/>
                      <a:pt x="83" y="108"/>
                      <a:pt x="81" y="108"/>
                    </a:cubicBezTo>
                    <a:cubicBezTo>
                      <a:pt x="76" y="108"/>
                      <a:pt x="72" y="108"/>
                      <a:pt x="67" y="108"/>
                    </a:cubicBezTo>
                    <a:cubicBezTo>
                      <a:pt x="65" y="108"/>
                      <a:pt x="64" y="109"/>
                      <a:pt x="63" y="112"/>
                    </a:cubicBezTo>
                    <a:cubicBezTo>
                      <a:pt x="63" y="114"/>
                      <a:pt x="63" y="116"/>
                      <a:pt x="63" y="119"/>
                    </a:cubicBezTo>
                    <a:close/>
                    <a:moveTo>
                      <a:pt x="110" y="129"/>
                    </a:moveTo>
                    <a:cubicBezTo>
                      <a:pt x="110" y="129"/>
                      <a:pt x="110" y="129"/>
                      <a:pt x="110" y="129"/>
                    </a:cubicBezTo>
                    <a:cubicBezTo>
                      <a:pt x="113" y="129"/>
                      <a:pt x="115" y="129"/>
                      <a:pt x="117" y="129"/>
                    </a:cubicBezTo>
                    <a:cubicBezTo>
                      <a:pt x="120" y="129"/>
                      <a:pt x="121" y="128"/>
                      <a:pt x="121" y="126"/>
                    </a:cubicBezTo>
                    <a:cubicBezTo>
                      <a:pt x="121" y="121"/>
                      <a:pt x="121" y="116"/>
                      <a:pt x="121" y="112"/>
                    </a:cubicBezTo>
                    <a:cubicBezTo>
                      <a:pt x="121" y="109"/>
                      <a:pt x="120" y="108"/>
                      <a:pt x="117" y="108"/>
                    </a:cubicBezTo>
                    <a:cubicBezTo>
                      <a:pt x="113" y="108"/>
                      <a:pt x="108" y="108"/>
                      <a:pt x="104" y="108"/>
                    </a:cubicBezTo>
                    <a:cubicBezTo>
                      <a:pt x="101" y="108"/>
                      <a:pt x="100" y="109"/>
                      <a:pt x="100" y="112"/>
                    </a:cubicBezTo>
                    <a:cubicBezTo>
                      <a:pt x="100" y="116"/>
                      <a:pt x="100" y="121"/>
                      <a:pt x="100" y="125"/>
                    </a:cubicBezTo>
                    <a:cubicBezTo>
                      <a:pt x="100" y="128"/>
                      <a:pt x="101" y="129"/>
                      <a:pt x="103" y="129"/>
                    </a:cubicBezTo>
                    <a:cubicBezTo>
                      <a:pt x="106" y="129"/>
                      <a:pt x="108" y="129"/>
                      <a:pt x="110" y="129"/>
                    </a:cubicBezTo>
                    <a:close/>
                    <a:moveTo>
                      <a:pt x="27" y="118"/>
                    </a:moveTo>
                    <a:cubicBezTo>
                      <a:pt x="27" y="118"/>
                      <a:pt x="27" y="118"/>
                      <a:pt x="27" y="118"/>
                    </a:cubicBezTo>
                    <a:cubicBezTo>
                      <a:pt x="27" y="121"/>
                      <a:pt x="27" y="123"/>
                      <a:pt x="27" y="126"/>
                    </a:cubicBezTo>
                    <a:cubicBezTo>
                      <a:pt x="27" y="128"/>
                      <a:pt x="28" y="129"/>
                      <a:pt x="31" y="129"/>
                    </a:cubicBezTo>
                    <a:cubicBezTo>
                      <a:pt x="35" y="129"/>
                      <a:pt x="40" y="129"/>
                      <a:pt x="45" y="129"/>
                    </a:cubicBezTo>
                    <a:cubicBezTo>
                      <a:pt x="47" y="129"/>
                      <a:pt x="48" y="128"/>
                      <a:pt x="48" y="125"/>
                    </a:cubicBezTo>
                    <a:cubicBezTo>
                      <a:pt x="48" y="121"/>
                      <a:pt x="48" y="116"/>
                      <a:pt x="48" y="112"/>
                    </a:cubicBezTo>
                    <a:cubicBezTo>
                      <a:pt x="48" y="109"/>
                      <a:pt x="47" y="108"/>
                      <a:pt x="45" y="108"/>
                    </a:cubicBezTo>
                    <a:cubicBezTo>
                      <a:pt x="40" y="108"/>
                      <a:pt x="35" y="108"/>
                      <a:pt x="31" y="108"/>
                    </a:cubicBezTo>
                    <a:cubicBezTo>
                      <a:pt x="28" y="108"/>
                      <a:pt x="27" y="109"/>
                      <a:pt x="27" y="112"/>
                    </a:cubicBezTo>
                    <a:cubicBezTo>
                      <a:pt x="27" y="114"/>
                      <a:pt x="27" y="116"/>
                      <a:pt x="27" y="118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  <a:alpha val="3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CA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33" name="Freeform 6"/>
              <p:cNvSpPr>
                <a:spLocks/>
              </p:cNvSpPr>
              <p:nvPr/>
            </p:nvSpPr>
            <p:spPr bwMode="auto">
              <a:xfrm>
                <a:off x="3614946" y="1866903"/>
                <a:ext cx="74384" cy="27712"/>
              </a:xfrm>
              <a:custGeom>
                <a:avLst/>
                <a:gdLst>
                  <a:gd name="T0" fmla="*/ 43 w 86"/>
                  <a:gd name="T1" fmla="*/ 0 h 32"/>
                  <a:gd name="T2" fmla="*/ 83 w 86"/>
                  <a:gd name="T3" fmla="*/ 20 h 32"/>
                  <a:gd name="T4" fmla="*/ 81 w 86"/>
                  <a:gd name="T5" fmla="*/ 30 h 32"/>
                  <a:gd name="T6" fmla="*/ 72 w 86"/>
                  <a:gd name="T7" fmla="*/ 29 h 32"/>
                  <a:gd name="T8" fmla="*/ 14 w 86"/>
                  <a:gd name="T9" fmla="*/ 28 h 32"/>
                  <a:gd name="T10" fmla="*/ 5 w 86"/>
                  <a:gd name="T11" fmla="*/ 30 h 32"/>
                  <a:gd name="T12" fmla="*/ 3 w 86"/>
                  <a:gd name="T13" fmla="*/ 20 h 32"/>
                  <a:gd name="T14" fmla="*/ 43 w 86"/>
                  <a:gd name="T1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6" h="32">
                    <a:moveTo>
                      <a:pt x="43" y="0"/>
                    </a:moveTo>
                    <a:cubicBezTo>
                      <a:pt x="60" y="0"/>
                      <a:pt x="73" y="7"/>
                      <a:pt x="83" y="20"/>
                    </a:cubicBezTo>
                    <a:cubicBezTo>
                      <a:pt x="86" y="24"/>
                      <a:pt x="85" y="26"/>
                      <a:pt x="81" y="30"/>
                    </a:cubicBezTo>
                    <a:cubicBezTo>
                      <a:pt x="77" y="32"/>
                      <a:pt x="75" y="32"/>
                      <a:pt x="72" y="29"/>
                    </a:cubicBezTo>
                    <a:cubicBezTo>
                      <a:pt x="57" y="9"/>
                      <a:pt x="30" y="9"/>
                      <a:pt x="14" y="28"/>
                    </a:cubicBezTo>
                    <a:cubicBezTo>
                      <a:pt x="11" y="32"/>
                      <a:pt x="9" y="32"/>
                      <a:pt x="5" y="30"/>
                    </a:cubicBezTo>
                    <a:cubicBezTo>
                      <a:pt x="1" y="26"/>
                      <a:pt x="0" y="24"/>
                      <a:pt x="3" y="20"/>
                    </a:cubicBezTo>
                    <a:cubicBezTo>
                      <a:pt x="13" y="7"/>
                      <a:pt x="26" y="0"/>
                      <a:pt x="43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  <a:alpha val="3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CA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34" name="Freeform 7"/>
              <p:cNvSpPr>
                <a:spLocks/>
              </p:cNvSpPr>
              <p:nvPr/>
            </p:nvSpPr>
            <p:spPr bwMode="auto">
              <a:xfrm>
                <a:off x="3630503" y="1885985"/>
                <a:ext cx="42297" cy="23336"/>
              </a:xfrm>
              <a:custGeom>
                <a:avLst/>
                <a:gdLst>
                  <a:gd name="T0" fmla="*/ 49 w 49"/>
                  <a:gd name="T1" fmla="*/ 18 h 27"/>
                  <a:gd name="T2" fmla="*/ 43 w 49"/>
                  <a:gd name="T3" fmla="*/ 26 h 27"/>
                  <a:gd name="T4" fmla="*/ 37 w 49"/>
                  <a:gd name="T5" fmla="*/ 23 h 27"/>
                  <a:gd name="T6" fmla="*/ 13 w 49"/>
                  <a:gd name="T7" fmla="*/ 23 h 27"/>
                  <a:gd name="T8" fmla="*/ 4 w 49"/>
                  <a:gd name="T9" fmla="*/ 24 h 27"/>
                  <a:gd name="T10" fmla="*/ 2 w 49"/>
                  <a:gd name="T11" fmla="*/ 15 h 27"/>
                  <a:gd name="T12" fmla="*/ 47 w 49"/>
                  <a:gd name="T13" fmla="*/ 15 h 27"/>
                  <a:gd name="T14" fmla="*/ 49 w 49"/>
                  <a:gd name="T15" fmla="*/ 18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9" h="27">
                    <a:moveTo>
                      <a:pt x="49" y="18"/>
                    </a:moveTo>
                    <a:cubicBezTo>
                      <a:pt x="49" y="22"/>
                      <a:pt x="46" y="25"/>
                      <a:pt x="43" y="26"/>
                    </a:cubicBezTo>
                    <a:cubicBezTo>
                      <a:pt x="40" y="27"/>
                      <a:pt x="38" y="26"/>
                      <a:pt x="37" y="23"/>
                    </a:cubicBezTo>
                    <a:cubicBezTo>
                      <a:pt x="30" y="15"/>
                      <a:pt x="20" y="15"/>
                      <a:pt x="13" y="23"/>
                    </a:cubicBezTo>
                    <a:cubicBezTo>
                      <a:pt x="10" y="27"/>
                      <a:pt x="8" y="27"/>
                      <a:pt x="4" y="24"/>
                    </a:cubicBezTo>
                    <a:cubicBezTo>
                      <a:pt x="0" y="21"/>
                      <a:pt x="0" y="18"/>
                      <a:pt x="2" y="15"/>
                    </a:cubicBezTo>
                    <a:cubicBezTo>
                      <a:pt x="14" y="0"/>
                      <a:pt x="36" y="0"/>
                      <a:pt x="47" y="15"/>
                    </a:cubicBezTo>
                    <a:cubicBezTo>
                      <a:pt x="48" y="16"/>
                      <a:pt x="49" y="18"/>
                      <a:pt x="49" y="18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  <a:alpha val="3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CA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5" name="Group 34"/>
            <p:cNvGrpSpPr>
              <a:grpSpLocks noChangeAspect="1"/>
            </p:cNvGrpSpPr>
            <p:nvPr userDrawn="1"/>
          </p:nvGrpSpPr>
          <p:grpSpPr>
            <a:xfrm>
              <a:off x="5916478" y="3920033"/>
              <a:ext cx="118872" cy="55791"/>
              <a:chOff x="3350296" y="1758144"/>
              <a:chExt cx="236918" cy="111192"/>
            </a:xfrm>
          </p:grpSpPr>
          <p:sp>
            <p:nvSpPr>
              <p:cNvPr id="36" name="Freeform 32"/>
              <p:cNvSpPr>
                <a:spLocks/>
              </p:cNvSpPr>
              <p:nvPr/>
            </p:nvSpPr>
            <p:spPr bwMode="auto">
              <a:xfrm>
                <a:off x="3350296" y="1809856"/>
                <a:ext cx="236918" cy="59480"/>
              </a:xfrm>
              <a:custGeom>
                <a:avLst/>
                <a:gdLst>
                  <a:gd name="T0" fmla="*/ 1 w 904"/>
                  <a:gd name="T1" fmla="*/ 2 h 227"/>
                  <a:gd name="T2" fmla="*/ 1 w 904"/>
                  <a:gd name="T3" fmla="*/ 2 h 227"/>
                  <a:gd name="T4" fmla="*/ 0 w 904"/>
                  <a:gd name="T5" fmla="*/ 3 h 227"/>
                  <a:gd name="T6" fmla="*/ 0 w 904"/>
                  <a:gd name="T7" fmla="*/ 3 h 227"/>
                  <a:gd name="T8" fmla="*/ 0 w 904"/>
                  <a:gd name="T9" fmla="*/ 4 h 227"/>
                  <a:gd name="T10" fmla="*/ 0 w 904"/>
                  <a:gd name="T11" fmla="*/ 211 h 227"/>
                  <a:gd name="T12" fmla="*/ 23 w 904"/>
                  <a:gd name="T13" fmla="*/ 227 h 227"/>
                  <a:gd name="T14" fmla="*/ 881 w 904"/>
                  <a:gd name="T15" fmla="*/ 227 h 227"/>
                  <a:gd name="T16" fmla="*/ 904 w 904"/>
                  <a:gd name="T17" fmla="*/ 211 h 227"/>
                  <a:gd name="T18" fmla="*/ 904 w 904"/>
                  <a:gd name="T19" fmla="*/ 4 h 227"/>
                  <a:gd name="T20" fmla="*/ 903 w 904"/>
                  <a:gd name="T21" fmla="*/ 3 h 227"/>
                  <a:gd name="T22" fmla="*/ 903 w 904"/>
                  <a:gd name="T23" fmla="*/ 3 h 227"/>
                  <a:gd name="T24" fmla="*/ 902 w 904"/>
                  <a:gd name="T25" fmla="*/ 0 h 227"/>
                  <a:gd name="T26" fmla="*/ 2 w 904"/>
                  <a:gd name="T27" fmla="*/ 0 h 227"/>
                  <a:gd name="T28" fmla="*/ 1 w 904"/>
                  <a:gd name="T29" fmla="*/ 2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04" h="227">
                    <a:moveTo>
                      <a:pt x="1" y="2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4"/>
                      <a:pt x="0" y="4"/>
                    </a:cubicBezTo>
                    <a:cubicBezTo>
                      <a:pt x="0" y="189"/>
                      <a:pt x="0" y="211"/>
                      <a:pt x="0" y="211"/>
                    </a:cubicBezTo>
                    <a:cubicBezTo>
                      <a:pt x="0" y="217"/>
                      <a:pt x="3" y="227"/>
                      <a:pt x="23" y="227"/>
                    </a:cubicBezTo>
                    <a:cubicBezTo>
                      <a:pt x="881" y="227"/>
                      <a:pt x="881" y="227"/>
                      <a:pt x="881" y="227"/>
                    </a:cubicBezTo>
                    <a:cubicBezTo>
                      <a:pt x="899" y="227"/>
                      <a:pt x="904" y="219"/>
                      <a:pt x="904" y="211"/>
                    </a:cubicBezTo>
                    <a:cubicBezTo>
                      <a:pt x="904" y="4"/>
                      <a:pt x="904" y="4"/>
                      <a:pt x="904" y="4"/>
                    </a:cubicBezTo>
                    <a:cubicBezTo>
                      <a:pt x="904" y="4"/>
                      <a:pt x="903" y="4"/>
                      <a:pt x="903" y="3"/>
                    </a:cubicBezTo>
                    <a:cubicBezTo>
                      <a:pt x="903" y="3"/>
                      <a:pt x="903" y="3"/>
                      <a:pt x="903" y="3"/>
                    </a:cubicBezTo>
                    <a:cubicBezTo>
                      <a:pt x="903" y="3"/>
                      <a:pt x="903" y="2"/>
                      <a:pt x="90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1"/>
                      <a:pt x="1" y="2"/>
                      <a:pt x="1" y="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  <a:alpha val="3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37" name="Freeform 33"/>
              <p:cNvSpPr>
                <a:spLocks noEditPoints="1"/>
              </p:cNvSpPr>
              <p:nvPr/>
            </p:nvSpPr>
            <p:spPr bwMode="auto">
              <a:xfrm>
                <a:off x="3350740" y="1758144"/>
                <a:ext cx="235919" cy="47717"/>
              </a:xfrm>
              <a:custGeom>
                <a:avLst/>
                <a:gdLst>
                  <a:gd name="T0" fmla="*/ 792 w 900"/>
                  <a:gd name="T1" fmla="*/ 0 h 182"/>
                  <a:gd name="T2" fmla="*/ 84 w 900"/>
                  <a:gd name="T3" fmla="*/ 9 h 182"/>
                  <a:gd name="T4" fmla="*/ 900 w 900"/>
                  <a:gd name="T5" fmla="*/ 182 h 182"/>
                  <a:gd name="T6" fmla="*/ 425 w 900"/>
                  <a:gd name="T7" fmla="*/ 38 h 182"/>
                  <a:gd name="T8" fmla="*/ 737 w 900"/>
                  <a:gd name="T9" fmla="*/ 34 h 182"/>
                  <a:gd name="T10" fmla="*/ 710 w 900"/>
                  <a:gd name="T11" fmla="*/ 20 h 182"/>
                  <a:gd name="T12" fmla="*/ 723 w 900"/>
                  <a:gd name="T13" fmla="*/ 19 h 182"/>
                  <a:gd name="T14" fmla="*/ 767 w 900"/>
                  <a:gd name="T15" fmla="*/ 36 h 182"/>
                  <a:gd name="T16" fmla="*/ 771 w 900"/>
                  <a:gd name="T17" fmla="*/ 39 h 182"/>
                  <a:gd name="T18" fmla="*/ 769 w 900"/>
                  <a:gd name="T19" fmla="*/ 43 h 182"/>
                  <a:gd name="T20" fmla="*/ 729 w 900"/>
                  <a:gd name="T21" fmla="*/ 60 h 182"/>
                  <a:gd name="T22" fmla="*/ 724 w 900"/>
                  <a:gd name="T23" fmla="*/ 53 h 182"/>
                  <a:gd name="T24" fmla="*/ 434 w 900"/>
                  <a:gd name="T25" fmla="*/ 43 h 182"/>
                  <a:gd name="T26" fmla="*/ 425 w 900"/>
                  <a:gd name="T27" fmla="*/ 38 h 182"/>
                  <a:gd name="T28" fmla="*/ 112 w 900"/>
                  <a:gd name="T29" fmla="*/ 67 h 182"/>
                  <a:gd name="T30" fmla="*/ 118 w 900"/>
                  <a:gd name="T31" fmla="*/ 63 h 182"/>
                  <a:gd name="T32" fmla="*/ 176 w 900"/>
                  <a:gd name="T33" fmla="*/ 46 h 182"/>
                  <a:gd name="T34" fmla="*/ 174 w 900"/>
                  <a:gd name="T35" fmla="*/ 53 h 182"/>
                  <a:gd name="T36" fmla="*/ 465 w 900"/>
                  <a:gd name="T37" fmla="*/ 63 h 182"/>
                  <a:gd name="T38" fmla="*/ 475 w 900"/>
                  <a:gd name="T39" fmla="*/ 68 h 182"/>
                  <a:gd name="T40" fmla="*/ 144 w 900"/>
                  <a:gd name="T41" fmla="*/ 73 h 182"/>
                  <a:gd name="T42" fmla="*/ 158 w 900"/>
                  <a:gd name="T43" fmla="*/ 90 h 182"/>
                  <a:gd name="T44" fmla="*/ 143 w 900"/>
                  <a:gd name="T45" fmla="*/ 91 h 182"/>
                  <a:gd name="T46" fmla="*/ 113 w 900"/>
                  <a:gd name="T47" fmla="*/ 72 h 182"/>
                  <a:gd name="T48" fmla="*/ 467 w 900"/>
                  <a:gd name="T49" fmla="*/ 140 h 182"/>
                  <a:gd name="T50" fmla="*/ 130 w 900"/>
                  <a:gd name="T51" fmla="*/ 153 h 182"/>
                  <a:gd name="T52" fmla="*/ 125 w 900"/>
                  <a:gd name="T53" fmla="*/ 162 h 182"/>
                  <a:gd name="T54" fmla="*/ 79 w 900"/>
                  <a:gd name="T55" fmla="*/ 139 h 182"/>
                  <a:gd name="T56" fmla="*/ 77 w 900"/>
                  <a:gd name="T57" fmla="*/ 134 h 182"/>
                  <a:gd name="T58" fmla="*/ 82 w 900"/>
                  <a:gd name="T59" fmla="*/ 129 h 182"/>
                  <a:gd name="T60" fmla="*/ 135 w 900"/>
                  <a:gd name="T61" fmla="*/ 107 h 182"/>
                  <a:gd name="T62" fmla="*/ 150 w 900"/>
                  <a:gd name="T63" fmla="*/ 108 h 182"/>
                  <a:gd name="T64" fmla="*/ 117 w 900"/>
                  <a:gd name="T65" fmla="*/ 128 h 182"/>
                  <a:gd name="T66" fmla="*/ 477 w 900"/>
                  <a:gd name="T67" fmla="*/ 133 h 182"/>
                  <a:gd name="T68" fmla="*/ 467 w 900"/>
                  <a:gd name="T69" fmla="*/ 140 h 182"/>
                  <a:gd name="T70" fmla="*/ 801 w 900"/>
                  <a:gd name="T71" fmla="*/ 103 h 182"/>
                  <a:gd name="T72" fmla="*/ 757 w 900"/>
                  <a:gd name="T73" fmla="*/ 124 h 182"/>
                  <a:gd name="T74" fmla="*/ 752 w 900"/>
                  <a:gd name="T75" fmla="*/ 116 h 182"/>
                  <a:gd name="T76" fmla="*/ 432 w 900"/>
                  <a:gd name="T77" fmla="*/ 104 h 182"/>
                  <a:gd name="T78" fmla="*/ 423 w 900"/>
                  <a:gd name="T79" fmla="*/ 98 h 182"/>
                  <a:gd name="T80" fmla="*/ 765 w 900"/>
                  <a:gd name="T81" fmla="*/ 93 h 182"/>
                  <a:gd name="T82" fmla="*/ 734 w 900"/>
                  <a:gd name="T83" fmla="*/ 76 h 182"/>
                  <a:gd name="T84" fmla="*/ 749 w 900"/>
                  <a:gd name="T85" fmla="*/ 75 h 182"/>
                  <a:gd name="T86" fmla="*/ 798 w 900"/>
                  <a:gd name="T87" fmla="*/ 95 h 182"/>
                  <a:gd name="T88" fmla="*/ 803 w 900"/>
                  <a:gd name="T89" fmla="*/ 99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00" h="182">
                    <a:moveTo>
                      <a:pt x="816" y="9"/>
                    </a:moveTo>
                    <a:cubicBezTo>
                      <a:pt x="812" y="0"/>
                      <a:pt x="810" y="0"/>
                      <a:pt x="792" y="0"/>
                    </a:cubicBezTo>
                    <a:cubicBezTo>
                      <a:pt x="109" y="0"/>
                      <a:pt x="109" y="0"/>
                      <a:pt x="109" y="0"/>
                    </a:cubicBezTo>
                    <a:cubicBezTo>
                      <a:pt x="91" y="0"/>
                      <a:pt x="88" y="0"/>
                      <a:pt x="84" y="9"/>
                    </a:cubicBezTo>
                    <a:cubicBezTo>
                      <a:pt x="66" y="46"/>
                      <a:pt x="8" y="166"/>
                      <a:pt x="0" y="182"/>
                    </a:cubicBezTo>
                    <a:cubicBezTo>
                      <a:pt x="900" y="182"/>
                      <a:pt x="900" y="182"/>
                      <a:pt x="900" y="182"/>
                    </a:cubicBezTo>
                    <a:cubicBezTo>
                      <a:pt x="891" y="164"/>
                      <a:pt x="839" y="55"/>
                      <a:pt x="816" y="9"/>
                    </a:cubicBezTo>
                    <a:close/>
                    <a:moveTo>
                      <a:pt x="425" y="38"/>
                    </a:moveTo>
                    <a:cubicBezTo>
                      <a:pt x="425" y="36"/>
                      <a:pt x="429" y="34"/>
                      <a:pt x="434" y="34"/>
                    </a:cubicBezTo>
                    <a:cubicBezTo>
                      <a:pt x="737" y="34"/>
                      <a:pt x="737" y="34"/>
                      <a:pt x="737" y="34"/>
                    </a:cubicBezTo>
                    <a:cubicBezTo>
                      <a:pt x="712" y="25"/>
                      <a:pt x="712" y="25"/>
                      <a:pt x="712" y="25"/>
                    </a:cubicBezTo>
                    <a:cubicBezTo>
                      <a:pt x="708" y="24"/>
                      <a:pt x="707" y="21"/>
                      <a:pt x="710" y="20"/>
                    </a:cubicBezTo>
                    <a:cubicBezTo>
                      <a:pt x="711" y="19"/>
                      <a:pt x="711" y="19"/>
                      <a:pt x="711" y="19"/>
                    </a:cubicBezTo>
                    <a:cubicBezTo>
                      <a:pt x="713" y="18"/>
                      <a:pt x="719" y="18"/>
                      <a:pt x="723" y="19"/>
                    </a:cubicBezTo>
                    <a:cubicBezTo>
                      <a:pt x="765" y="35"/>
                      <a:pt x="765" y="35"/>
                      <a:pt x="765" y="35"/>
                    </a:cubicBezTo>
                    <a:cubicBezTo>
                      <a:pt x="766" y="35"/>
                      <a:pt x="766" y="35"/>
                      <a:pt x="767" y="36"/>
                    </a:cubicBezTo>
                    <a:cubicBezTo>
                      <a:pt x="769" y="36"/>
                      <a:pt x="770" y="37"/>
                      <a:pt x="771" y="38"/>
                    </a:cubicBezTo>
                    <a:cubicBezTo>
                      <a:pt x="771" y="39"/>
                      <a:pt x="771" y="39"/>
                      <a:pt x="771" y="39"/>
                    </a:cubicBezTo>
                    <a:cubicBezTo>
                      <a:pt x="772" y="41"/>
                      <a:pt x="771" y="42"/>
                      <a:pt x="770" y="42"/>
                    </a:cubicBezTo>
                    <a:cubicBezTo>
                      <a:pt x="769" y="42"/>
                      <a:pt x="769" y="43"/>
                      <a:pt x="769" y="43"/>
                    </a:cubicBezTo>
                    <a:cubicBezTo>
                      <a:pt x="741" y="60"/>
                      <a:pt x="741" y="60"/>
                      <a:pt x="741" y="60"/>
                    </a:cubicBezTo>
                    <a:cubicBezTo>
                      <a:pt x="739" y="61"/>
                      <a:pt x="733" y="61"/>
                      <a:pt x="729" y="60"/>
                    </a:cubicBezTo>
                    <a:cubicBezTo>
                      <a:pt x="727" y="59"/>
                      <a:pt x="727" y="59"/>
                      <a:pt x="727" y="59"/>
                    </a:cubicBezTo>
                    <a:cubicBezTo>
                      <a:pt x="723" y="57"/>
                      <a:pt x="722" y="55"/>
                      <a:pt x="724" y="53"/>
                    </a:cubicBezTo>
                    <a:cubicBezTo>
                      <a:pt x="741" y="43"/>
                      <a:pt x="741" y="43"/>
                      <a:pt x="741" y="43"/>
                    </a:cubicBezTo>
                    <a:cubicBezTo>
                      <a:pt x="434" y="43"/>
                      <a:pt x="434" y="43"/>
                      <a:pt x="434" y="43"/>
                    </a:cubicBezTo>
                    <a:cubicBezTo>
                      <a:pt x="429" y="43"/>
                      <a:pt x="425" y="41"/>
                      <a:pt x="425" y="39"/>
                    </a:cubicBezTo>
                    <a:lnTo>
                      <a:pt x="425" y="38"/>
                    </a:lnTo>
                    <a:close/>
                    <a:moveTo>
                      <a:pt x="112" y="68"/>
                    </a:moveTo>
                    <a:cubicBezTo>
                      <a:pt x="112" y="67"/>
                      <a:pt x="112" y="67"/>
                      <a:pt x="112" y="67"/>
                    </a:cubicBezTo>
                    <a:cubicBezTo>
                      <a:pt x="113" y="66"/>
                      <a:pt x="115" y="65"/>
                      <a:pt x="116" y="64"/>
                    </a:cubicBezTo>
                    <a:cubicBezTo>
                      <a:pt x="117" y="64"/>
                      <a:pt x="118" y="64"/>
                      <a:pt x="118" y="63"/>
                    </a:cubicBezTo>
                    <a:cubicBezTo>
                      <a:pt x="163" y="46"/>
                      <a:pt x="163" y="46"/>
                      <a:pt x="163" y="46"/>
                    </a:cubicBezTo>
                    <a:cubicBezTo>
                      <a:pt x="167" y="44"/>
                      <a:pt x="173" y="44"/>
                      <a:pt x="176" y="46"/>
                    </a:cubicBezTo>
                    <a:cubicBezTo>
                      <a:pt x="177" y="47"/>
                      <a:pt x="177" y="47"/>
                      <a:pt x="177" y="47"/>
                    </a:cubicBezTo>
                    <a:cubicBezTo>
                      <a:pt x="180" y="48"/>
                      <a:pt x="178" y="51"/>
                      <a:pt x="174" y="53"/>
                    </a:cubicBezTo>
                    <a:cubicBezTo>
                      <a:pt x="148" y="63"/>
                      <a:pt x="148" y="63"/>
                      <a:pt x="148" y="63"/>
                    </a:cubicBezTo>
                    <a:cubicBezTo>
                      <a:pt x="465" y="63"/>
                      <a:pt x="465" y="63"/>
                      <a:pt x="465" y="63"/>
                    </a:cubicBezTo>
                    <a:cubicBezTo>
                      <a:pt x="470" y="63"/>
                      <a:pt x="474" y="65"/>
                      <a:pt x="475" y="67"/>
                    </a:cubicBezTo>
                    <a:cubicBezTo>
                      <a:pt x="475" y="68"/>
                      <a:pt x="475" y="68"/>
                      <a:pt x="475" y="68"/>
                    </a:cubicBezTo>
                    <a:cubicBezTo>
                      <a:pt x="475" y="71"/>
                      <a:pt x="471" y="73"/>
                      <a:pt x="465" y="73"/>
                    </a:cubicBezTo>
                    <a:cubicBezTo>
                      <a:pt x="144" y="73"/>
                      <a:pt x="144" y="73"/>
                      <a:pt x="144" y="73"/>
                    </a:cubicBezTo>
                    <a:cubicBezTo>
                      <a:pt x="161" y="83"/>
                      <a:pt x="161" y="83"/>
                      <a:pt x="161" y="83"/>
                    </a:cubicBezTo>
                    <a:cubicBezTo>
                      <a:pt x="164" y="85"/>
                      <a:pt x="162" y="88"/>
                      <a:pt x="158" y="90"/>
                    </a:cubicBezTo>
                    <a:cubicBezTo>
                      <a:pt x="156" y="91"/>
                      <a:pt x="156" y="91"/>
                      <a:pt x="156" y="91"/>
                    </a:cubicBezTo>
                    <a:cubicBezTo>
                      <a:pt x="151" y="92"/>
                      <a:pt x="145" y="92"/>
                      <a:pt x="143" y="91"/>
                    </a:cubicBezTo>
                    <a:cubicBezTo>
                      <a:pt x="114" y="72"/>
                      <a:pt x="114" y="72"/>
                      <a:pt x="114" y="72"/>
                    </a:cubicBezTo>
                    <a:cubicBezTo>
                      <a:pt x="114" y="72"/>
                      <a:pt x="114" y="72"/>
                      <a:pt x="113" y="72"/>
                    </a:cubicBezTo>
                    <a:cubicBezTo>
                      <a:pt x="112" y="71"/>
                      <a:pt x="111" y="69"/>
                      <a:pt x="112" y="68"/>
                    </a:cubicBezTo>
                    <a:close/>
                    <a:moveTo>
                      <a:pt x="467" y="140"/>
                    </a:moveTo>
                    <a:cubicBezTo>
                      <a:pt x="112" y="140"/>
                      <a:pt x="112" y="140"/>
                      <a:pt x="112" y="140"/>
                    </a:cubicBezTo>
                    <a:cubicBezTo>
                      <a:pt x="130" y="153"/>
                      <a:pt x="130" y="153"/>
                      <a:pt x="130" y="153"/>
                    </a:cubicBezTo>
                    <a:cubicBezTo>
                      <a:pt x="133" y="155"/>
                      <a:pt x="132" y="159"/>
                      <a:pt x="126" y="161"/>
                    </a:cubicBezTo>
                    <a:cubicBezTo>
                      <a:pt x="125" y="162"/>
                      <a:pt x="125" y="162"/>
                      <a:pt x="125" y="162"/>
                    </a:cubicBezTo>
                    <a:cubicBezTo>
                      <a:pt x="119" y="164"/>
                      <a:pt x="113" y="164"/>
                      <a:pt x="110" y="162"/>
                    </a:cubicBezTo>
                    <a:cubicBezTo>
                      <a:pt x="79" y="139"/>
                      <a:pt x="79" y="139"/>
                      <a:pt x="79" y="139"/>
                    </a:cubicBezTo>
                    <a:cubicBezTo>
                      <a:pt x="79" y="139"/>
                      <a:pt x="79" y="139"/>
                      <a:pt x="79" y="138"/>
                    </a:cubicBezTo>
                    <a:cubicBezTo>
                      <a:pt x="77" y="137"/>
                      <a:pt x="76" y="136"/>
                      <a:pt x="77" y="134"/>
                    </a:cubicBezTo>
                    <a:cubicBezTo>
                      <a:pt x="78" y="133"/>
                      <a:pt x="78" y="133"/>
                      <a:pt x="78" y="133"/>
                    </a:cubicBezTo>
                    <a:cubicBezTo>
                      <a:pt x="78" y="132"/>
                      <a:pt x="80" y="130"/>
                      <a:pt x="82" y="129"/>
                    </a:cubicBezTo>
                    <a:cubicBezTo>
                      <a:pt x="83" y="129"/>
                      <a:pt x="84" y="129"/>
                      <a:pt x="84" y="128"/>
                    </a:cubicBezTo>
                    <a:cubicBezTo>
                      <a:pt x="135" y="107"/>
                      <a:pt x="135" y="107"/>
                      <a:pt x="135" y="107"/>
                    </a:cubicBezTo>
                    <a:cubicBezTo>
                      <a:pt x="139" y="105"/>
                      <a:pt x="146" y="105"/>
                      <a:pt x="149" y="107"/>
                    </a:cubicBezTo>
                    <a:cubicBezTo>
                      <a:pt x="150" y="108"/>
                      <a:pt x="150" y="108"/>
                      <a:pt x="150" y="108"/>
                    </a:cubicBezTo>
                    <a:cubicBezTo>
                      <a:pt x="153" y="110"/>
                      <a:pt x="151" y="113"/>
                      <a:pt x="146" y="115"/>
                    </a:cubicBezTo>
                    <a:cubicBezTo>
                      <a:pt x="117" y="128"/>
                      <a:pt x="117" y="128"/>
                      <a:pt x="117" y="128"/>
                    </a:cubicBezTo>
                    <a:cubicBezTo>
                      <a:pt x="467" y="128"/>
                      <a:pt x="467" y="128"/>
                      <a:pt x="467" y="128"/>
                    </a:cubicBezTo>
                    <a:cubicBezTo>
                      <a:pt x="472" y="128"/>
                      <a:pt x="477" y="130"/>
                      <a:pt x="477" y="133"/>
                    </a:cubicBezTo>
                    <a:cubicBezTo>
                      <a:pt x="477" y="134"/>
                      <a:pt x="477" y="134"/>
                      <a:pt x="477" y="134"/>
                    </a:cubicBezTo>
                    <a:cubicBezTo>
                      <a:pt x="477" y="137"/>
                      <a:pt x="473" y="140"/>
                      <a:pt x="467" y="140"/>
                    </a:cubicBezTo>
                    <a:close/>
                    <a:moveTo>
                      <a:pt x="801" y="103"/>
                    </a:moveTo>
                    <a:cubicBezTo>
                      <a:pt x="801" y="103"/>
                      <a:pt x="801" y="103"/>
                      <a:pt x="801" y="103"/>
                    </a:cubicBezTo>
                    <a:cubicBezTo>
                      <a:pt x="771" y="124"/>
                      <a:pt x="771" y="124"/>
                      <a:pt x="771" y="124"/>
                    </a:cubicBezTo>
                    <a:cubicBezTo>
                      <a:pt x="768" y="126"/>
                      <a:pt x="762" y="126"/>
                      <a:pt x="757" y="124"/>
                    </a:cubicBezTo>
                    <a:cubicBezTo>
                      <a:pt x="755" y="123"/>
                      <a:pt x="755" y="123"/>
                      <a:pt x="755" y="123"/>
                    </a:cubicBezTo>
                    <a:cubicBezTo>
                      <a:pt x="751" y="121"/>
                      <a:pt x="749" y="118"/>
                      <a:pt x="752" y="116"/>
                    </a:cubicBezTo>
                    <a:cubicBezTo>
                      <a:pt x="770" y="104"/>
                      <a:pt x="770" y="104"/>
                      <a:pt x="770" y="104"/>
                    </a:cubicBezTo>
                    <a:cubicBezTo>
                      <a:pt x="432" y="104"/>
                      <a:pt x="432" y="104"/>
                      <a:pt x="432" y="104"/>
                    </a:cubicBezTo>
                    <a:cubicBezTo>
                      <a:pt x="427" y="104"/>
                      <a:pt x="422" y="102"/>
                      <a:pt x="423" y="99"/>
                    </a:cubicBezTo>
                    <a:cubicBezTo>
                      <a:pt x="423" y="98"/>
                      <a:pt x="423" y="98"/>
                      <a:pt x="423" y="98"/>
                    </a:cubicBezTo>
                    <a:cubicBezTo>
                      <a:pt x="423" y="96"/>
                      <a:pt x="427" y="93"/>
                      <a:pt x="432" y="93"/>
                    </a:cubicBezTo>
                    <a:cubicBezTo>
                      <a:pt x="765" y="93"/>
                      <a:pt x="765" y="93"/>
                      <a:pt x="765" y="93"/>
                    </a:cubicBezTo>
                    <a:cubicBezTo>
                      <a:pt x="737" y="82"/>
                      <a:pt x="737" y="82"/>
                      <a:pt x="737" y="82"/>
                    </a:cubicBezTo>
                    <a:cubicBezTo>
                      <a:pt x="733" y="80"/>
                      <a:pt x="731" y="77"/>
                      <a:pt x="734" y="76"/>
                    </a:cubicBezTo>
                    <a:cubicBezTo>
                      <a:pt x="735" y="75"/>
                      <a:pt x="735" y="75"/>
                      <a:pt x="735" y="75"/>
                    </a:cubicBezTo>
                    <a:cubicBezTo>
                      <a:pt x="738" y="73"/>
                      <a:pt x="744" y="73"/>
                      <a:pt x="749" y="75"/>
                    </a:cubicBezTo>
                    <a:cubicBezTo>
                      <a:pt x="796" y="94"/>
                      <a:pt x="796" y="94"/>
                      <a:pt x="796" y="94"/>
                    </a:cubicBezTo>
                    <a:cubicBezTo>
                      <a:pt x="797" y="94"/>
                      <a:pt x="797" y="95"/>
                      <a:pt x="798" y="95"/>
                    </a:cubicBezTo>
                    <a:cubicBezTo>
                      <a:pt x="800" y="96"/>
                      <a:pt x="802" y="97"/>
                      <a:pt x="802" y="98"/>
                    </a:cubicBezTo>
                    <a:cubicBezTo>
                      <a:pt x="803" y="99"/>
                      <a:pt x="803" y="99"/>
                      <a:pt x="803" y="99"/>
                    </a:cubicBezTo>
                    <a:cubicBezTo>
                      <a:pt x="804" y="101"/>
                      <a:pt x="803" y="102"/>
                      <a:pt x="801" y="103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  <a:alpha val="3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8" name="Group 37"/>
            <p:cNvGrpSpPr>
              <a:grpSpLocks noChangeAspect="1"/>
            </p:cNvGrpSpPr>
            <p:nvPr userDrawn="1"/>
          </p:nvGrpSpPr>
          <p:grpSpPr>
            <a:xfrm>
              <a:off x="6387507" y="2755254"/>
              <a:ext cx="274320" cy="274554"/>
              <a:chOff x="3838667" y="361000"/>
              <a:chExt cx="269544" cy="269774"/>
            </a:xfrm>
            <a:solidFill>
              <a:schemeClr val="bg1">
                <a:lumMod val="85000"/>
                <a:alpha val="30000"/>
              </a:schemeClr>
            </a:solidFill>
          </p:grpSpPr>
          <p:sp>
            <p:nvSpPr>
              <p:cNvPr id="39" name="Freeform 5"/>
              <p:cNvSpPr>
                <a:spLocks noEditPoints="1"/>
              </p:cNvSpPr>
              <p:nvPr/>
            </p:nvSpPr>
            <p:spPr bwMode="auto">
              <a:xfrm>
                <a:off x="3838667" y="361000"/>
                <a:ext cx="269544" cy="269774"/>
              </a:xfrm>
              <a:custGeom>
                <a:avLst/>
                <a:gdLst>
                  <a:gd name="T0" fmla="*/ 614 w 632"/>
                  <a:gd name="T1" fmla="*/ 299 h 633"/>
                  <a:gd name="T2" fmla="*/ 586 w 632"/>
                  <a:gd name="T3" fmla="*/ 299 h 633"/>
                  <a:gd name="T4" fmla="*/ 334 w 632"/>
                  <a:gd name="T5" fmla="*/ 48 h 633"/>
                  <a:gd name="T6" fmla="*/ 334 w 632"/>
                  <a:gd name="T7" fmla="*/ 18 h 633"/>
                  <a:gd name="T8" fmla="*/ 316 w 632"/>
                  <a:gd name="T9" fmla="*/ 0 h 633"/>
                  <a:gd name="T10" fmla="*/ 298 w 632"/>
                  <a:gd name="T11" fmla="*/ 18 h 633"/>
                  <a:gd name="T12" fmla="*/ 298 w 632"/>
                  <a:gd name="T13" fmla="*/ 48 h 633"/>
                  <a:gd name="T14" fmla="*/ 46 w 632"/>
                  <a:gd name="T15" fmla="*/ 299 h 633"/>
                  <a:gd name="T16" fmla="*/ 18 w 632"/>
                  <a:gd name="T17" fmla="*/ 299 h 633"/>
                  <a:gd name="T18" fmla="*/ 0 w 632"/>
                  <a:gd name="T19" fmla="*/ 317 h 633"/>
                  <a:gd name="T20" fmla="*/ 18 w 632"/>
                  <a:gd name="T21" fmla="*/ 335 h 633"/>
                  <a:gd name="T22" fmla="*/ 46 w 632"/>
                  <a:gd name="T23" fmla="*/ 335 h 633"/>
                  <a:gd name="T24" fmla="*/ 298 w 632"/>
                  <a:gd name="T25" fmla="*/ 587 h 633"/>
                  <a:gd name="T26" fmla="*/ 298 w 632"/>
                  <a:gd name="T27" fmla="*/ 615 h 633"/>
                  <a:gd name="T28" fmla="*/ 316 w 632"/>
                  <a:gd name="T29" fmla="*/ 633 h 633"/>
                  <a:gd name="T30" fmla="*/ 334 w 632"/>
                  <a:gd name="T31" fmla="*/ 615 h 633"/>
                  <a:gd name="T32" fmla="*/ 334 w 632"/>
                  <a:gd name="T33" fmla="*/ 587 h 633"/>
                  <a:gd name="T34" fmla="*/ 586 w 632"/>
                  <a:gd name="T35" fmla="*/ 335 h 633"/>
                  <a:gd name="T36" fmla="*/ 614 w 632"/>
                  <a:gd name="T37" fmla="*/ 335 h 633"/>
                  <a:gd name="T38" fmla="*/ 632 w 632"/>
                  <a:gd name="T39" fmla="*/ 317 h 633"/>
                  <a:gd name="T40" fmla="*/ 614 w 632"/>
                  <a:gd name="T41" fmla="*/ 299 h 633"/>
                  <a:gd name="T42" fmla="*/ 334 w 632"/>
                  <a:gd name="T43" fmla="*/ 559 h 633"/>
                  <a:gd name="T44" fmla="*/ 334 w 632"/>
                  <a:gd name="T45" fmla="*/ 531 h 633"/>
                  <a:gd name="T46" fmla="*/ 316 w 632"/>
                  <a:gd name="T47" fmla="*/ 513 h 633"/>
                  <a:gd name="T48" fmla="*/ 298 w 632"/>
                  <a:gd name="T49" fmla="*/ 531 h 633"/>
                  <a:gd name="T50" fmla="*/ 298 w 632"/>
                  <a:gd name="T51" fmla="*/ 559 h 633"/>
                  <a:gd name="T52" fmla="*/ 74 w 632"/>
                  <a:gd name="T53" fmla="*/ 335 h 633"/>
                  <a:gd name="T54" fmla="*/ 101 w 632"/>
                  <a:gd name="T55" fmla="*/ 335 h 633"/>
                  <a:gd name="T56" fmla="*/ 119 w 632"/>
                  <a:gd name="T57" fmla="*/ 317 h 633"/>
                  <a:gd name="T58" fmla="*/ 101 w 632"/>
                  <a:gd name="T59" fmla="*/ 299 h 633"/>
                  <a:gd name="T60" fmla="*/ 75 w 632"/>
                  <a:gd name="T61" fmla="*/ 299 h 633"/>
                  <a:gd name="T62" fmla="*/ 298 w 632"/>
                  <a:gd name="T63" fmla="*/ 76 h 633"/>
                  <a:gd name="T64" fmla="*/ 298 w 632"/>
                  <a:gd name="T65" fmla="*/ 102 h 633"/>
                  <a:gd name="T66" fmla="*/ 316 w 632"/>
                  <a:gd name="T67" fmla="*/ 120 h 633"/>
                  <a:gd name="T68" fmla="*/ 334 w 632"/>
                  <a:gd name="T69" fmla="*/ 102 h 633"/>
                  <a:gd name="T70" fmla="*/ 334 w 632"/>
                  <a:gd name="T71" fmla="*/ 76 h 633"/>
                  <a:gd name="T72" fmla="*/ 558 w 632"/>
                  <a:gd name="T73" fmla="*/ 299 h 633"/>
                  <a:gd name="T74" fmla="*/ 531 w 632"/>
                  <a:gd name="T75" fmla="*/ 299 h 633"/>
                  <a:gd name="T76" fmla="*/ 513 w 632"/>
                  <a:gd name="T77" fmla="*/ 317 h 633"/>
                  <a:gd name="T78" fmla="*/ 531 w 632"/>
                  <a:gd name="T79" fmla="*/ 335 h 633"/>
                  <a:gd name="T80" fmla="*/ 558 w 632"/>
                  <a:gd name="T81" fmla="*/ 335 h 633"/>
                  <a:gd name="T82" fmla="*/ 334 w 632"/>
                  <a:gd name="T83" fmla="*/ 559 h 6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32" h="633">
                    <a:moveTo>
                      <a:pt x="614" y="299"/>
                    </a:moveTo>
                    <a:cubicBezTo>
                      <a:pt x="586" y="299"/>
                      <a:pt x="586" y="299"/>
                      <a:pt x="586" y="299"/>
                    </a:cubicBezTo>
                    <a:cubicBezTo>
                      <a:pt x="576" y="164"/>
                      <a:pt x="469" y="57"/>
                      <a:pt x="334" y="48"/>
                    </a:cubicBezTo>
                    <a:cubicBezTo>
                      <a:pt x="334" y="18"/>
                      <a:pt x="334" y="18"/>
                      <a:pt x="334" y="18"/>
                    </a:cubicBezTo>
                    <a:cubicBezTo>
                      <a:pt x="334" y="9"/>
                      <a:pt x="326" y="0"/>
                      <a:pt x="316" y="0"/>
                    </a:cubicBezTo>
                    <a:cubicBezTo>
                      <a:pt x="306" y="0"/>
                      <a:pt x="298" y="9"/>
                      <a:pt x="298" y="18"/>
                    </a:cubicBezTo>
                    <a:cubicBezTo>
                      <a:pt x="298" y="48"/>
                      <a:pt x="298" y="48"/>
                      <a:pt x="298" y="48"/>
                    </a:cubicBezTo>
                    <a:cubicBezTo>
                      <a:pt x="164" y="57"/>
                      <a:pt x="56" y="164"/>
                      <a:pt x="46" y="299"/>
                    </a:cubicBezTo>
                    <a:cubicBezTo>
                      <a:pt x="18" y="299"/>
                      <a:pt x="18" y="299"/>
                      <a:pt x="18" y="299"/>
                    </a:cubicBezTo>
                    <a:cubicBezTo>
                      <a:pt x="8" y="299"/>
                      <a:pt x="0" y="307"/>
                      <a:pt x="0" y="317"/>
                    </a:cubicBezTo>
                    <a:cubicBezTo>
                      <a:pt x="0" y="327"/>
                      <a:pt x="8" y="335"/>
                      <a:pt x="18" y="335"/>
                    </a:cubicBezTo>
                    <a:cubicBezTo>
                      <a:pt x="46" y="335"/>
                      <a:pt x="46" y="335"/>
                      <a:pt x="46" y="335"/>
                    </a:cubicBezTo>
                    <a:cubicBezTo>
                      <a:pt x="55" y="470"/>
                      <a:pt x="163" y="578"/>
                      <a:pt x="298" y="587"/>
                    </a:cubicBezTo>
                    <a:cubicBezTo>
                      <a:pt x="298" y="615"/>
                      <a:pt x="298" y="615"/>
                      <a:pt x="298" y="615"/>
                    </a:cubicBezTo>
                    <a:cubicBezTo>
                      <a:pt x="298" y="625"/>
                      <a:pt x="306" y="633"/>
                      <a:pt x="316" y="633"/>
                    </a:cubicBezTo>
                    <a:cubicBezTo>
                      <a:pt x="326" y="633"/>
                      <a:pt x="334" y="625"/>
                      <a:pt x="334" y="615"/>
                    </a:cubicBezTo>
                    <a:cubicBezTo>
                      <a:pt x="334" y="587"/>
                      <a:pt x="334" y="587"/>
                      <a:pt x="334" y="587"/>
                    </a:cubicBezTo>
                    <a:cubicBezTo>
                      <a:pt x="469" y="578"/>
                      <a:pt x="577" y="470"/>
                      <a:pt x="586" y="335"/>
                    </a:cubicBezTo>
                    <a:cubicBezTo>
                      <a:pt x="614" y="335"/>
                      <a:pt x="614" y="335"/>
                      <a:pt x="614" y="335"/>
                    </a:cubicBezTo>
                    <a:cubicBezTo>
                      <a:pt x="624" y="335"/>
                      <a:pt x="632" y="327"/>
                      <a:pt x="632" y="317"/>
                    </a:cubicBezTo>
                    <a:cubicBezTo>
                      <a:pt x="632" y="307"/>
                      <a:pt x="624" y="299"/>
                      <a:pt x="614" y="299"/>
                    </a:cubicBezTo>
                    <a:close/>
                    <a:moveTo>
                      <a:pt x="334" y="559"/>
                    </a:moveTo>
                    <a:cubicBezTo>
                      <a:pt x="334" y="531"/>
                      <a:pt x="334" y="531"/>
                      <a:pt x="334" y="531"/>
                    </a:cubicBezTo>
                    <a:cubicBezTo>
                      <a:pt x="334" y="522"/>
                      <a:pt x="326" y="513"/>
                      <a:pt x="316" y="513"/>
                    </a:cubicBezTo>
                    <a:cubicBezTo>
                      <a:pt x="306" y="513"/>
                      <a:pt x="298" y="522"/>
                      <a:pt x="298" y="531"/>
                    </a:cubicBezTo>
                    <a:cubicBezTo>
                      <a:pt x="298" y="559"/>
                      <a:pt x="298" y="559"/>
                      <a:pt x="298" y="559"/>
                    </a:cubicBezTo>
                    <a:cubicBezTo>
                      <a:pt x="179" y="550"/>
                      <a:pt x="83" y="454"/>
                      <a:pt x="74" y="335"/>
                    </a:cubicBezTo>
                    <a:cubicBezTo>
                      <a:pt x="101" y="335"/>
                      <a:pt x="101" y="335"/>
                      <a:pt x="101" y="335"/>
                    </a:cubicBezTo>
                    <a:cubicBezTo>
                      <a:pt x="111" y="335"/>
                      <a:pt x="119" y="327"/>
                      <a:pt x="119" y="317"/>
                    </a:cubicBezTo>
                    <a:cubicBezTo>
                      <a:pt x="119" y="307"/>
                      <a:pt x="111" y="299"/>
                      <a:pt x="101" y="299"/>
                    </a:cubicBezTo>
                    <a:cubicBezTo>
                      <a:pt x="75" y="299"/>
                      <a:pt x="75" y="299"/>
                      <a:pt x="75" y="299"/>
                    </a:cubicBezTo>
                    <a:cubicBezTo>
                      <a:pt x="84" y="180"/>
                      <a:pt x="179" y="85"/>
                      <a:pt x="298" y="76"/>
                    </a:cubicBezTo>
                    <a:cubicBezTo>
                      <a:pt x="298" y="102"/>
                      <a:pt x="298" y="102"/>
                      <a:pt x="298" y="102"/>
                    </a:cubicBezTo>
                    <a:cubicBezTo>
                      <a:pt x="298" y="112"/>
                      <a:pt x="306" y="120"/>
                      <a:pt x="316" y="120"/>
                    </a:cubicBezTo>
                    <a:cubicBezTo>
                      <a:pt x="326" y="120"/>
                      <a:pt x="334" y="112"/>
                      <a:pt x="334" y="102"/>
                    </a:cubicBezTo>
                    <a:cubicBezTo>
                      <a:pt x="334" y="76"/>
                      <a:pt x="334" y="76"/>
                      <a:pt x="334" y="76"/>
                    </a:cubicBezTo>
                    <a:cubicBezTo>
                      <a:pt x="453" y="85"/>
                      <a:pt x="549" y="180"/>
                      <a:pt x="558" y="299"/>
                    </a:cubicBezTo>
                    <a:cubicBezTo>
                      <a:pt x="531" y="299"/>
                      <a:pt x="531" y="299"/>
                      <a:pt x="531" y="299"/>
                    </a:cubicBezTo>
                    <a:cubicBezTo>
                      <a:pt x="521" y="299"/>
                      <a:pt x="513" y="307"/>
                      <a:pt x="513" y="317"/>
                    </a:cubicBezTo>
                    <a:cubicBezTo>
                      <a:pt x="513" y="327"/>
                      <a:pt x="521" y="335"/>
                      <a:pt x="531" y="335"/>
                    </a:cubicBezTo>
                    <a:cubicBezTo>
                      <a:pt x="558" y="335"/>
                      <a:pt x="558" y="335"/>
                      <a:pt x="558" y="335"/>
                    </a:cubicBezTo>
                    <a:cubicBezTo>
                      <a:pt x="549" y="454"/>
                      <a:pt x="453" y="550"/>
                      <a:pt x="334" y="5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FFFFFF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40" name="Freeform 6"/>
              <p:cNvSpPr>
                <a:spLocks/>
              </p:cNvSpPr>
              <p:nvPr/>
            </p:nvSpPr>
            <p:spPr bwMode="auto">
              <a:xfrm>
                <a:off x="3908293" y="465325"/>
                <a:ext cx="62503" cy="96053"/>
              </a:xfrm>
              <a:custGeom>
                <a:avLst/>
                <a:gdLst>
                  <a:gd name="T0" fmla="*/ 73 w 147"/>
                  <a:gd name="T1" fmla="*/ 0 h 225"/>
                  <a:gd name="T2" fmla="*/ 62 w 147"/>
                  <a:gd name="T3" fmla="*/ 25 h 225"/>
                  <a:gd name="T4" fmla="*/ 25 w 147"/>
                  <a:gd name="T5" fmla="*/ 9 h 225"/>
                  <a:gd name="T6" fmla="*/ 11 w 147"/>
                  <a:gd name="T7" fmla="*/ 15 h 225"/>
                  <a:gd name="T8" fmla="*/ 18 w 147"/>
                  <a:gd name="T9" fmla="*/ 29 h 225"/>
                  <a:gd name="T10" fmla="*/ 56 w 147"/>
                  <a:gd name="T11" fmla="*/ 46 h 225"/>
                  <a:gd name="T12" fmla="*/ 52 w 147"/>
                  <a:gd name="T13" fmla="*/ 79 h 225"/>
                  <a:gd name="T14" fmla="*/ 11 w 147"/>
                  <a:gd name="T15" fmla="*/ 79 h 225"/>
                  <a:gd name="T16" fmla="*/ 0 w 147"/>
                  <a:gd name="T17" fmla="*/ 90 h 225"/>
                  <a:gd name="T18" fmla="*/ 11 w 147"/>
                  <a:gd name="T19" fmla="*/ 101 h 225"/>
                  <a:gd name="T20" fmla="*/ 52 w 147"/>
                  <a:gd name="T21" fmla="*/ 101 h 225"/>
                  <a:gd name="T22" fmla="*/ 56 w 147"/>
                  <a:gd name="T23" fmla="*/ 134 h 225"/>
                  <a:gd name="T24" fmla="*/ 18 w 147"/>
                  <a:gd name="T25" fmla="*/ 151 h 225"/>
                  <a:gd name="T26" fmla="*/ 11 w 147"/>
                  <a:gd name="T27" fmla="*/ 166 h 225"/>
                  <a:gd name="T28" fmla="*/ 22 w 147"/>
                  <a:gd name="T29" fmla="*/ 173 h 225"/>
                  <a:gd name="T30" fmla="*/ 25 w 147"/>
                  <a:gd name="T31" fmla="*/ 172 h 225"/>
                  <a:gd name="T32" fmla="*/ 64 w 147"/>
                  <a:gd name="T33" fmla="*/ 155 h 225"/>
                  <a:gd name="T34" fmla="*/ 147 w 147"/>
                  <a:gd name="T35" fmla="*/ 225 h 225"/>
                  <a:gd name="T36" fmla="*/ 147 w 147"/>
                  <a:gd name="T37" fmla="*/ 20 h 225"/>
                  <a:gd name="T38" fmla="*/ 78 w 147"/>
                  <a:gd name="T39" fmla="*/ 4 h 225"/>
                  <a:gd name="T40" fmla="*/ 73 w 147"/>
                  <a:gd name="T41" fmla="*/ 0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47" h="225">
                    <a:moveTo>
                      <a:pt x="73" y="0"/>
                    </a:moveTo>
                    <a:cubicBezTo>
                      <a:pt x="68" y="8"/>
                      <a:pt x="65" y="16"/>
                      <a:pt x="62" y="25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0" y="7"/>
                      <a:pt x="13" y="9"/>
                      <a:pt x="11" y="15"/>
                    </a:cubicBezTo>
                    <a:cubicBezTo>
                      <a:pt x="9" y="20"/>
                      <a:pt x="12" y="27"/>
                      <a:pt x="18" y="29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4" y="57"/>
                      <a:pt x="52" y="68"/>
                      <a:pt x="52" y="79"/>
                    </a:cubicBezTo>
                    <a:cubicBezTo>
                      <a:pt x="11" y="79"/>
                      <a:pt x="11" y="79"/>
                      <a:pt x="11" y="79"/>
                    </a:cubicBezTo>
                    <a:cubicBezTo>
                      <a:pt x="4" y="79"/>
                      <a:pt x="0" y="83"/>
                      <a:pt x="0" y="90"/>
                    </a:cubicBezTo>
                    <a:cubicBezTo>
                      <a:pt x="0" y="95"/>
                      <a:pt x="4" y="101"/>
                      <a:pt x="11" y="101"/>
                    </a:cubicBezTo>
                    <a:cubicBezTo>
                      <a:pt x="52" y="101"/>
                      <a:pt x="52" y="101"/>
                      <a:pt x="52" y="101"/>
                    </a:cubicBezTo>
                    <a:cubicBezTo>
                      <a:pt x="52" y="113"/>
                      <a:pt x="54" y="124"/>
                      <a:pt x="56" y="134"/>
                    </a:cubicBezTo>
                    <a:cubicBezTo>
                      <a:pt x="18" y="151"/>
                      <a:pt x="18" y="151"/>
                      <a:pt x="18" y="151"/>
                    </a:cubicBezTo>
                    <a:cubicBezTo>
                      <a:pt x="11" y="154"/>
                      <a:pt x="9" y="161"/>
                      <a:pt x="11" y="166"/>
                    </a:cubicBezTo>
                    <a:cubicBezTo>
                      <a:pt x="13" y="169"/>
                      <a:pt x="18" y="173"/>
                      <a:pt x="22" y="173"/>
                    </a:cubicBezTo>
                    <a:cubicBezTo>
                      <a:pt x="23" y="173"/>
                      <a:pt x="24" y="172"/>
                      <a:pt x="25" y="172"/>
                    </a:cubicBezTo>
                    <a:cubicBezTo>
                      <a:pt x="64" y="155"/>
                      <a:pt x="64" y="155"/>
                      <a:pt x="64" y="155"/>
                    </a:cubicBezTo>
                    <a:cubicBezTo>
                      <a:pt x="79" y="190"/>
                      <a:pt x="109" y="211"/>
                      <a:pt x="147" y="225"/>
                    </a:cubicBezTo>
                    <a:cubicBezTo>
                      <a:pt x="147" y="20"/>
                      <a:pt x="147" y="20"/>
                      <a:pt x="147" y="20"/>
                    </a:cubicBezTo>
                    <a:cubicBezTo>
                      <a:pt x="120" y="20"/>
                      <a:pt x="97" y="13"/>
                      <a:pt x="78" y="4"/>
                    </a:cubicBezTo>
                    <a:cubicBezTo>
                      <a:pt x="77" y="2"/>
                      <a:pt x="75" y="1"/>
                      <a:pt x="7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FFFFFF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41" name="Freeform 7"/>
              <p:cNvSpPr>
                <a:spLocks/>
              </p:cNvSpPr>
              <p:nvPr/>
            </p:nvSpPr>
            <p:spPr bwMode="auto">
              <a:xfrm>
                <a:off x="3976311" y="465325"/>
                <a:ext cx="62273" cy="96053"/>
              </a:xfrm>
              <a:custGeom>
                <a:avLst/>
                <a:gdLst>
                  <a:gd name="T0" fmla="*/ 134 w 146"/>
                  <a:gd name="T1" fmla="*/ 101 h 225"/>
                  <a:gd name="T2" fmla="*/ 146 w 146"/>
                  <a:gd name="T3" fmla="*/ 90 h 225"/>
                  <a:gd name="T4" fmla="*/ 135 w 146"/>
                  <a:gd name="T5" fmla="*/ 79 h 225"/>
                  <a:gd name="T6" fmla="*/ 95 w 146"/>
                  <a:gd name="T7" fmla="*/ 79 h 225"/>
                  <a:gd name="T8" fmla="*/ 91 w 146"/>
                  <a:gd name="T9" fmla="*/ 46 h 225"/>
                  <a:gd name="T10" fmla="*/ 129 w 146"/>
                  <a:gd name="T11" fmla="*/ 29 h 225"/>
                  <a:gd name="T12" fmla="*/ 134 w 146"/>
                  <a:gd name="T13" fmla="*/ 15 h 225"/>
                  <a:gd name="T14" fmla="*/ 120 w 146"/>
                  <a:gd name="T15" fmla="*/ 9 h 225"/>
                  <a:gd name="T16" fmla="*/ 84 w 146"/>
                  <a:gd name="T17" fmla="*/ 23 h 225"/>
                  <a:gd name="T18" fmla="*/ 74 w 146"/>
                  <a:gd name="T19" fmla="*/ 0 h 225"/>
                  <a:gd name="T20" fmla="*/ 69 w 146"/>
                  <a:gd name="T21" fmla="*/ 4 h 225"/>
                  <a:gd name="T22" fmla="*/ 0 w 146"/>
                  <a:gd name="T23" fmla="*/ 20 h 225"/>
                  <a:gd name="T24" fmla="*/ 0 w 146"/>
                  <a:gd name="T25" fmla="*/ 225 h 225"/>
                  <a:gd name="T26" fmla="*/ 83 w 146"/>
                  <a:gd name="T27" fmla="*/ 156 h 225"/>
                  <a:gd name="T28" fmla="*/ 120 w 146"/>
                  <a:gd name="T29" fmla="*/ 172 h 225"/>
                  <a:gd name="T30" fmla="*/ 124 w 146"/>
                  <a:gd name="T31" fmla="*/ 173 h 225"/>
                  <a:gd name="T32" fmla="*/ 134 w 146"/>
                  <a:gd name="T33" fmla="*/ 166 h 225"/>
                  <a:gd name="T34" fmla="*/ 129 w 146"/>
                  <a:gd name="T35" fmla="*/ 151 h 225"/>
                  <a:gd name="T36" fmla="*/ 90 w 146"/>
                  <a:gd name="T37" fmla="*/ 135 h 225"/>
                  <a:gd name="T38" fmla="*/ 95 w 146"/>
                  <a:gd name="T39" fmla="*/ 101 h 225"/>
                  <a:gd name="T40" fmla="*/ 134 w 146"/>
                  <a:gd name="T41" fmla="*/ 101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46" h="225">
                    <a:moveTo>
                      <a:pt x="134" y="101"/>
                    </a:moveTo>
                    <a:cubicBezTo>
                      <a:pt x="141" y="101"/>
                      <a:pt x="145" y="95"/>
                      <a:pt x="146" y="90"/>
                    </a:cubicBezTo>
                    <a:cubicBezTo>
                      <a:pt x="146" y="83"/>
                      <a:pt x="141" y="79"/>
                      <a:pt x="135" y="79"/>
                    </a:cubicBezTo>
                    <a:cubicBezTo>
                      <a:pt x="95" y="79"/>
                      <a:pt x="95" y="79"/>
                      <a:pt x="95" y="79"/>
                    </a:cubicBezTo>
                    <a:cubicBezTo>
                      <a:pt x="95" y="67"/>
                      <a:pt x="93" y="56"/>
                      <a:pt x="91" y="46"/>
                    </a:cubicBezTo>
                    <a:cubicBezTo>
                      <a:pt x="129" y="29"/>
                      <a:pt x="129" y="29"/>
                      <a:pt x="129" y="29"/>
                    </a:cubicBezTo>
                    <a:cubicBezTo>
                      <a:pt x="134" y="27"/>
                      <a:pt x="136" y="20"/>
                      <a:pt x="134" y="15"/>
                    </a:cubicBezTo>
                    <a:cubicBezTo>
                      <a:pt x="132" y="9"/>
                      <a:pt x="125" y="7"/>
                      <a:pt x="120" y="9"/>
                    </a:cubicBezTo>
                    <a:cubicBezTo>
                      <a:pt x="84" y="23"/>
                      <a:pt x="84" y="23"/>
                      <a:pt x="84" y="23"/>
                    </a:cubicBezTo>
                    <a:cubicBezTo>
                      <a:pt x="82" y="16"/>
                      <a:pt x="79" y="8"/>
                      <a:pt x="74" y="0"/>
                    </a:cubicBezTo>
                    <a:cubicBezTo>
                      <a:pt x="72" y="1"/>
                      <a:pt x="70" y="2"/>
                      <a:pt x="69" y="4"/>
                    </a:cubicBezTo>
                    <a:cubicBezTo>
                      <a:pt x="50" y="13"/>
                      <a:pt x="27" y="20"/>
                      <a:pt x="0" y="20"/>
                    </a:cubicBezTo>
                    <a:cubicBezTo>
                      <a:pt x="0" y="225"/>
                      <a:pt x="0" y="225"/>
                      <a:pt x="0" y="225"/>
                    </a:cubicBezTo>
                    <a:cubicBezTo>
                      <a:pt x="37" y="213"/>
                      <a:pt x="67" y="190"/>
                      <a:pt x="83" y="156"/>
                    </a:cubicBezTo>
                    <a:cubicBezTo>
                      <a:pt x="120" y="172"/>
                      <a:pt x="120" y="172"/>
                      <a:pt x="120" y="172"/>
                    </a:cubicBezTo>
                    <a:cubicBezTo>
                      <a:pt x="121" y="172"/>
                      <a:pt x="123" y="173"/>
                      <a:pt x="124" y="173"/>
                    </a:cubicBezTo>
                    <a:cubicBezTo>
                      <a:pt x="129" y="173"/>
                      <a:pt x="133" y="169"/>
                      <a:pt x="134" y="166"/>
                    </a:cubicBezTo>
                    <a:cubicBezTo>
                      <a:pt x="136" y="161"/>
                      <a:pt x="134" y="154"/>
                      <a:pt x="129" y="151"/>
                    </a:cubicBezTo>
                    <a:cubicBezTo>
                      <a:pt x="90" y="135"/>
                      <a:pt x="90" y="135"/>
                      <a:pt x="90" y="135"/>
                    </a:cubicBezTo>
                    <a:cubicBezTo>
                      <a:pt x="93" y="124"/>
                      <a:pt x="95" y="113"/>
                      <a:pt x="95" y="101"/>
                    </a:cubicBezTo>
                    <a:lnTo>
                      <a:pt x="134" y="10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FFFFFF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42" name="Freeform 8"/>
              <p:cNvSpPr>
                <a:spLocks/>
              </p:cNvSpPr>
              <p:nvPr/>
            </p:nvSpPr>
            <p:spPr bwMode="auto">
              <a:xfrm>
                <a:off x="3928745" y="419826"/>
                <a:ext cx="88929" cy="48946"/>
              </a:xfrm>
              <a:custGeom>
                <a:avLst/>
                <a:gdLst>
                  <a:gd name="T0" fmla="*/ 179 w 209"/>
                  <a:gd name="T1" fmla="*/ 96 h 115"/>
                  <a:gd name="T2" fmla="*/ 156 w 209"/>
                  <a:gd name="T3" fmla="*/ 72 h 115"/>
                  <a:gd name="T4" fmla="*/ 185 w 209"/>
                  <a:gd name="T5" fmla="*/ 39 h 115"/>
                  <a:gd name="T6" fmla="*/ 189 w 209"/>
                  <a:gd name="T7" fmla="*/ 39 h 115"/>
                  <a:gd name="T8" fmla="*/ 209 w 209"/>
                  <a:gd name="T9" fmla="*/ 19 h 115"/>
                  <a:gd name="T10" fmla="*/ 189 w 209"/>
                  <a:gd name="T11" fmla="*/ 0 h 115"/>
                  <a:gd name="T12" fmla="*/ 170 w 209"/>
                  <a:gd name="T13" fmla="*/ 19 h 115"/>
                  <a:gd name="T14" fmla="*/ 172 w 209"/>
                  <a:gd name="T15" fmla="*/ 28 h 115"/>
                  <a:gd name="T16" fmla="*/ 142 w 209"/>
                  <a:gd name="T17" fmla="*/ 62 h 115"/>
                  <a:gd name="T18" fmla="*/ 106 w 209"/>
                  <a:gd name="T19" fmla="*/ 53 h 115"/>
                  <a:gd name="T20" fmla="*/ 67 w 209"/>
                  <a:gd name="T21" fmla="*/ 63 h 115"/>
                  <a:gd name="T22" fmla="*/ 37 w 209"/>
                  <a:gd name="T23" fmla="*/ 28 h 115"/>
                  <a:gd name="T24" fmla="*/ 39 w 209"/>
                  <a:gd name="T25" fmla="*/ 19 h 115"/>
                  <a:gd name="T26" fmla="*/ 19 w 209"/>
                  <a:gd name="T27" fmla="*/ 0 h 115"/>
                  <a:gd name="T28" fmla="*/ 0 w 209"/>
                  <a:gd name="T29" fmla="*/ 19 h 115"/>
                  <a:gd name="T30" fmla="*/ 19 w 209"/>
                  <a:gd name="T31" fmla="*/ 39 h 115"/>
                  <a:gd name="T32" fmla="*/ 24 w 209"/>
                  <a:gd name="T33" fmla="*/ 39 h 115"/>
                  <a:gd name="T34" fmla="*/ 52 w 209"/>
                  <a:gd name="T35" fmla="*/ 73 h 115"/>
                  <a:gd name="T36" fmla="*/ 33 w 209"/>
                  <a:gd name="T37" fmla="*/ 96 h 115"/>
                  <a:gd name="T38" fmla="*/ 37 w 209"/>
                  <a:gd name="T39" fmla="*/ 99 h 115"/>
                  <a:gd name="T40" fmla="*/ 106 w 209"/>
                  <a:gd name="T41" fmla="*/ 115 h 115"/>
                  <a:gd name="T42" fmla="*/ 174 w 209"/>
                  <a:gd name="T43" fmla="*/ 99 h 115"/>
                  <a:gd name="T44" fmla="*/ 179 w 209"/>
                  <a:gd name="T45" fmla="*/ 96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09" h="115">
                    <a:moveTo>
                      <a:pt x="179" y="96"/>
                    </a:moveTo>
                    <a:cubicBezTo>
                      <a:pt x="173" y="86"/>
                      <a:pt x="165" y="78"/>
                      <a:pt x="156" y="72"/>
                    </a:cubicBezTo>
                    <a:cubicBezTo>
                      <a:pt x="177" y="49"/>
                      <a:pt x="183" y="41"/>
                      <a:pt x="185" y="39"/>
                    </a:cubicBezTo>
                    <a:cubicBezTo>
                      <a:pt x="187" y="39"/>
                      <a:pt x="188" y="39"/>
                      <a:pt x="189" y="39"/>
                    </a:cubicBezTo>
                    <a:cubicBezTo>
                      <a:pt x="200" y="39"/>
                      <a:pt x="209" y="30"/>
                      <a:pt x="209" y="19"/>
                    </a:cubicBezTo>
                    <a:cubicBezTo>
                      <a:pt x="209" y="9"/>
                      <a:pt x="200" y="0"/>
                      <a:pt x="189" y="0"/>
                    </a:cubicBezTo>
                    <a:cubicBezTo>
                      <a:pt x="178" y="0"/>
                      <a:pt x="170" y="9"/>
                      <a:pt x="170" y="19"/>
                    </a:cubicBezTo>
                    <a:cubicBezTo>
                      <a:pt x="170" y="23"/>
                      <a:pt x="170" y="25"/>
                      <a:pt x="172" y="28"/>
                    </a:cubicBezTo>
                    <a:cubicBezTo>
                      <a:pt x="142" y="62"/>
                      <a:pt x="142" y="62"/>
                      <a:pt x="142" y="62"/>
                    </a:cubicBezTo>
                    <a:cubicBezTo>
                      <a:pt x="131" y="56"/>
                      <a:pt x="119" y="53"/>
                      <a:pt x="106" y="53"/>
                    </a:cubicBezTo>
                    <a:cubicBezTo>
                      <a:pt x="92" y="53"/>
                      <a:pt x="79" y="56"/>
                      <a:pt x="67" y="63"/>
                    </a:cubicBezTo>
                    <a:cubicBezTo>
                      <a:pt x="45" y="38"/>
                      <a:pt x="38" y="30"/>
                      <a:pt x="37" y="28"/>
                    </a:cubicBezTo>
                    <a:cubicBezTo>
                      <a:pt x="38" y="26"/>
                      <a:pt x="39" y="23"/>
                      <a:pt x="39" y="19"/>
                    </a:cubicBezTo>
                    <a:cubicBezTo>
                      <a:pt x="39" y="9"/>
                      <a:pt x="30" y="0"/>
                      <a:pt x="19" y="0"/>
                    </a:cubicBezTo>
                    <a:cubicBezTo>
                      <a:pt x="8" y="0"/>
                      <a:pt x="0" y="9"/>
                      <a:pt x="0" y="19"/>
                    </a:cubicBezTo>
                    <a:cubicBezTo>
                      <a:pt x="0" y="30"/>
                      <a:pt x="8" y="39"/>
                      <a:pt x="19" y="39"/>
                    </a:cubicBezTo>
                    <a:cubicBezTo>
                      <a:pt x="21" y="39"/>
                      <a:pt x="22" y="39"/>
                      <a:pt x="24" y="39"/>
                    </a:cubicBezTo>
                    <a:cubicBezTo>
                      <a:pt x="52" y="73"/>
                      <a:pt x="52" y="73"/>
                      <a:pt x="52" y="73"/>
                    </a:cubicBezTo>
                    <a:cubicBezTo>
                      <a:pt x="45" y="80"/>
                      <a:pt x="38" y="87"/>
                      <a:pt x="33" y="96"/>
                    </a:cubicBezTo>
                    <a:cubicBezTo>
                      <a:pt x="34" y="97"/>
                      <a:pt x="35" y="98"/>
                      <a:pt x="37" y="99"/>
                    </a:cubicBezTo>
                    <a:cubicBezTo>
                      <a:pt x="55" y="108"/>
                      <a:pt x="79" y="115"/>
                      <a:pt x="106" y="115"/>
                    </a:cubicBezTo>
                    <a:cubicBezTo>
                      <a:pt x="132" y="115"/>
                      <a:pt x="156" y="108"/>
                      <a:pt x="174" y="99"/>
                    </a:cubicBezTo>
                    <a:cubicBezTo>
                      <a:pt x="176" y="98"/>
                      <a:pt x="177" y="97"/>
                      <a:pt x="179" y="9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FFFFFF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3" name="Freeform 253"/>
            <p:cNvSpPr>
              <a:spLocks noChangeAspect="1" noEditPoints="1"/>
            </p:cNvSpPr>
            <p:nvPr userDrawn="1"/>
          </p:nvSpPr>
          <p:spPr bwMode="auto">
            <a:xfrm>
              <a:off x="3174117" y="3277440"/>
              <a:ext cx="137160" cy="121920"/>
            </a:xfrm>
            <a:custGeom>
              <a:avLst/>
              <a:gdLst>
                <a:gd name="T0" fmla="*/ 614 w 666"/>
                <a:gd name="T1" fmla="*/ 346 h 590"/>
                <a:gd name="T2" fmla="*/ 606 w 666"/>
                <a:gd name="T3" fmla="*/ 326 h 590"/>
                <a:gd name="T4" fmla="*/ 587 w 666"/>
                <a:gd name="T5" fmla="*/ 318 h 590"/>
                <a:gd name="T6" fmla="*/ 503 w 666"/>
                <a:gd name="T7" fmla="*/ 259 h 590"/>
                <a:gd name="T8" fmla="*/ 519 w 666"/>
                <a:gd name="T9" fmla="*/ 244 h 590"/>
                <a:gd name="T10" fmla="*/ 515 w 666"/>
                <a:gd name="T11" fmla="*/ 5 h 590"/>
                <a:gd name="T12" fmla="*/ 162 w 666"/>
                <a:gd name="T13" fmla="*/ 0 h 590"/>
                <a:gd name="T14" fmla="*/ 146 w 666"/>
                <a:gd name="T15" fmla="*/ 16 h 590"/>
                <a:gd name="T16" fmla="*/ 151 w 666"/>
                <a:gd name="T17" fmla="*/ 255 h 590"/>
                <a:gd name="T18" fmla="*/ 305 w 666"/>
                <a:gd name="T19" fmla="*/ 318 h 590"/>
                <a:gd name="T20" fmla="*/ 69 w 666"/>
                <a:gd name="T21" fmla="*/ 321 h 590"/>
                <a:gd name="T22" fmla="*/ 54 w 666"/>
                <a:gd name="T23" fmla="*/ 335 h 590"/>
                <a:gd name="T24" fmla="*/ 16 w 666"/>
                <a:gd name="T25" fmla="*/ 431 h 590"/>
                <a:gd name="T26" fmla="*/ 1 w 666"/>
                <a:gd name="T27" fmla="*/ 441 h 590"/>
                <a:gd name="T28" fmla="*/ 1 w 666"/>
                <a:gd name="T29" fmla="*/ 581 h 590"/>
                <a:gd name="T30" fmla="*/ 144 w 666"/>
                <a:gd name="T31" fmla="*/ 590 h 590"/>
                <a:gd name="T32" fmla="*/ 159 w 666"/>
                <a:gd name="T33" fmla="*/ 581 h 590"/>
                <a:gd name="T34" fmla="*/ 159 w 666"/>
                <a:gd name="T35" fmla="*/ 441 h 590"/>
                <a:gd name="T36" fmla="*/ 108 w 666"/>
                <a:gd name="T37" fmla="*/ 431 h 590"/>
                <a:gd name="T38" fmla="*/ 268 w 666"/>
                <a:gd name="T39" fmla="*/ 431 h 590"/>
                <a:gd name="T40" fmla="*/ 254 w 666"/>
                <a:gd name="T41" fmla="*/ 441 h 590"/>
                <a:gd name="T42" fmla="*/ 254 w 666"/>
                <a:gd name="T43" fmla="*/ 581 h 590"/>
                <a:gd name="T44" fmla="*/ 397 w 666"/>
                <a:gd name="T45" fmla="*/ 590 h 590"/>
                <a:gd name="T46" fmla="*/ 411 w 666"/>
                <a:gd name="T47" fmla="*/ 581 h 590"/>
                <a:gd name="T48" fmla="*/ 411 w 666"/>
                <a:gd name="T49" fmla="*/ 441 h 590"/>
                <a:gd name="T50" fmla="*/ 361 w 666"/>
                <a:gd name="T51" fmla="*/ 431 h 590"/>
                <a:gd name="T52" fmla="*/ 522 w 666"/>
                <a:gd name="T53" fmla="*/ 431 h 590"/>
                <a:gd name="T54" fmla="*/ 507 w 666"/>
                <a:gd name="T55" fmla="*/ 441 h 590"/>
                <a:gd name="T56" fmla="*/ 507 w 666"/>
                <a:gd name="T57" fmla="*/ 581 h 590"/>
                <a:gd name="T58" fmla="*/ 650 w 666"/>
                <a:gd name="T59" fmla="*/ 590 h 590"/>
                <a:gd name="T60" fmla="*/ 665 w 666"/>
                <a:gd name="T61" fmla="*/ 581 h 590"/>
                <a:gd name="T62" fmla="*/ 665 w 666"/>
                <a:gd name="T63" fmla="*/ 441 h 590"/>
                <a:gd name="T64" fmla="*/ 650 w 666"/>
                <a:gd name="T65" fmla="*/ 431 h 590"/>
                <a:gd name="T66" fmla="*/ 224 w 666"/>
                <a:gd name="T67" fmla="*/ 203 h 590"/>
                <a:gd name="T68" fmla="*/ 201 w 666"/>
                <a:gd name="T69" fmla="*/ 179 h 590"/>
                <a:gd name="T70" fmla="*/ 198 w 666"/>
                <a:gd name="T71" fmla="*/ 153 h 590"/>
                <a:gd name="T72" fmla="*/ 216 w 666"/>
                <a:gd name="T73" fmla="*/ 126 h 590"/>
                <a:gd name="T74" fmla="*/ 240 w 666"/>
                <a:gd name="T75" fmla="*/ 118 h 590"/>
                <a:gd name="T76" fmla="*/ 246 w 666"/>
                <a:gd name="T77" fmla="*/ 87 h 590"/>
                <a:gd name="T78" fmla="*/ 283 w 666"/>
                <a:gd name="T79" fmla="*/ 51 h 590"/>
                <a:gd name="T80" fmla="*/ 320 w 666"/>
                <a:gd name="T81" fmla="*/ 46 h 590"/>
                <a:gd name="T82" fmla="*/ 356 w 666"/>
                <a:gd name="T83" fmla="*/ 63 h 590"/>
                <a:gd name="T84" fmla="*/ 374 w 666"/>
                <a:gd name="T85" fmla="*/ 87 h 590"/>
                <a:gd name="T86" fmla="*/ 398 w 666"/>
                <a:gd name="T87" fmla="*/ 85 h 590"/>
                <a:gd name="T88" fmla="*/ 419 w 666"/>
                <a:gd name="T89" fmla="*/ 99 h 590"/>
                <a:gd name="T90" fmla="*/ 425 w 666"/>
                <a:gd name="T91" fmla="*/ 118 h 590"/>
                <a:gd name="T92" fmla="*/ 449 w 666"/>
                <a:gd name="T93" fmla="*/ 126 h 590"/>
                <a:gd name="T94" fmla="*/ 468 w 666"/>
                <a:gd name="T95" fmla="*/ 153 h 590"/>
                <a:gd name="T96" fmla="*/ 465 w 666"/>
                <a:gd name="T97" fmla="*/ 179 h 590"/>
                <a:gd name="T98" fmla="*/ 442 w 666"/>
                <a:gd name="T99" fmla="*/ 203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66" h="590">
                  <a:moveTo>
                    <a:pt x="650" y="431"/>
                  </a:moveTo>
                  <a:lnTo>
                    <a:pt x="614" y="431"/>
                  </a:lnTo>
                  <a:lnTo>
                    <a:pt x="614" y="346"/>
                  </a:lnTo>
                  <a:lnTo>
                    <a:pt x="614" y="346"/>
                  </a:lnTo>
                  <a:lnTo>
                    <a:pt x="614" y="341"/>
                  </a:lnTo>
                  <a:lnTo>
                    <a:pt x="612" y="335"/>
                  </a:lnTo>
                  <a:lnTo>
                    <a:pt x="610" y="330"/>
                  </a:lnTo>
                  <a:lnTo>
                    <a:pt x="606" y="326"/>
                  </a:lnTo>
                  <a:lnTo>
                    <a:pt x="601" y="323"/>
                  </a:lnTo>
                  <a:lnTo>
                    <a:pt x="597" y="321"/>
                  </a:lnTo>
                  <a:lnTo>
                    <a:pt x="592" y="318"/>
                  </a:lnTo>
                  <a:lnTo>
                    <a:pt x="587" y="318"/>
                  </a:lnTo>
                  <a:lnTo>
                    <a:pt x="361" y="318"/>
                  </a:lnTo>
                  <a:lnTo>
                    <a:pt x="361" y="259"/>
                  </a:lnTo>
                  <a:lnTo>
                    <a:pt x="503" y="259"/>
                  </a:lnTo>
                  <a:lnTo>
                    <a:pt x="503" y="259"/>
                  </a:lnTo>
                  <a:lnTo>
                    <a:pt x="510" y="257"/>
                  </a:lnTo>
                  <a:lnTo>
                    <a:pt x="515" y="255"/>
                  </a:lnTo>
                  <a:lnTo>
                    <a:pt x="518" y="249"/>
                  </a:lnTo>
                  <a:lnTo>
                    <a:pt x="519" y="244"/>
                  </a:lnTo>
                  <a:lnTo>
                    <a:pt x="519" y="16"/>
                  </a:lnTo>
                  <a:lnTo>
                    <a:pt x="519" y="16"/>
                  </a:lnTo>
                  <a:lnTo>
                    <a:pt x="518" y="9"/>
                  </a:lnTo>
                  <a:lnTo>
                    <a:pt x="515" y="5"/>
                  </a:lnTo>
                  <a:lnTo>
                    <a:pt x="510" y="1"/>
                  </a:lnTo>
                  <a:lnTo>
                    <a:pt x="503" y="0"/>
                  </a:lnTo>
                  <a:lnTo>
                    <a:pt x="162" y="0"/>
                  </a:lnTo>
                  <a:lnTo>
                    <a:pt x="162" y="0"/>
                  </a:lnTo>
                  <a:lnTo>
                    <a:pt x="157" y="1"/>
                  </a:lnTo>
                  <a:lnTo>
                    <a:pt x="151" y="5"/>
                  </a:lnTo>
                  <a:lnTo>
                    <a:pt x="147" y="9"/>
                  </a:lnTo>
                  <a:lnTo>
                    <a:pt x="146" y="16"/>
                  </a:lnTo>
                  <a:lnTo>
                    <a:pt x="146" y="244"/>
                  </a:lnTo>
                  <a:lnTo>
                    <a:pt x="146" y="244"/>
                  </a:lnTo>
                  <a:lnTo>
                    <a:pt x="147" y="249"/>
                  </a:lnTo>
                  <a:lnTo>
                    <a:pt x="151" y="255"/>
                  </a:lnTo>
                  <a:lnTo>
                    <a:pt x="157" y="257"/>
                  </a:lnTo>
                  <a:lnTo>
                    <a:pt x="162" y="259"/>
                  </a:lnTo>
                  <a:lnTo>
                    <a:pt x="305" y="259"/>
                  </a:lnTo>
                  <a:lnTo>
                    <a:pt x="305" y="318"/>
                  </a:lnTo>
                  <a:lnTo>
                    <a:pt x="80" y="318"/>
                  </a:lnTo>
                  <a:lnTo>
                    <a:pt x="80" y="318"/>
                  </a:lnTo>
                  <a:lnTo>
                    <a:pt x="74" y="318"/>
                  </a:lnTo>
                  <a:lnTo>
                    <a:pt x="69" y="321"/>
                  </a:lnTo>
                  <a:lnTo>
                    <a:pt x="63" y="323"/>
                  </a:lnTo>
                  <a:lnTo>
                    <a:pt x="59" y="326"/>
                  </a:lnTo>
                  <a:lnTo>
                    <a:pt x="57" y="330"/>
                  </a:lnTo>
                  <a:lnTo>
                    <a:pt x="54" y="335"/>
                  </a:lnTo>
                  <a:lnTo>
                    <a:pt x="53" y="341"/>
                  </a:lnTo>
                  <a:lnTo>
                    <a:pt x="51" y="346"/>
                  </a:lnTo>
                  <a:lnTo>
                    <a:pt x="51" y="431"/>
                  </a:lnTo>
                  <a:lnTo>
                    <a:pt x="16" y="431"/>
                  </a:lnTo>
                  <a:lnTo>
                    <a:pt x="16" y="431"/>
                  </a:lnTo>
                  <a:lnTo>
                    <a:pt x="10" y="431"/>
                  </a:lnTo>
                  <a:lnTo>
                    <a:pt x="4" y="435"/>
                  </a:lnTo>
                  <a:lnTo>
                    <a:pt x="1" y="441"/>
                  </a:lnTo>
                  <a:lnTo>
                    <a:pt x="0" y="446"/>
                  </a:lnTo>
                  <a:lnTo>
                    <a:pt x="0" y="574"/>
                  </a:lnTo>
                  <a:lnTo>
                    <a:pt x="0" y="574"/>
                  </a:lnTo>
                  <a:lnTo>
                    <a:pt x="1" y="581"/>
                  </a:lnTo>
                  <a:lnTo>
                    <a:pt x="4" y="586"/>
                  </a:lnTo>
                  <a:lnTo>
                    <a:pt x="10" y="589"/>
                  </a:lnTo>
                  <a:lnTo>
                    <a:pt x="16" y="590"/>
                  </a:lnTo>
                  <a:lnTo>
                    <a:pt x="144" y="590"/>
                  </a:lnTo>
                  <a:lnTo>
                    <a:pt x="144" y="590"/>
                  </a:lnTo>
                  <a:lnTo>
                    <a:pt x="150" y="589"/>
                  </a:lnTo>
                  <a:lnTo>
                    <a:pt x="155" y="586"/>
                  </a:lnTo>
                  <a:lnTo>
                    <a:pt x="159" y="581"/>
                  </a:lnTo>
                  <a:lnTo>
                    <a:pt x="161" y="574"/>
                  </a:lnTo>
                  <a:lnTo>
                    <a:pt x="161" y="446"/>
                  </a:lnTo>
                  <a:lnTo>
                    <a:pt x="161" y="446"/>
                  </a:lnTo>
                  <a:lnTo>
                    <a:pt x="159" y="441"/>
                  </a:lnTo>
                  <a:lnTo>
                    <a:pt x="155" y="435"/>
                  </a:lnTo>
                  <a:lnTo>
                    <a:pt x="150" y="431"/>
                  </a:lnTo>
                  <a:lnTo>
                    <a:pt x="144" y="431"/>
                  </a:lnTo>
                  <a:lnTo>
                    <a:pt x="108" y="431"/>
                  </a:lnTo>
                  <a:lnTo>
                    <a:pt x="108" y="375"/>
                  </a:lnTo>
                  <a:lnTo>
                    <a:pt x="305" y="375"/>
                  </a:lnTo>
                  <a:lnTo>
                    <a:pt x="305" y="431"/>
                  </a:lnTo>
                  <a:lnTo>
                    <a:pt x="268" y="431"/>
                  </a:lnTo>
                  <a:lnTo>
                    <a:pt x="268" y="431"/>
                  </a:lnTo>
                  <a:lnTo>
                    <a:pt x="263" y="431"/>
                  </a:lnTo>
                  <a:lnTo>
                    <a:pt x="258" y="435"/>
                  </a:lnTo>
                  <a:lnTo>
                    <a:pt x="254" y="441"/>
                  </a:lnTo>
                  <a:lnTo>
                    <a:pt x="252" y="446"/>
                  </a:lnTo>
                  <a:lnTo>
                    <a:pt x="252" y="574"/>
                  </a:lnTo>
                  <a:lnTo>
                    <a:pt x="252" y="574"/>
                  </a:lnTo>
                  <a:lnTo>
                    <a:pt x="254" y="581"/>
                  </a:lnTo>
                  <a:lnTo>
                    <a:pt x="258" y="586"/>
                  </a:lnTo>
                  <a:lnTo>
                    <a:pt x="263" y="589"/>
                  </a:lnTo>
                  <a:lnTo>
                    <a:pt x="268" y="590"/>
                  </a:lnTo>
                  <a:lnTo>
                    <a:pt x="397" y="590"/>
                  </a:lnTo>
                  <a:lnTo>
                    <a:pt x="397" y="590"/>
                  </a:lnTo>
                  <a:lnTo>
                    <a:pt x="403" y="589"/>
                  </a:lnTo>
                  <a:lnTo>
                    <a:pt x="409" y="586"/>
                  </a:lnTo>
                  <a:lnTo>
                    <a:pt x="411" y="581"/>
                  </a:lnTo>
                  <a:lnTo>
                    <a:pt x="413" y="574"/>
                  </a:lnTo>
                  <a:lnTo>
                    <a:pt x="413" y="446"/>
                  </a:lnTo>
                  <a:lnTo>
                    <a:pt x="413" y="446"/>
                  </a:lnTo>
                  <a:lnTo>
                    <a:pt x="411" y="441"/>
                  </a:lnTo>
                  <a:lnTo>
                    <a:pt x="409" y="435"/>
                  </a:lnTo>
                  <a:lnTo>
                    <a:pt x="403" y="431"/>
                  </a:lnTo>
                  <a:lnTo>
                    <a:pt x="397" y="431"/>
                  </a:lnTo>
                  <a:lnTo>
                    <a:pt x="361" y="431"/>
                  </a:lnTo>
                  <a:lnTo>
                    <a:pt x="361" y="375"/>
                  </a:lnTo>
                  <a:lnTo>
                    <a:pt x="558" y="375"/>
                  </a:lnTo>
                  <a:lnTo>
                    <a:pt x="558" y="431"/>
                  </a:lnTo>
                  <a:lnTo>
                    <a:pt x="522" y="431"/>
                  </a:lnTo>
                  <a:lnTo>
                    <a:pt x="522" y="431"/>
                  </a:lnTo>
                  <a:lnTo>
                    <a:pt x="515" y="431"/>
                  </a:lnTo>
                  <a:lnTo>
                    <a:pt x="511" y="435"/>
                  </a:lnTo>
                  <a:lnTo>
                    <a:pt x="507" y="441"/>
                  </a:lnTo>
                  <a:lnTo>
                    <a:pt x="506" y="446"/>
                  </a:lnTo>
                  <a:lnTo>
                    <a:pt x="506" y="574"/>
                  </a:lnTo>
                  <a:lnTo>
                    <a:pt x="506" y="574"/>
                  </a:lnTo>
                  <a:lnTo>
                    <a:pt x="507" y="581"/>
                  </a:lnTo>
                  <a:lnTo>
                    <a:pt x="511" y="586"/>
                  </a:lnTo>
                  <a:lnTo>
                    <a:pt x="515" y="589"/>
                  </a:lnTo>
                  <a:lnTo>
                    <a:pt x="522" y="590"/>
                  </a:lnTo>
                  <a:lnTo>
                    <a:pt x="650" y="590"/>
                  </a:lnTo>
                  <a:lnTo>
                    <a:pt x="650" y="590"/>
                  </a:lnTo>
                  <a:lnTo>
                    <a:pt x="657" y="589"/>
                  </a:lnTo>
                  <a:lnTo>
                    <a:pt x="661" y="586"/>
                  </a:lnTo>
                  <a:lnTo>
                    <a:pt x="665" y="581"/>
                  </a:lnTo>
                  <a:lnTo>
                    <a:pt x="666" y="574"/>
                  </a:lnTo>
                  <a:lnTo>
                    <a:pt x="666" y="446"/>
                  </a:lnTo>
                  <a:lnTo>
                    <a:pt x="666" y="446"/>
                  </a:lnTo>
                  <a:lnTo>
                    <a:pt x="665" y="441"/>
                  </a:lnTo>
                  <a:lnTo>
                    <a:pt x="661" y="435"/>
                  </a:lnTo>
                  <a:lnTo>
                    <a:pt x="657" y="431"/>
                  </a:lnTo>
                  <a:lnTo>
                    <a:pt x="650" y="431"/>
                  </a:lnTo>
                  <a:lnTo>
                    <a:pt x="650" y="431"/>
                  </a:lnTo>
                  <a:close/>
                  <a:moveTo>
                    <a:pt x="241" y="206"/>
                  </a:moveTo>
                  <a:lnTo>
                    <a:pt x="241" y="206"/>
                  </a:lnTo>
                  <a:lnTo>
                    <a:pt x="232" y="206"/>
                  </a:lnTo>
                  <a:lnTo>
                    <a:pt x="224" y="203"/>
                  </a:lnTo>
                  <a:lnTo>
                    <a:pt x="217" y="199"/>
                  </a:lnTo>
                  <a:lnTo>
                    <a:pt x="210" y="194"/>
                  </a:lnTo>
                  <a:lnTo>
                    <a:pt x="205" y="187"/>
                  </a:lnTo>
                  <a:lnTo>
                    <a:pt x="201" y="179"/>
                  </a:lnTo>
                  <a:lnTo>
                    <a:pt x="198" y="171"/>
                  </a:lnTo>
                  <a:lnTo>
                    <a:pt x="197" y="163"/>
                  </a:lnTo>
                  <a:lnTo>
                    <a:pt x="197" y="163"/>
                  </a:lnTo>
                  <a:lnTo>
                    <a:pt x="198" y="153"/>
                  </a:lnTo>
                  <a:lnTo>
                    <a:pt x="201" y="145"/>
                  </a:lnTo>
                  <a:lnTo>
                    <a:pt x="205" y="139"/>
                  </a:lnTo>
                  <a:lnTo>
                    <a:pt x="210" y="132"/>
                  </a:lnTo>
                  <a:lnTo>
                    <a:pt x="216" y="126"/>
                  </a:lnTo>
                  <a:lnTo>
                    <a:pt x="224" y="122"/>
                  </a:lnTo>
                  <a:lnTo>
                    <a:pt x="232" y="120"/>
                  </a:lnTo>
                  <a:lnTo>
                    <a:pt x="240" y="118"/>
                  </a:lnTo>
                  <a:lnTo>
                    <a:pt x="240" y="118"/>
                  </a:lnTo>
                  <a:lnTo>
                    <a:pt x="240" y="114"/>
                  </a:lnTo>
                  <a:lnTo>
                    <a:pt x="240" y="114"/>
                  </a:lnTo>
                  <a:lnTo>
                    <a:pt x="241" y="101"/>
                  </a:lnTo>
                  <a:lnTo>
                    <a:pt x="246" y="87"/>
                  </a:lnTo>
                  <a:lnTo>
                    <a:pt x="252" y="75"/>
                  </a:lnTo>
                  <a:lnTo>
                    <a:pt x="260" y="66"/>
                  </a:lnTo>
                  <a:lnTo>
                    <a:pt x="271" y="58"/>
                  </a:lnTo>
                  <a:lnTo>
                    <a:pt x="283" y="51"/>
                  </a:lnTo>
                  <a:lnTo>
                    <a:pt x="295" y="47"/>
                  </a:lnTo>
                  <a:lnTo>
                    <a:pt x="310" y="46"/>
                  </a:lnTo>
                  <a:lnTo>
                    <a:pt x="310" y="46"/>
                  </a:lnTo>
                  <a:lnTo>
                    <a:pt x="320" y="46"/>
                  </a:lnTo>
                  <a:lnTo>
                    <a:pt x="330" y="48"/>
                  </a:lnTo>
                  <a:lnTo>
                    <a:pt x="340" y="52"/>
                  </a:lnTo>
                  <a:lnTo>
                    <a:pt x="348" y="58"/>
                  </a:lnTo>
                  <a:lnTo>
                    <a:pt x="356" y="63"/>
                  </a:lnTo>
                  <a:lnTo>
                    <a:pt x="363" y="71"/>
                  </a:lnTo>
                  <a:lnTo>
                    <a:pt x="368" y="79"/>
                  </a:lnTo>
                  <a:lnTo>
                    <a:pt x="374" y="87"/>
                  </a:lnTo>
                  <a:lnTo>
                    <a:pt x="374" y="87"/>
                  </a:lnTo>
                  <a:lnTo>
                    <a:pt x="382" y="85"/>
                  </a:lnTo>
                  <a:lnTo>
                    <a:pt x="390" y="83"/>
                  </a:lnTo>
                  <a:lnTo>
                    <a:pt x="390" y="83"/>
                  </a:lnTo>
                  <a:lnTo>
                    <a:pt x="398" y="85"/>
                  </a:lnTo>
                  <a:lnTo>
                    <a:pt x="403" y="86"/>
                  </a:lnTo>
                  <a:lnTo>
                    <a:pt x="410" y="90"/>
                  </a:lnTo>
                  <a:lnTo>
                    <a:pt x="415" y="94"/>
                  </a:lnTo>
                  <a:lnTo>
                    <a:pt x="419" y="99"/>
                  </a:lnTo>
                  <a:lnTo>
                    <a:pt x="422" y="105"/>
                  </a:lnTo>
                  <a:lnTo>
                    <a:pt x="425" y="112"/>
                  </a:lnTo>
                  <a:lnTo>
                    <a:pt x="425" y="118"/>
                  </a:lnTo>
                  <a:lnTo>
                    <a:pt x="425" y="118"/>
                  </a:lnTo>
                  <a:lnTo>
                    <a:pt x="425" y="118"/>
                  </a:lnTo>
                  <a:lnTo>
                    <a:pt x="434" y="120"/>
                  </a:lnTo>
                  <a:lnTo>
                    <a:pt x="442" y="122"/>
                  </a:lnTo>
                  <a:lnTo>
                    <a:pt x="449" y="126"/>
                  </a:lnTo>
                  <a:lnTo>
                    <a:pt x="456" y="132"/>
                  </a:lnTo>
                  <a:lnTo>
                    <a:pt x="461" y="139"/>
                  </a:lnTo>
                  <a:lnTo>
                    <a:pt x="465" y="145"/>
                  </a:lnTo>
                  <a:lnTo>
                    <a:pt x="468" y="153"/>
                  </a:lnTo>
                  <a:lnTo>
                    <a:pt x="468" y="163"/>
                  </a:lnTo>
                  <a:lnTo>
                    <a:pt x="468" y="163"/>
                  </a:lnTo>
                  <a:lnTo>
                    <a:pt x="468" y="171"/>
                  </a:lnTo>
                  <a:lnTo>
                    <a:pt x="465" y="179"/>
                  </a:lnTo>
                  <a:lnTo>
                    <a:pt x="461" y="187"/>
                  </a:lnTo>
                  <a:lnTo>
                    <a:pt x="456" y="194"/>
                  </a:lnTo>
                  <a:lnTo>
                    <a:pt x="449" y="199"/>
                  </a:lnTo>
                  <a:lnTo>
                    <a:pt x="442" y="203"/>
                  </a:lnTo>
                  <a:lnTo>
                    <a:pt x="433" y="206"/>
                  </a:lnTo>
                  <a:lnTo>
                    <a:pt x="425" y="206"/>
                  </a:lnTo>
                  <a:lnTo>
                    <a:pt x="241" y="206"/>
                  </a:lnTo>
                  <a:close/>
                </a:path>
              </a:pathLst>
            </a:custGeom>
            <a:solidFill>
              <a:schemeClr val="bg1">
                <a:lumMod val="85000"/>
                <a:alpha val="3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3" fontAlgn="auto">
                <a:spcBef>
                  <a:spcPts val="0"/>
                </a:spcBef>
                <a:spcAft>
                  <a:spcPts val="0"/>
                </a:spcAft>
              </a:pPr>
              <a:endParaRPr lang="en-US" sz="700" dirty="0">
                <a:solidFill>
                  <a:srgbClr val="BF0E11"/>
                </a:solidFill>
                <a:latin typeface="Arial"/>
                <a:cs typeface="Arial" panose="020B0604020202020204" pitchFamily="34" charset="0"/>
              </a:endParaRPr>
            </a:p>
          </p:txBody>
        </p:sp>
        <p:grpSp>
          <p:nvGrpSpPr>
            <p:cNvPr id="44" name="Group 43"/>
            <p:cNvGrpSpPr>
              <a:grpSpLocks noChangeAspect="1"/>
            </p:cNvGrpSpPr>
            <p:nvPr userDrawn="1"/>
          </p:nvGrpSpPr>
          <p:grpSpPr>
            <a:xfrm>
              <a:off x="3490871" y="3261423"/>
              <a:ext cx="182880" cy="217529"/>
              <a:chOff x="3610092" y="905368"/>
              <a:chExt cx="240140" cy="285637"/>
            </a:xfrm>
            <a:solidFill>
              <a:schemeClr val="bg1">
                <a:lumMod val="85000"/>
                <a:alpha val="30000"/>
              </a:schemeClr>
            </a:solidFill>
          </p:grpSpPr>
          <p:sp>
            <p:nvSpPr>
              <p:cNvPr id="45" name="Freeform 15"/>
              <p:cNvSpPr>
                <a:spLocks noChangeAspect="1" noEditPoints="1"/>
              </p:cNvSpPr>
              <p:nvPr/>
            </p:nvSpPr>
            <p:spPr bwMode="auto">
              <a:xfrm>
                <a:off x="3634568" y="940237"/>
                <a:ext cx="190958" cy="223061"/>
              </a:xfrm>
              <a:custGeom>
                <a:avLst/>
                <a:gdLst/>
                <a:ahLst/>
                <a:cxnLst>
                  <a:cxn ang="0">
                    <a:pos x="321" y="59"/>
                  </a:cxn>
                  <a:cxn ang="0">
                    <a:pos x="176" y="0"/>
                  </a:cxn>
                  <a:cxn ang="0">
                    <a:pos x="31" y="59"/>
                  </a:cxn>
                  <a:cxn ang="0">
                    <a:pos x="0" y="57"/>
                  </a:cxn>
                  <a:cxn ang="0">
                    <a:pos x="5" y="92"/>
                  </a:cxn>
                  <a:cxn ang="0">
                    <a:pos x="24" y="199"/>
                  </a:cxn>
                  <a:cxn ang="0">
                    <a:pos x="81" y="328"/>
                  </a:cxn>
                  <a:cxn ang="0">
                    <a:pos x="130" y="239"/>
                  </a:cxn>
                  <a:cxn ang="0">
                    <a:pos x="139" y="244"/>
                  </a:cxn>
                  <a:cxn ang="0">
                    <a:pos x="150" y="223"/>
                  </a:cxn>
                  <a:cxn ang="0">
                    <a:pos x="126" y="115"/>
                  </a:cxn>
                  <a:cxn ang="0">
                    <a:pos x="241" y="80"/>
                  </a:cxn>
                  <a:cxn ang="0">
                    <a:pos x="276" y="195"/>
                  </a:cxn>
                  <a:cxn ang="0">
                    <a:pos x="174" y="236"/>
                  </a:cxn>
                  <a:cxn ang="0">
                    <a:pos x="162" y="257"/>
                  </a:cxn>
                  <a:cxn ang="0">
                    <a:pos x="172" y="263"/>
                  </a:cxn>
                  <a:cxn ang="0">
                    <a:pos x="116" y="368"/>
                  </a:cxn>
                  <a:cxn ang="0">
                    <a:pos x="176" y="409"/>
                  </a:cxn>
                  <a:cxn ang="0">
                    <a:pos x="348" y="92"/>
                  </a:cxn>
                  <a:cxn ang="0">
                    <a:pos x="350" y="57"/>
                  </a:cxn>
                  <a:cxn ang="0">
                    <a:pos x="321" y="59"/>
                  </a:cxn>
                  <a:cxn ang="0">
                    <a:pos x="255" y="184"/>
                  </a:cxn>
                  <a:cxn ang="0">
                    <a:pos x="229" y="102"/>
                  </a:cxn>
                  <a:cxn ang="0">
                    <a:pos x="148" y="127"/>
                  </a:cxn>
                  <a:cxn ang="0">
                    <a:pos x="172" y="209"/>
                  </a:cxn>
                  <a:cxn ang="0">
                    <a:pos x="255" y="184"/>
                  </a:cxn>
                  <a:cxn ang="0">
                    <a:pos x="158" y="149"/>
                  </a:cxn>
                  <a:cxn ang="0">
                    <a:pos x="158" y="149"/>
                  </a:cxn>
                  <a:cxn ang="0">
                    <a:pos x="153" y="153"/>
                  </a:cxn>
                  <a:cxn ang="0">
                    <a:pos x="149" y="147"/>
                  </a:cxn>
                  <a:cxn ang="0">
                    <a:pos x="217" y="106"/>
                  </a:cxn>
                  <a:cxn ang="0">
                    <a:pos x="220" y="111"/>
                  </a:cxn>
                  <a:cxn ang="0">
                    <a:pos x="216" y="114"/>
                  </a:cxn>
                  <a:cxn ang="0">
                    <a:pos x="158" y="149"/>
                  </a:cxn>
                </a:cxnLst>
                <a:rect l="0" t="0" r="r" b="b"/>
                <a:pathLst>
                  <a:path w="350" h="409">
                    <a:moveTo>
                      <a:pt x="321" y="59"/>
                    </a:moveTo>
                    <a:cubicBezTo>
                      <a:pt x="238" y="59"/>
                      <a:pt x="194" y="19"/>
                      <a:pt x="176" y="0"/>
                    </a:cubicBezTo>
                    <a:cubicBezTo>
                      <a:pt x="159" y="19"/>
                      <a:pt x="112" y="59"/>
                      <a:pt x="31" y="59"/>
                    </a:cubicBezTo>
                    <a:cubicBezTo>
                      <a:pt x="20" y="59"/>
                      <a:pt x="11" y="57"/>
                      <a:pt x="0" y="57"/>
                    </a:cubicBezTo>
                    <a:cubicBezTo>
                      <a:pt x="2" y="65"/>
                      <a:pt x="2" y="76"/>
                      <a:pt x="5" y="92"/>
                    </a:cubicBezTo>
                    <a:cubicBezTo>
                      <a:pt x="7" y="120"/>
                      <a:pt x="11" y="159"/>
                      <a:pt x="24" y="199"/>
                    </a:cubicBezTo>
                    <a:cubicBezTo>
                      <a:pt x="36" y="243"/>
                      <a:pt x="54" y="289"/>
                      <a:pt x="81" y="328"/>
                    </a:cubicBezTo>
                    <a:cubicBezTo>
                      <a:pt x="85" y="321"/>
                      <a:pt x="96" y="300"/>
                      <a:pt x="130" y="239"/>
                    </a:cubicBezTo>
                    <a:cubicBezTo>
                      <a:pt x="139" y="244"/>
                      <a:pt x="139" y="244"/>
                      <a:pt x="139" y="244"/>
                    </a:cubicBezTo>
                    <a:cubicBezTo>
                      <a:pt x="150" y="223"/>
                      <a:pt x="150" y="223"/>
                      <a:pt x="150" y="223"/>
                    </a:cubicBezTo>
                    <a:cubicBezTo>
                      <a:pt x="117" y="199"/>
                      <a:pt x="106" y="153"/>
                      <a:pt x="126" y="115"/>
                    </a:cubicBezTo>
                    <a:cubicBezTo>
                      <a:pt x="148" y="74"/>
                      <a:pt x="199" y="58"/>
                      <a:pt x="241" y="80"/>
                    </a:cubicBezTo>
                    <a:cubicBezTo>
                      <a:pt x="282" y="102"/>
                      <a:pt x="298" y="154"/>
                      <a:pt x="276" y="195"/>
                    </a:cubicBezTo>
                    <a:cubicBezTo>
                      <a:pt x="256" y="232"/>
                      <a:pt x="213" y="248"/>
                      <a:pt x="174" y="236"/>
                    </a:cubicBezTo>
                    <a:cubicBezTo>
                      <a:pt x="162" y="257"/>
                      <a:pt x="162" y="257"/>
                      <a:pt x="162" y="257"/>
                    </a:cubicBezTo>
                    <a:cubicBezTo>
                      <a:pt x="172" y="263"/>
                      <a:pt x="172" y="263"/>
                      <a:pt x="172" y="263"/>
                    </a:cubicBezTo>
                    <a:cubicBezTo>
                      <a:pt x="172" y="263"/>
                      <a:pt x="163" y="281"/>
                      <a:pt x="116" y="368"/>
                    </a:cubicBezTo>
                    <a:cubicBezTo>
                      <a:pt x="133" y="384"/>
                      <a:pt x="153" y="398"/>
                      <a:pt x="176" y="409"/>
                    </a:cubicBezTo>
                    <a:cubicBezTo>
                      <a:pt x="304" y="350"/>
                      <a:pt x="339" y="177"/>
                      <a:pt x="348" y="92"/>
                    </a:cubicBezTo>
                    <a:cubicBezTo>
                      <a:pt x="350" y="76"/>
                      <a:pt x="350" y="65"/>
                      <a:pt x="350" y="57"/>
                    </a:cubicBezTo>
                    <a:cubicBezTo>
                      <a:pt x="339" y="57"/>
                      <a:pt x="330" y="59"/>
                      <a:pt x="321" y="59"/>
                    </a:cubicBezTo>
                    <a:close/>
                    <a:moveTo>
                      <a:pt x="255" y="184"/>
                    </a:moveTo>
                    <a:cubicBezTo>
                      <a:pt x="270" y="155"/>
                      <a:pt x="259" y="118"/>
                      <a:pt x="229" y="102"/>
                    </a:cubicBezTo>
                    <a:cubicBezTo>
                      <a:pt x="200" y="87"/>
                      <a:pt x="163" y="98"/>
                      <a:pt x="148" y="127"/>
                    </a:cubicBezTo>
                    <a:cubicBezTo>
                      <a:pt x="132" y="156"/>
                      <a:pt x="143" y="194"/>
                      <a:pt x="172" y="209"/>
                    </a:cubicBezTo>
                    <a:cubicBezTo>
                      <a:pt x="202" y="225"/>
                      <a:pt x="239" y="213"/>
                      <a:pt x="255" y="184"/>
                    </a:cubicBezTo>
                    <a:close/>
                    <a:moveTo>
                      <a:pt x="158" y="149"/>
                    </a:moveTo>
                    <a:cubicBezTo>
                      <a:pt x="158" y="149"/>
                      <a:pt x="158" y="149"/>
                      <a:pt x="158" y="149"/>
                    </a:cubicBezTo>
                    <a:cubicBezTo>
                      <a:pt x="157" y="151"/>
                      <a:pt x="155" y="153"/>
                      <a:pt x="153" y="153"/>
                    </a:cubicBezTo>
                    <a:cubicBezTo>
                      <a:pt x="150" y="152"/>
                      <a:pt x="149" y="149"/>
                      <a:pt x="149" y="147"/>
                    </a:cubicBezTo>
                    <a:cubicBezTo>
                      <a:pt x="158" y="119"/>
                      <a:pt x="187" y="100"/>
                      <a:pt x="217" y="106"/>
                    </a:cubicBezTo>
                    <a:cubicBezTo>
                      <a:pt x="220" y="106"/>
                      <a:pt x="221" y="109"/>
                      <a:pt x="220" y="111"/>
                    </a:cubicBezTo>
                    <a:cubicBezTo>
                      <a:pt x="220" y="114"/>
                      <a:pt x="218" y="115"/>
                      <a:pt x="216" y="114"/>
                    </a:cubicBezTo>
                    <a:cubicBezTo>
                      <a:pt x="190" y="111"/>
                      <a:pt x="166" y="125"/>
                      <a:pt x="158" y="149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0096D6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46" name="Freeform 14"/>
              <p:cNvSpPr>
                <a:spLocks noChangeAspect="1" noEditPoints="1"/>
              </p:cNvSpPr>
              <p:nvPr/>
            </p:nvSpPr>
            <p:spPr bwMode="auto">
              <a:xfrm>
                <a:off x="3610092" y="905368"/>
                <a:ext cx="240140" cy="285637"/>
              </a:xfrm>
              <a:custGeom>
                <a:avLst/>
                <a:gdLst/>
                <a:ahLst/>
                <a:cxnLst>
                  <a:cxn ang="0">
                    <a:pos x="428" y="77"/>
                  </a:cxn>
                  <a:cxn ang="0">
                    <a:pos x="385" y="79"/>
                  </a:cxn>
                  <a:cxn ang="0">
                    <a:pos x="264" y="47"/>
                  </a:cxn>
                  <a:cxn ang="0">
                    <a:pos x="239" y="25"/>
                  </a:cxn>
                  <a:cxn ang="0">
                    <a:pos x="231" y="18"/>
                  </a:cxn>
                  <a:cxn ang="0">
                    <a:pos x="231" y="15"/>
                  </a:cxn>
                  <a:cxn ang="0">
                    <a:pos x="221" y="0"/>
                  </a:cxn>
                  <a:cxn ang="0">
                    <a:pos x="212" y="15"/>
                  </a:cxn>
                  <a:cxn ang="0">
                    <a:pos x="209" y="18"/>
                  </a:cxn>
                  <a:cxn ang="0">
                    <a:pos x="57" y="79"/>
                  </a:cxn>
                  <a:cxn ang="0">
                    <a:pos x="13" y="77"/>
                  </a:cxn>
                  <a:cxn ang="0">
                    <a:pos x="0" y="77"/>
                  </a:cxn>
                  <a:cxn ang="0">
                    <a:pos x="0" y="89"/>
                  </a:cxn>
                  <a:cxn ang="0">
                    <a:pos x="28" y="269"/>
                  </a:cxn>
                  <a:cxn ang="0">
                    <a:pos x="217" y="524"/>
                  </a:cxn>
                  <a:cxn ang="0">
                    <a:pos x="221" y="524"/>
                  </a:cxn>
                  <a:cxn ang="0">
                    <a:pos x="226" y="524"/>
                  </a:cxn>
                  <a:cxn ang="0">
                    <a:pos x="415" y="269"/>
                  </a:cxn>
                  <a:cxn ang="0">
                    <a:pos x="440" y="89"/>
                  </a:cxn>
                  <a:cxn ang="0">
                    <a:pos x="440" y="77"/>
                  </a:cxn>
                  <a:cxn ang="0">
                    <a:pos x="428" y="77"/>
                  </a:cxn>
                  <a:cxn ang="0">
                    <a:pos x="415" y="141"/>
                  </a:cxn>
                  <a:cxn ang="0">
                    <a:pos x="221" y="499"/>
                  </a:cxn>
                  <a:cxn ang="0">
                    <a:pos x="50" y="262"/>
                  </a:cxn>
                  <a:cxn ang="0">
                    <a:pos x="28" y="141"/>
                  </a:cxn>
                  <a:cxn ang="0">
                    <a:pos x="23" y="101"/>
                  </a:cxn>
                  <a:cxn ang="0">
                    <a:pos x="57" y="104"/>
                  </a:cxn>
                  <a:cxn ang="0">
                    <a:pos x="221" y="37"/>
                  </a:cxn>
                  <a:cxn ang="0">
                    <a:pos x="385" y="104"/>
                  </a:cxn>
                  <a:cxn ang="0">
                    <a:pos x="418" y="101"/>
                  </a:cxn>
                  <a:cxn ang="0">
                    <a:pos x="415" y="141"/>
                  </a:cxn>
                </a:cxnLst>
                <a:rect l="0" t="0" r="r" b="b"/>
                <a:pathLst>
                  <a:path w="440" h="524">
                    <a:moveTo>
                      <a:pt x="428" y="77"/>
                    </a:moveTo>
                    <a:cubicBezTo>
                      <a:pt x="413" y="79"/>
                      <a:pt x="398" y="79"/>
                      <a:pt x="385" y="79"/>
                    </a:cubicBezTo>
                    <a:cubicBezTo>
                      <a:pt x="328" y="79"/>
                      <a:pt x="289" y="65"/>
                      <a:pt x="264" y="47"/>
                    </a:cubicBezTo>
                    <a:cubicBezTo>
                      <a:pt x="251" y="37"/>
                      <a:pt x="244" y="30"/>
                      <a:pt x="239" y="25"/>
                    </a:cubicBezTo>
                    <a:cubicBezTo>
                      <a:pt x="236" y="20"/>
                      <a:pt x="234" y="18"/>
                      <a:pt x="231" y="18"/>
                    </a:cubicBezTo>
                    <a:cubicBezTo>
                      <a:pt x="231" y="15"/>
                      <a:pt x="231" y="15"/>
                      <a:pt x="231" y="15"/>
                    </a:cubicBezTo>
                    <a:cubicBezTo>
                      <a:pt x="221" y="0"/>
                      <a:pt x="221" y="0"/>
                      <a:pt x="221" y="0"/>
                    </a:cubicBezTo>
                    <a:cubicBezTo>
                      <a:pt x="212" y="15"/>
                      <a:pt x="212" y="15"/>
                      <a:pt x="212" y="15"/>
                    </a:cubicBezTo>
                    <a:cubicBezTo>
                      <a:pt x="212" y="15"/>
                      <a:pt x="212" y="15"/>
                      <a:pt x="209" y="18"/>
                    </a:cubicBezTo>
                    <a:cubicBezTo>
                      <a:pt x="199" y="27"/>
                      <a:pt x="157" y="79"/>
                      <a:pt x="57" y="79"/>
                    </a:cubicBezTo>
                    <a:cubicBezTo>
                      <a:pt x="43" y="79"/>
                      <a:pt x="28" y="79"/>
                      <a:pt x="13" y="77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0" y="89"/>
                      <a:pt x="0" y="173"/>
                      <a:pt x="28" y="269"/>
                    </a:cubicBezTo>
                    <a:cubicBezTo>
                      <a:pt x="52" y="366"/>
                      <a:pt x="107" y="474"/>
                      <a:pt x="217" y="524"/>
                    </a:cubicBezTo>
                    <a:cubicBezTo>
                      <a:pt x="221" y="524"/>
                      <a:pt x="221" y="524"/>
                      <a:pt x="221" y="524"/>
                    </a:cubicBezTo>
                    <a:cubicBezTo>
                      <a:pt x="226" y="524"/>
                      <a:pt x="226" y="524"/>
                      <a:pt x="226" y="524"/>
                    </a:cubicBezTo>
                    <a:cubicBezTo>
                      <a:pt x="336" y="474"/>
                      <a:pt x="388" y="366"/>
                      <a:pt x="415" y="269"/>
                    </a:cubicBezTo>
                    <a:cubicBezTo>
                      <a:pt x="440" y="173"/>
                      <a:pt x="440" y="89"/>
                      <a:pt x="440" y="89"/>
                    </a:cubicBezTo>
                    <a:cubicBezTo>
                      <a:pt x="440" y="77"/>
                      <a:pt x="440" y="77"/>
                      <a:pt x="440" y="77"/>
                    </a:cubicBezTo>
                    <a:lnTo>
                      <a:pt x="428" y="77"/>
                    </a:lnTo>
                    <a:close/>
                    <a:moveTo>
                      <a:pt x="415" y="141"/>
                    </a:moveTo>
                    <a:cubicBezTo>
                      <a:pt x="405" y="237"/>
                      <a:pt x="365" y="432"/>
                      <a:pt x="221" y="499"/>
                    </a:cubicBezTo>
                    <a:cubicBezTo>
                      <a:pt x="125" y="455"/>
                      <a:pt x="75" y="356"/>
                      <a:pt x="50" y="262"/>
                    </a:cubicBezTo>
                    <a:cubicBezTo>
                      <a:pt x="35" y="218"/>
                      <a:pt x="30" y="173"/>
                      <a:pt x="28" y="141"/>
                    </a:cubicBezTo>
                    <a:cubicBezTo>
                      <a:pt x="25" y="124"/>
                      <a:pt x="25" y="111"/>
                      <a:pt x="23" y="101"/>
                    </a:cubicBezTo>
                    <a:cubicBezTo>
                      <a:pt x="35" y="101"/>
                      <a:pt x="45" y="104"/>
                      <a:pt x="57" y="104"/>
                    </a:cubicBezTo>
                    <a:cubicBezTo>
                      <a:pt x="149" y="104"/>
                      <a:pt x="202" y="60"/>
                      <a:pt x="221" y="37"/>
                    </a:cubicBezTo>
                    <a:cubicBezTo>
                      <a:pt x="241" y="60"/>
                      <a:pt x="291" y="104"/>
                      <a:pt x="385" y="104"/>
                    </a:cubicBezTo>
                    <a:cubicBezTo>
                      <a:pt x="395" y="104"/>
                      <a:pt x="405" y="101"/>
                      <a:pt x="418" y="101"/>
                    </a:cubicBezTo>
                    <a:cubicBezTo>
                      <a:pt x="418" y="111"/>
                      <a:pt x="418" y="124"/>
                      <a:pt x="415" y="14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0096D6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7" name="Group 46"/>
            <p:cNvGrpSpPr>
              <a:grpSpLocks noChangeAspect="1"/>
            </p:cNvGrpSpPr>
            <p:nvPr userDrawn="1"/>
          </p:nvGrpSpPr>
          <p:grpSpPr>
            <a:xfrm>
              <a:off x="7179078" y="3273493"/>
              <a:ext cx="164592" cy="162777"/>
              <a:chOff x="4691826" y="941215"/>
              <a:chExt cx="232883" cy="230314"/>
            </a:xfrm>
          </p:grpSpPr>
          <p:sp>
            <p:nvSpPr>
              <p:cNvPr id="48" name="Freeform 31"/>
              <p:cNvSpPr>
                <a:spLocks noEditPoints="1"/>
              </p:cNvSpPr>
              <p:nvPr/>
            </p:nvSpPr>
            <p:spPr bwMode="auto">
              <a:xfrm>
                <a:off x="4691826" y="941215"/>
                <a:ext cx="101751" cy="230314"/>
              </a:xfrm>
              <a:custGeom>
                <a:avLst/>
                <a:gdLst>
                  <a:gd name="T0" fmla="*/ 145 w 156"/>
                  <a:gd name="T1" fmla="*/ 0 h 228"/>
                  <a:gd name="T2" fmla="*/ 11 w 156"/>
                  <a:gd name="T3" fmla="*/ 0 h 228"/>
                  <a:gd name="T4" fmla="*/ 0 w 156"/>
                  <a:gd name="T5" fmla="*/ 11 h 228"/>
                  <a:gd name="T6" fmla="*/ 0 w 156"/>
                  <a:gd name="T7" fmla="*/ 218 h 228"/>
                  <a:gd name="T8" fmla="*/ 11 w 156"/>
                  <a:gd name="T9" fmla="*/ 228 h 228"/>
                  <a:gd name="T10" fmla="*/ 145 w 156"/>
                  <a:gd name="T11" fmla="*/ 228 h 228"/>
                  <a:gd name="T12" fmla="*/ 156 w 156"/>
                  <a:gd name="T13" fmla="*/ 218 h 228"/>
                  <a:gd name="T14" fmla="*/ 156 w 156"/>
                  <a:gd name="T15" fmla="*/ 11 h 228"/>
                  <a:gd name="T16" fmla="*/ 145 w 156"/>
                  <a:gd name="T17" fmla="*/ 0 h 228"/>
                  <a:gd name="T18" fmla="*/ 146 w 156"/>
                  <a:gd name="T19" fmla="*/ 135 h 228"/>
                  <a:gd name="T20" fmla="*/ 146 w 156"/>
                  <a:gd name="T21" fmla="*/ 137 h 228"/>
                  <a:gd name="T22" fmla="*/ 10 w 156"/>
                  <a:gd name="T23" fmla="*/ 137 h 228"/>
                  <a:gd name="T24" fmla="*/ 10 w 156"/>
                  <a:gd name="T25" fmla="*/ 135 h 228"/>
                  <a:gd name="T26" fmla="*/ 95 w 156"/>
                  <a:gd name="T27" fmla="*/ 135 h 228"/>
                  <a:gd name="T28" fmla="*/ 95 w 156"/>
                  <a:gd name="T29" fmla="*/ 130 h 228"/>
                  <a:gd name="T30" fmla="*/ 146 w 156"/>
                  <a:gd name="T31" fmla="*/ 130 h 228"/>
                  <a:gd name="T32" fmla="*/ 146 w 156"/>
                  <a:gd name="T33" fmla="*/ 135 h 228"/>
                  <a:gd name="T34" fmla="*/ 146 w 156"/>
                  <a:gd name="T35" fmla="*/ 103 h 228"/>
                  <a:gd name="T36" fmla="*/ 146 w 156"/>
                  <a:gd name="T37" fmla="*/ 105 h 228"/>
                  <a:gd name="T38" fmla="*/ 10 w 156"/>
                  <a:gd name="T39" fmla="*/ 105 h 228"/>
                  <a:gd name="T40" fmla="*/ 10 w 156"/>
                  <a:gd name="T41" fmla="*/ 103 h 228"/>
                  <a:gd name="T42" fmla="*/ 95 w 156"/>
                  <a:gd name="T43" fmla="*/ 103 h 228"/>
                  <a:gd name="T44" fmla="*/ 95 w 156"/>
                  <a:gd name="T45" fmla="*/ 98 h 228"/>
                  <a:gd name="T46" fmla="*/ 146 w 156"/>
                  <a:gd name="T47" fmla="*/ 98 h 228"/>
                  <a:gd name="T48" fmla="*/ 146 w 156"/>
                  <a:gd name="T49" fmla="*/ 103 h 228"/>
                  <a:gd name="T50" fmla="*/ 146 w 156"/>
                  <a:gd name="T51" fmla="*/ 72 h 228"/>
                  <a:gd name="T52" fmla="*/ 146 w 156"/>
                  <a:gd name="T53" fmla="*/ 73 h 228"/>
                  <a:gd name="T54" fmla="*/ 10 w 156"/>
                  <a:gd name="T55" fmla="*/ 73 h 228"/>
                  <a:gd name="T56" fmla="*/ 10 w 156"/>
                  <a:gd name="T57" fmla="*/ 72 h 228"/>
                  <a:gd name="T58" fmla="*/ 95 w 156"/>
                  <a:gd name="T59" fmla="*/ 72 h 228"/>
                  <a:gd name="T60" fmla="*/ 95 w 156"/>
                  <a:gd name="T61" fmla="*/ 67 h 228"/>
                  <a:gd name="T62" fmla="*/ 146 w 156"/>
                  <a:gd name="T63" fmla="*/ 67 h 228"/>
                  <a:gd name="T64" fmla="*/ 146 w 156"/>
                  <a:gd name="T65" fmla="*/ 72 h 228"/>
                  <a:gd name="T66" fmla="*/ 146 w 156"/>
                  <a:gd name="T67" fmla="*/ 40 h 228"/>
                  <a:gd name="T68" fmla="*/ 146 w 156"/>
                  <a:gd name="T69" fmla="*/ 42 h 228"/>
                  <a:gd name="T70" fmla="*/ 10 w 156"/>
                  <a:gd name="T71" fmla="*/ 42 h 228"/>
                  <a:gd name="T72" fmla="*/ 10 w 156"/>
                  <a:gd name="T73" fmla="*/ 40 h 228"/>
                  <a:gd name="T74" fmla="*/ 95 w 156"/>
                  <a:gd name="T75" fmla="*/ 40 h 228"/>
                  <a:gd name="T76" fmla="*/ 95 w 156"/>
                  <a:gd name="T77" fmla="*/ 35 h 228"/>
                  <a:gd name="T78" fmla="*/ 146 w 156"/>
                  <a:gd name="T79" fmla="*/ 35 h 228"/>
                  <a:gd name="T80" fmla="*/ 146 w 156"/>
                  <a:gd name="T81" fmla="*/ 40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56" h="228">
                    <a:moveTo>
                      <a:pt x="145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218"/>
                      <a:pt x="0" y="218"/>
                      <a:pt x="0" y="218"/>
                    </a:cubicBezTo>
                    <a:cubicBezTo>
                      <a:pt x="0" y="224"/>
                      <a:pt x="5" y="228"/>
                      <a:pt x="11" y="228"/>
                    </a:cubicBezTo>
                    <a:cubicBezTo>
                      <a:pt x="145" y="228"/>
                      <a:pt x="145" y="228"/>
                      <a:pt x="145" y="228"/>
                    </a:cubicBezTo>
                    <a:cubicBezTo>
                      <a:pt x="151" y="228"/>
                      <a:pt x="156" y="224"/>
                      <a:pt x="156" y="218"/>
                    </a:cubicBezTo>
                    <a:cubicBezTo>
                      <a:pt x="156" y="11"/>
                      <a:pt x="156" y="11"/>
                      <a:pt x="156" y="11"/>
                    </a:cubicBezTo>
                    <a:cubicBezTo>
                      <a:pt x="156" y="5"/>
                      <a:pt x="151" y="0"/>
                      <a:pt x="145" y="0"/>
                    </a:cubicBezTo>
                    <a:close/>
                    <a:moveTo>
                      <a:pt x="146" y="135"/>
                    </a:moveTo>
                    <a:cubicBezTo>
                      <a:pt x="146" y="137"/>
                      <a:pt x="146" y="137"/>
                      <a:pt x="146" y="137"/>
                    </a:cubicBezTo>
                    <a:cubicBezTo>
                      <a:pt x="10" y="137"/>
                      <a:pt x="10" y="137"/>
                      <a:pt x="10" y="137"/>
                    </a:cubicBezTo>
                    <a:cubicBezTo>
                      <a:pt x="10" y="135"/>
                      <a:pt x="10" y="135"/>
                      <a:pt x="10" y="135"/>
                    </a:cubicBezTo>
                    <a:cubicBezTo>
                      <a:pt x="95" y="135"/>
                      <a:pt x="95" y="135"/>
                      <a:pt x="95" y="135"/>
                    </a:cubicBezTo>
                    <a:cubicBezTo>
                      <a:pt x="95" y="130"/>
                      <a:pt x="95" y="130"/>
                      <a:pt x="95" y="130"/>
                    </a:cubicBezTo>
                    <a:cubicBezTo>
                      <a:pt x="146" y="130"/>
                      <a:pt x="146" y="130"/>
                      <a:pt x="146" y="130"/>
                    </a:cubicBezTo>
                    <a:lnTo>
                      <a:pt x="146" y="135"/>
                    </a:lnTo>
                    <a:close/>
                    <a:moveTo>
                      <a:pt x="146" y="103"/>
                    </a:moveTo>
                    <a:cubicBezTo>
                      <a:pt x="146" y="105"/>
                      <a:pt x="146" y="105"/>
                      <a:pt x="146" y="105"/>
                    </a:cubicBezTo>
                    <a:cubicBezTo>
                      <a:pt x="10" y="105"/>
                      <a:pt x="10" y="105"/>
                      <a:pt x="10" y="105"/>
                    </a:cubicBezTo>
                    <a:cubicBezTo>
                      <a:pt x="10" y="103"/>
                      <a:pt x="10" y="103"/>
                      <a:pt x="10" y="103"/>
                    </a:cubicBezTo>
                    <a:cubicBezTo>
                      <a:pt x="95" y="103"/>
                      <a:pt x="95" y="103"/>
                      <a:pt x="95" y="103"/>
                    </a:cubicBezTo>
                    <a:cubicBezTo>
                      <a:pt x="95" y="98"/>
                      <a:pt x="95" y="98"/>
                      <a:pt x="95" y="98"/>
                    </a:cubicBezTo>
                    <a:cubicBezTo>
                      <a:pt x="146" y="98"/>
                      <a:pt x="146" y="98"/>
                      <a:pt x="146" y="98"/>
                    </a:cubicBezTo>
                    <a:lnTo>
                      <a:pt x="146" y="103"/>
                    </a:lnTo>
                    <a:close/>
                    <a:moveTo>
                      <a:pt x="146" y="72"/>
                    </a:moveTo>
                    <a:cubicBezTo>
                      <a:pt x="146" y="73"/>
                      <a:pt x="146" y="73"/>
                      <a:pt x="146" y="73"/>
                    </a:cubicBezTo>
                    <a:cubicBezTo>
                      <a:pt x="10" y="73"/>
                      <a:pt x="10" y="73"/>
                      <a:pt x="10" y="73"/>
                    </a:cubicBezTo>
                    <a:cubicBezTo>
                      <a:pt x="10" y="72"/>
                      <a:pt x="10" y="72"/>
                      <a:pt x="10" y="72"/>
                    </a:cubicBezTo>
                    <a:cubicBezTo>
                      <a:pt x="95" y="72"/>
                      <a:pt x="95" y="72"/>
                      <a:pt x="95" y="72"/>
                    </a:cubicBezTo>
                    <a:cubicBezTo>
                      <a:pt x="95" y="67"/>
                      <a:pt x="95" y="67"/>
                      <a:pt x="95" y="67"/>
                    </a:cubicBezTo>
                    <a:cubicBezTo>
                      <a:pt x="146" y="67"/>
                      <a:pt x="146" y="67"/>
                      <a:pt x="146" y="67"/>
                    </a:cubicBezTo>
                    <a:lnTo>
                      <a:pt x="146" y="72"/>
                    </a:lnTo>
                    <a:close/>
                    <a:moveTo>
                      <a:pt x="146" y="40"/>
                    </a:moveTo>
                    <a:cubicBezTo>
                      <a:pt x="146" y="42"/>
                      <a:pt x="146" y="42"/>
                      <a:pt x="146" y="42"/>
                    </a:cubicBezTo>
                    <a:cubicBezTo>
                      <a:pt x="10" y="42"/>
                      <a:pt x="10" y="42"/>
                      <a:pt x="10" y="42"/>
                    </a:cubicBezTo>
                    <a:cubicBezTo>
                      <a:pt x="10" y="40"/>
                      <a:pt x="10" y="40"/>
                      <a:pt x="10" y="40"/>
                    </a:cubicBezTo>
                    <a:cubicBezTo>
                      <a:pt x="95" y="40"/>
                      <a:pt x="95" y="40"/>
                      <a:pt x="95" y="40"/>
                    </a:cubicBezTo>
                    <a:cubicBezTo>
                      <a:pt x="95" y="35"/>
                      <a:pt x="95" y="35"/>
                      <a:pt x="95" y="35"/>
                    </a:cubicBezTo>
                    <a:cubicBezTo>
                      <a:pt x="146" y="35"/>
                      <a:pt x="146" y="35"/>
                      <a:pt x="146" y="35"/>
                    </a:cubicBezTo>
                    <a:lnTo>
                      <a:pt x="146" y="4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30000"/>
                </a:schemeClr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defTabSz="45677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49" name="Freeform 31"/>
              <p:cNvSpPr>
                <a:spLocks noEditPoints="1"/>
              </p:cNvSpPr>
              <p:nvPr/>
            </p:nvSpPr>
            <p:spPr bwMode="auto">
              <a:xfrm>
                <a:off x="4822958" y="941215"/>
                <a:ext cx="101751" cy="230314"/>
              </a:xfrm>
              <a:custGeom>
                <a:avLst/>
                <a:gdLst>
                  <a:gd name="T0" fmla="*/ 145 w 156"/>
                  <a:gd name="T1" fmla="*/ 0 h 228"/>
                  <a:gd name="T2" fmla="*/ 11 w 156"/>
                  <a:gd name="T3" fmla="*/ 0 h 228"/>
                  <a:gd name="T4" fmla="*/ 0 w 156"/>
                  <a:gd name="T5" fmla="*/ 11 h 228"/>
                  <a:gd name="T6" fmla="*/ 0 w 156"/>
                  <a:gd name="T7" fmla="*/ 218 h 228"/>
                  <a:gd name="T8" fmla="*/ 11 w 156"/>
                  <a:gd name="T9" fmla="*/ 228 h 228"/>
                  <a:gd name="T10" fmla="*/ 145 w 156"/>
                  <a:gd name="T11" fmla="*/ 228 h 228"/>
                  <a:gd name="T12" fmla="*/ 156 w 156"/>
                  <a:gd name="T13" fmla="*/ 218 h 228"/>
                  <a:gd name="T14" fmla="*/ 156 w 156"/>
                  <a:gd name="T15" fmla="*/ 11 h 228"/>
                  <a:gd name="T16" fmla="*/ 145 w 156"/>
                  <a:gd name="T17" fmla="*/ 0 h 228"/>
                  <a:gd name="T18" fmla="*/ 146 w 156"/>
                  <a:gd name="T19" fmla="*/ 135 h 228"/>
                  <a:gd name="T20" fmla="*/ 146 w 156"/>
                  <a:gd name="T21" fmla="*/ 137 h 228"/>
                  <a:gd name="T22" fmla="*/ 10 w 156"/>
                  <a:gd name="T23" fmla="*/ 137 h 228"/>
                  <a:gd name="T24" fmla="*/ 10 w 156"/>
                  <a:gd name="T25" fmla="*/ 135 h 228"/>
                  <a:gd name="T26" fmla="*/ 95 w 156"/>
                  <a:gd name="T27" fmla="*/ 135 h 228"/>
                  <a:gd name="T28" fmla="*/ 95 w 156"/>
                  <a:gd name="T29" fmla="*/ 130 h 228"/>
                  <a:gd name="T30" fmla="*/ 146 w 156"/>
                  <a:gd name="T31" fmla="*/ 130 h 228"/>
                  <a:gd name="T32" fmla="*/ 146 w 156"/>
                  <a:gd name="T33" fmla="*/ 135 h 228"/>
                  <a:gd name="T34" fmla="*/ 146 w 156"/>
                  <a:gd name="T35" fmla="*/ 103 h 228"/>
                  <a:gd name="T36" fmla="*/ 146 w 156"/>
                  <a:gd name="T37" fmla="*/ 105 h 228"/>
                  <a:gd name="T38" fmla="*/ 10 w 156"/>
                  <a:gd name="T39" fmla="*/ 105 h 228"/>
                  <a:gd name="T40" fmla="*/ 10 w 156"/>
                  <a:gd name="T41" fmla="*/ 103 h 228"/>
                  <a:gd name="T42" fmla="*/ 95 w 156"/>
                  <a:gd name="T43" fmla="*/ 103 h 228"/>
                  <a:gd name="T44" fmla="*/ 95 w 156"/>
                  <a:gd name="T45" fmla="*/ 98 h 228"/>
                  <a:gd name="T46" fmla="*/ 146 w 156"/>
                  <a:gd name="T47" fmla="*/ 98 h 228"/>
                  <a:gd name="T48" fmla="*/ 146 w 156"/>
                  <a:gd name="T49" fmla="*/ 103 h 228"/>
                  <a:gd name="T50" fmla="*/ 146 w 156"/>
                  <a:gd name="T51" fmla="*/ 72 h 228"/>
                  <a:gd name="T52" fmla="*/ 146 w 156"/>
                  <a:gd name="T53" fmla="*/ 73 h 228"/>
                  <a:gd name="T54" fmla="*/ 10 w 156"/>
                  <a:gd name="T55" fmla="*/ 73 h 228"/>
                  <a:gd name="T56" fmla="*/ 10 w 156"/>
                  <a:gd name="T57" fmla="*/ 72 h 228"/>
                  <a:gd name="T58" fmla="*/ 95 w 156"/>
                  <a:gd name="T59" fmla="*/ 72 h 228"/>
                  <a:gd name="T60" fmla="*/ 95 w 156"/>
                  <a:gd name="T61" fmla="*/ 67 h 228"/>
                  <a:gd name="T62" fmla="*/ 146 w 156"/>
                  <a:gd name="T63" fmla="*/ 67 h 228"/>
                  <a:gd name="T64" fmla="*/ 146 w 156"/>
                  <a:gd name="T65" fmla="*/ 72 h 228"/>
                  <a:gd name="T66" fmla="*/ 146 w 156"/>
                  <a:gd name="T67" fmla="*/ 40 h 228"/>
                  <a:gd name="T68" fmla="*/ 146 w 156"/>
                  <a:gd name="T69" fmla="*/ 42 h 228"/>
                  <a:gd name="T70" fmla="*/ 10 w 156"/>
                  <a:gd name="T71" fmla="*/ 42 h 228"/>
                  <a:gd name="T72" fmla="*/ 10 w 156"/>
                  <a:gd name="T73" fmla="*/ 40 h 228"/>
                  <a:gd name="T74" fmla="*/ 95 w 156"/>
                  <a:gd name="T75" fmla="*/ 40 h 228"/>
                  <a:gd name="T76" fmla="*/ 95 w 156"/>
                  <a:gd name="T77" fmla="*/ 35 h 228"/>
                  <a:gd name="T78" fmla="*/ 146 w 156"/>
                  <a:gd name="T79" fmla="*/ 35 h 228"/>
                  <a:gd name="T80" fmla="*/ 146 w 156"/>
                  <a:gd name="T81" fmla="*/ 40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56" h="228">
                    <a:moveTo>
                      <a:pt x="145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218"/>
                      <a:pt x="0" y="218"/>
                      <a:pt x="0" y="218"/>
                    </a:cubicBezTo>
                    <a:cubicBezTo>
                      <a:pt x="0" y="224"/>
                      <a:pt x="5" y="228"/>
                      <a:pt x="11" y="228"/>
                    </a:cubicBezTo>
                    <a:cubicBezTo>
                      <a:pt x="145" y="228"/>
                      <a:pt x="145" y="228"/>
                      <a:pt x="145" y="228"/>
                    </a:cubicBezTo>
                    <a:cubicBezTo>
                      <a:pt x="151" y="228"/>
                      <a:pt x="156" y="224"/>
                      <a:pt x="156" y="218"/>
                    </a:cubicBezTo>
                    <a:cubicBezTo>
                      <a:pt x="156" y="11"/>
                      <a:pt x="156" y="11"/>
                      <a:pt x="156" y="11"/>
                    </a:cubicBezTo>
                    <a:cubicBezTo>
                      <a:pt x="156" y="5"/>
                      <a:pt x="151" y="0"/>
                      <a:pt x="145" y="0"/>
                    </a:cubicBezTo>
                    <a:close/>
                    <a:moveTo>
                      <a:pt x="146" y="135"/>
                    </a:moveTo>
                    <a:cubicBezTo>
                      <a:pt x="146" y="137"/>
                      <a:pt x="146" y="137"/>
                      <a:pt x="146" y="137"/>
                    </a:cubicBezTo>
                    <a:cubicBezTo>
                      <a:pt x="10" y="137"/>
                      <a:pt x="10" y="137"/>
                      <a:pt x="10" y="137"/>
                    </a:cubicBezTo>
                    <a:cubicBezTo>
                      <a:pt x="10" y="135"/>
                      <a:pt x="10" y="135"/>
                      <a:pt x="10" y="135"/>
                    </a:cubicBezTo>
                    <a:cubicBezTo>
                      <a:pt x="95" y="135"/>
                      <a:pt x="95" y="135"/>
                      <a:pt x="95" y="135"/>
                    </a:cubicBezTo>
                    <a:cubicBezTo>
                      <a:pt x="95" y="130"/>
                      <a:pt x="95" y="130"/>
                      <a:pt x="95" y="130"/>
                    </a:cubicBezTo>
                    <a:cubicBezTo>
                      <a:pt x="146" y="130"/>
                      <a:pt x="146" y="130"/>
                      <a:pt x="146" y="130"/>
                    </a:cubicBezTo>
                    <a:lnTo>
                      <a:pt x="146" y="135"/>
                    </a:lnTo>
                    <a:close/>
                    <a:moveTo>
                      <a:pt x="146" y="103"/>
                    </a:moveTo>
                    <a:cubicBezTo>
                      <a:pt x="146" y="105"/>
                      <a:pt x="146" y="105"/>
                      <a:pt x="146" y="105"/>
                    </a:cubicBezTo>
                    <a:cubicBezTo>
                      <a:pt x="10" y="105"/>
                      <a:pt x="10" y="105"/>
                      <a:pt x="10" y="105"/>
                    </a:cubicBezTo>
                    <a:cubicBezTo>
                      <a:pt x="10" y="103"/>
                      <a:pt x="10" y="103"/>
                      <a:pt x="10" y="103"/>
                    </a:cubicBezTo>
                    <a:cubicBezTo>
                      <a:pt x="95" y="103"/>
                      <a:pt x="95" y="103"/>
                      <a:pt x="95" y="103"/>
                    </a:cubicBezTo>
                    <a:cubicBezTo>
                      <a:pt x="95" y="98"/>
                      <a:pt x="95" y="98"/>
                      <a:pt x="95" y="98"/>
                    </a:cubicBezTo>
                    <a:cubicBezTo>
                      <a:pt x="146" y="98"/>
                      <a:pt x="146" y="98"/>
                      <a:pt x="146" y="98"/>
                    </a:cubicBezTo>
                    <a:lnTo>
                      <a:pt x="146" y="103"/>
                    </a:lnTo>
                    <a:close/>
                    <a:moveTo>
                      <a:pt x="146" y="72"/>
                    </a:moveTo>
                    <a:cubicBezTo>
                      <a:pt x="146" y="73"/>
                      <a:pt x="146" y="73"/>
                      <a:pt x="146" y="73"/>
                    </a:cubicBezTo>
                    <a:cubicBezTo>
                      <a:pt x="10" y="73"/>
                      <a:pt x="10" y="73"/>
                      <a:pt x="10" y="73"/>
                    </a:cubicBezTo>
                    <a:cubicBezTo>
                      <a:pt x="10" y="72"/>
                      <a:pt x="10" y="72"/>
                      <a:pt x="10" y="72"/>
                    </a:cubicBezTo>
                    <a:cubicBezTo>
                      <a:pt x="95" y="72"/>
                      <a:pt x="95" y="72"/>
                      <a:pt x="95" y="72"/>
                    </a:cubicBezTo>
                    <a:cubicBezTo>
                      <a:pt x="95" y="67"/>
                      <a:pt x="95" y="67"/>
                      <a:pt x="95" y="67"/>
                    </a:cubicBezTo>
                    <a:cubicBezTo>
                      <a:pt x="146" y="67"/>
                      <a:pt x="146" y="67"/>
                      <a:pt x="146" y="67"/>
                    </a:cubicBezTo>
                    <a:lnTo>
                      <a:pt x="146" y="72"/>
                    </a:lnTo>
                    <a:close/>
                    <a:moveTo>
                      <a:pt x="146" y="40"/>
                    </a:moveTo>
                    <a:cubicBezTo>
                      <a:pt x="146" y="42"/>
                      <a:pt x="146" y="42"/>
                      <a:pt x="146" y="42"/>
                    </a:cubicBezTo>
                    <a:cubicBezTo>
                      <a:pt x="10" y="42"/>
                      <a:pt x="10" y="42"/>
                      <a:pt x="10" y="42"/>
                    </a:cubicBezTo>
                    <a:cubicBezTo>
                      <a:pt x="10" y="40"/>
                      <a:pt x="10" y="40"/>
                      <a:pt x="10" y="40"/>
                    </a:cubicBezTo>
                    <a:cubicBezTo>
                      <a:pt x="95" y="40"/>
                      <a:pt x="95" y="40"/>
                      <a:pt x="95" y="40"/>
                    </a:cubicBezTo>
                    <a:cubicBezTo>
                      <a:pt x="95" y="35"/>
                      <a:pt x="95" y="35"/>
                      <a:pt x="95" y="35"/>
                    </a:cubicBezTo>
                    <a:cubicBezTo>
                      <a:pt x="146" y="35"/>
                      <a:pt x="146" y="35"/>
                      <a:pt x="146" y="35"/>
                    </a:cubicBezTo>
                    <a:lnTo>
                      <a:pt x="146" y="4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30000"/>
                </a:schemeClr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defTabSz="45677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0" name="Group 49"/>
            <p:cNvGrpSpPr>
              <a:grpSpLocks noChangeAspect="1"/>
            </p:cNvGrpSpPr>
            <p:nvPr userDrawn="1"/>
          </p:nvGrpSpPr>
          <p:grpSpPr>
            <a:xfrm>
              <a:off x="7001600" y="3891484"/>
              <a:ext cx="182880" cy="173764"/>
              <a:chOff x="3081530" y="2405377"/>
              <a:chExt cx="244976" cy="232765"/>
            </a:xfrm>
            <a:solidFill>
              <a:schemeClr val="bg1">
                <a:lumMod val="85000"/>
                <a:alpha val="30000"/>
              </a:schemeClr>
            </a:solidFill>
          </p:grpSpPr>
          <p:sp>
            <p:nvSpPr>
              <p:cNvPr id="51" name="Freeform 15"/>
              <p:cNvSpPr>
                <a:spLocks noEditPoints="1"/>
              </p:cNvSpPr>
              <p:nvPr/>
            </p:nvSpPr>
            <p:spPr bwMode="auto">
              <a:xfrm>
                <a:off x="3081530" y="2584716"/>
                <a:ext cx="244976" cy="53426"/>
              </a:xfrm>
              <a:custGeom>
                <a:avLst/>
                <a:gdLst>
                  <a:gd name="T0" fmla="*/ 20 w 1353"/>
                  <a:gd name="T1" fmla="*/ 295 h 295"/>
                  <a:gd name="T2" fmla="*/ 20 w 1353"/>
                  <a:gd name="T3" fmla="*/ 0 h 295"/>
                  <a:gd name="T4" fmla="*/ 1353 w 1353"/>
                  <a:gd name="T5" fmla="*/ 275 h 295"/>
                  <a:gd name="T6" fmla="*/ 1006 w 1353"/>
                  <a:gd name="T7" fmla="*/ 110 h 295"/>
                  <a:gd name="T8" fmla="*/ 1063 w 1353"/>
                  <a:gd name="T9" fmla="*/ 72 h 295"/>
                  <a:gd name="T10" fmla="*/ 252 w 1353"/>
                  <a:gd name="T11" fmla="*/ 110 h 295"/>
                  <a:gd name="T12" fmla="*/ 310 w 1353"/>
                  <a:gd name="T13" fmla="*/ 72 h 295"/>
                  <a:gd name="T14" fmla="*/ 346 w 1353"/>
                  <a:gd name="T15" fmla="*/ 110 h 295"/>
                  <a:gd name="T16" fmla="*/ 404 w 1353"/>
                  <a:gd name="T17" fmla="*/ 72 h 295"/>
                  <a:gd name="T18" fmla="*/ 440 w 1353"/>
                  <a:gd name="T19" fmla="*/ 110 h 295"/>
                  <a:gd name="T20" fmla="*/ 498 w 1353"/>
                  <a:gd name="T21" fmla="*/ 72 h 295"/>
                  <a:gd name="T22" fmla="*/ 535 w 1353"/>
                  <a:gd name="T23" fmla="*/ 110 h 295"/>
                  <a:gd name="T24" fmla="*/ 592 w 1353"/>
                  <a:gd name="T25" fmla="*/ 72 h 295"/>
                  <a:gd name="T26" fmla="*/ 629 w 1353"/>
                  <a:gd name="T27" fmla="*/ 110 h 295"/>
                  <a:gd name="T28" fmla="*/ 686 w 1353"/>
                  <a:gd name="T29" fmla="*/ 72 h 295"/>
                  <a:gd name="T30" fmla="*/ 723 w 1353"/>
                  <a:gd name="T31" fmla="*/ 110 h 295"/>
                  <a:gd name="T32" fmla="*/ 781 w 1353"/>
                  <a:gd name="T33" fmla="*/ 72 h 295"/>
                  <a:gd name="T34" fmla="*/ 817 w 1353"/>
                  <a:gd name="T35" fmla="*/ 110 h 295"/>
                  <a:gd name="T36" fmla="*/ 875 w 1353"/>
                  <a:gd name="T37" fmla="*/ 72 h 295"/>
                  <a:gd name="T38" fmla="*/ 911 w 1353"/>
                  <a:gd name="T39" fmla="*/ 110 h 295"/>
                  <a:gd name="T40" fmla="*/ 969 w 1353"/>
                  <a:gd name="T41" fmla="*/ 72 h 295"/>
                  <a:gd name="T42" fmla="*/ 1100 w 1353"/>
                  <a:gd name="T43" fmla="*/ 110 h 295"/>
                  <a:gd name="T44" fmla="*/ 1157 w 1353"/>
                  <a:gd name="T45" fmla="*/ 72 h 295"/>
                  <a:gd name="T46" fmla="*/ 1194 w 1353"/>
                  <a:gd name="T47" fmla="*/ 110 h 295"/>
                  <a:gd name="T48" fmla="*/ 1251 w 1353"/>
                  <a:gd name="T49" fmla="*/ 72 h 295"/>
                  <a:gd name="T50" fmla="*/ 1004 w 1353"/>
                  <a:gd name="T51" fmla="*/ 207 h 295"/>
                  <a:gd name="T52" fmla="*/ 1062 w 1353"/>
                  <a:gd name="T53" fmla="*/ 169 h 295"/>
                  <a:gd name="T54" fmla="*/ 251 w 1353"/>
                  <a:gd name="T55" fmla="*/ 207 h 295"/>
                  <a:gd name="T56" fmla="*/ 309 w 1353"/>
                  <a:gd name="T57" fmla="*/ 169 h 295"/>
                  <a:gd name="T58" fmla="*/ 345 w 1353"/>
                  <a:gd name="T59" fmla="*/ 207 h 295"/>
                  <a:gd name="T60" fmla="*/ 403 w 1353"/>
                  <a:gd name="T61" fmla="*/ 169 h 295"/>
                  <a:gd name="T62" fmla="*/ 439 w 1353"/>
                  <a:gd name="T63" fmla="*/ 207 h 295"/>
                  <a:gd name="T64" fmla="*/ 497 w 1353"/>
                  <a:gd name="T65" fmla="*/ 169 h 295"/>
                  <a:gd name="T66" fmla="*/ 534 w 1353"/>
                  <a:gd name="T67" fmla="*/ 207 h 295"/>
                  <a:gd name="T68" fmla="*/ 591 w 1353"/>
                  <a:gd name="T69" fmla="*/ 169 h 295"/>
                  <a:gd name="T70" fmla="*/ 628 w 1353"/>
                  <a:gd name="T71" fmla="*/ 207 h 295"/>
                  <a:gd name="T72" fmla="*/ 685 w 1353"/>
                  <a:gd name="T73" fmla="*/ 169 h 295"/>
                  <a:gd name="T74" fmla="*/ 722 w 1353"/>
                  <a:gd name="T75" fmla="*/ 207 h 295"/>
                  <a:gd name="T76" fmla="*/ 779 w 1353"/>
                  <a:gd name="T77" fmla="*/ 169 h 295"/>
                  <a:gd name="T78" fmla="*/ 816 w 1353"/>
                  <a:gd name="T79" fmla="*/ 207 h 295"/>
                  <a:gd name="T80" fmla="*/ 874 w 1353"/>
                  <a:gd name="T81" fmla="*/ 169 h 295"/>
                  <a:gd name="T82" fmla="*/ 910 w 1353"/>
                  <a:gd name="T83" fmla="*/ 207 h 295"/>
                  <a:gd name="T84" fmla="*/ 968 w 1353"/>
                  <a:gd name="T85" fmla="*/ 169 h 295"/>
                  <a:gd name="T86" fmla="*/ 1099 w 1353"/>
                  <a:gd name="T87" fmla="*/ 207 h 295"/>
                  <a:gd name="T88" fmla="*/ 1156 w 1353"/>
                  <a:gd name="T89" fmla="*/ 169 h 295"/>
                  <a:gd name="T90" fmla="*/ 1193 w 1353"/>
                  <a:gd name="T91" fmla="*/ 207 h 295"/>
                  <a:gd name="T92" fmla="*/ 1250 w 1353"/>
                  <a:gd name="T93" fmla="*/ 169 h 295"/>
                  <a:gd name="T94" fmla="*/ 115 w 1353"/>
                  <a:gd name="T95" fmla="*/ 175 h 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353" h="295">
                    <a:moveTo>
                      <a:pt x="1353" y="275"/>
                    </a:moveTo>
                    <a:cubicBezTo>
                      <a:pt x="1353" y="286"/>
                      <a:pt x="1344" y="295"/>
                      <a:pt x="1333" y="295"/>
                    </a:cubicBezTo>
                    <a:cubicBezTo>
                      <a:pt x="20" y="295"/>
                      <a:pt x="20" y="295"/>
                      <a:pt x="20" y="295"/>
                    </a:cubicBezTo>
                    <a:cubicBezTo>
                      <a:pt x="9" y="295"/>
                      <a:pt x="0" y="286"/>
                      <a:pt x="0" y="275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1333" y="0"/>
                      <a:pt x="1333" y="0"/>
                      <a:pt x="1333" y="0"/>
                    </a:cubicBezTo>
                    <a:cubicBezTo>
                      <a:pt x="1344" y="0"/>
                      <a:pt x="1353" y="9"/>
                      <a:pt x="1353" y="20"/>
                    </a:cubicBezTo>
                    <a:lnTo>
                      <a:pt x="1353" y="275"/>
                    </a:lnTo>
                    <a:close/>
                    <a:moveTo>
                      <a:pt x="1063" y="72"/>
                    </a:moveTo>
                    <a:cubicBezTo>
                      <a:pt x="1006" y="72"/>
                      <a:pt x="1006" y="72"/>
                      <a:pt x="1006" y="72"/>
                    </a:cubicBezTo>
                    <a:cubicBezTo>
                      <a:pt x="1006" y="110"/>
                      <a:pt x="1006" y="110"/>
                      <a:pt x="1006" y="110"/>
                    </a:cubicBezTo>
                    <a:cubicBezTo>
                      <a:pt x="1032" y="125"/>
                      <a:pt x="1032" y="125"/>
                      <a:pt x="1032" y="125"/>
                    </a:cubicBezTo>
                    <a:cubicBezTo>
                      <a:pt x="1063" y="110"/>
                      <a:pt x="1063" y="110"/>
                      <a:pt x="1063" y="110"/>
                    </a:cubicBezTo>
                    <a:lnTo>
                      <a:pt x="1063" y="72"/>
                    </a:lnTo>
                    <a:close/>
                    <a:moveTo>
                      <a:pt x="310" y="72"/>
                    </a:moveTo>
                    <a:cubicBezTo>
                      <a:pt x="252" y="72"/>
                      <a:pt x="252" y="72"/>
                      <a:pt x="252" y="72"/>
                    </a:cubicBezTo>
                    <a:cubicBezTo>
                      <a:pt x="252" y="110"/>
                      <a:pt x="252" y="110"/>
                      <a:pt x="252" y="110"/>
                    </a:cubicBezTo>
                    <a:cubicBezTo>
                      <a:pt x="279" y="125"/>
                      <a:pt x="279" y="125"/>
                      <a:pt x="279" y="125"/>
                    </a:cubicBezTo>
                    <a:cubicBezTo>
                      <a:pt x="310" y="110"/>
                      <a:pt x="310" y="110"/>
                      <a:pt x="310" y="110"/>
                    </a:cubicBezTo>
                    <a:lnTo>
                      <a:pt x="310" y="72"/>
                    </a:lnTo>
                    <a:close/>
                    <a:moveTo>
                      <a:pt x="404" y="72"/>
                    </a:moveTo>
                    <a:cubicBezTo>
                      <a:pt x="346" y="72"/>
                      <a:pt x="346" y="72"/>
                      <a:pt x="346" y="72"/>
                    </a:cubicBezTo>
                    <a:cubicBezTo>
                      <a:pt x="346" y="110"/>
                      <a:pt x="346" y="110"/>
                      <a:pt x="346" y="110"/>
                    </a:cubicBezTo>
                    <a:cubicBezTo>
                      <a:pt x="373" y="125"/>
                      <a:pt x="373" y="125"/>
                      <a:pt x="373" y="125"/>
                    </a:cubicBezTo>
                    <a:cubicBezTo>
                      <a:pt x="404" y="110"/>
                      <a:pt x="404" y="110"/>
                      <a:pt x="404" y="110"/>
                    </a:cubicBezTo>
                    <a:lnTo>
                      <a:pt x="404" y="72"/>
                    </a:lnTo>
                    <a:close/>
                    <a:moveTo>
                      <a:pt x="498" y="72"/>
                    </a:moveTo>
                    <a:cubicBezTo>
                      <a:pt x="440" y="72"/>
                      <a:pt x="440" y="72"/>
                      <a:pt x="440" y="72"/>
                    </a:cubicBezTo>
                    <a:cubicBezTo>
                      <a:pt x="440" y="110"/>
                      <a:pt x="440" y="110"/>
                      <a:pt x="440" y="110"/>
                    </a:cubicBezTo>
                    <a:cubicBezTo>
                      <a:pt x="467" y="125"/>
                      <a:pt x="467" y="125"/>
                      <a:pt x="467" y="125"/>
                    </a:cubicBezTo>
                    <a:cubicBezTo>
                      <a:pt x="498" y="110"/>
                      <a:pt x="498" y="110"/>
                      <a:pt x="498" y="110"/>
                    </a:cubicBezTo>
                    <a:lnTo>
                      <a:pt x="498" y="72"/>
                    </a:lnTo>
                    <a:close/>
                    <a:moveTo>
                      <a:pt x="592" y="72"/>
                    </a:moveTo>
                    <a:cubicBezTo>
                      <a:pt x="535" y="72"/>
                      <a:pt x="535" y="72"/>
                      <a:pt x="535" y="72"/>
                    </a:cubicBezTo>
                    <a:cubicBezTo>
                      <a:pt x="535" y="110"/>
                      <a:pt x="535" y="110"/>
                      <a:pt x="535" y="110"/>
                    </a:cubicBezTo>
                    <a:cubicBezTo>
                      <a:pt x="562" y="125"/>
                      <a:pt x="562" y="125"/>
                      <a:pt x="562" y="125"/>
                    </a:cubicBezTo>
                    <a:cubicBezTo>
                      <a:pt x="592" y="110"/>
                      <a:pt x="592" y="110"/>
                      <a:pt x="592" y="110"/>
                    </a:cubicBezTo>
                    <a:lnTo>
                      <a:pt x="592" y="72"/>
                    </a:lnTo>
                    <a:close/>
                    <a:moveTo>
                      <a:pt x="686" y="72"/>
                    </a:moveTo>
                    <a:cubicBezTo>
                      <a:pt x="629" y="72"/>
                      <a:pt x="629" y="72"/>
                      <a:pt x="629" y="72"/>
                    </a:cubicBezTo>
                    <a:cubicBezTo>
                      <a:pt x="629" y="110"/>
                      <a:pt x="629" y="110"/>
                      <a:pt x="629" y="110"/>
                    </a:cubicBezTo>
                    <a:cubicBezTo>
                      <a:pt x="656" y="125"/>
                      <a:pt x="656" y="125"/>
                      <a:pt x="656" y="125"/>
                    </a:cubicBezTo>
                    <a:cubicBezTo>
                      <a:pt x="686" y="110"/>
                      <a:pt x="686" y="110"/>
                      <a:pt x="686" y="110"/>
                    </a:cubicBezTo>
                    <a:lnTo>
                      <a:pt x="686" y="72"/>
                    </a:lnTo>
                    <a:close/>
                    <a:moveTo>
                      <a:pt x="781" y="72"/>
                    </a:moveTo>
                    <a:cubicBezTo>
                      <a:pt x="723" y="72"/>
                      <a:pt x="723" y="72"/>
                      <a:pt x="723" y="72"/>
                    </a:cubicBezTo>
                    <a:cubicBezTo>
                      <a:pt x="723" y="110"/>
                      <a:pt x="723" y="110"/>
                      <a:pt x="723" y="110"/>
                    </a:cubicBezTo>
                    <a:cubicBezTo>
                      <a:pt x="750" y="125"/>
                      <a:pt x="750" y="125"/>
                      <a:pt x="750" y="125"/>
                    </a:cubicBezTo>
                    <a:cubicBezTo>
                      <a:pt x="781" y="110"/>
                      <a:pt x="781" y="110"/>
                      <a:pt x="781" y="110"/>
                    </a:cubicBezTo>
                    <a:lnTo>
                      <a:pt x="781" y="72"/>
                    </a:lnTo>
                    <a:close/>
                    <a:moveTo>
                      <a:pt x="875" y="72"/>
                    </a:moveTo>
                    <a:cubicBezTo>
                      <a:pt x="817" y="72"/>
                      <a:pt x="817" y="72"/>
                      <a:pt x="817" y="72"/>
                    </a:cubicBezTo>
                    <a:cubicBezTo>
                      <a:pt x="817" y="110"/>
                      <a:pt x="817" y="110"/>
                      <a:pt x="817" y="110"/>
                    </a:cubicBezTo>
                    <a:cubicBezTo>
                      <a:pt x="844" y="125"/>
                      <a:pt x="844" y="125"/>
                      <a:pt x="844" y="125"/>
                    </a:cubicBezTo>
                    <a:cubicBezTo>
                      <a:pt x="875" y="110"/>
                      <a:pt x="875" y="110"/>
                      <a:pt x="875" y="110"/>
                    </a:cubicBezTo>
                    <a:lnTo>
                      <a:pt x="875" y="72"/>
                    </a:lnTo>
                    <a:close/>
                    <a:moveTo>
                      <a:pt x="969" y="72"/>
                    </a:moveTo>
                    <a:cubicBezTo>
                      <a:pt x="911" y="72"/>
                      <a:pt x="911" y="72"/>
                      <a:pt x="911" y="72"/>
                    </a:cubicBezTo>
                    <a:cubicBezTo>
                      <a:pt x="911" y="110"/>
                      <a:pt x="911" y="110"/>
                      <a:pt x="911" y="110"/>
                    </a:cubicBezTo>
                    <a:cubicBezTo>
                      <a:pt x="938" y="125"/>
                      <a:pt x="938" y="125"/>
                      <a:pt x="938" y="125"/>
                    </a:cubicBezTo>
                    <a:cubicBezTo>
                      <a:pt x="969" y="110"/>
                      <a:pt x="969" y="110"/>
                      <a:pt x="969" y="110"/>
                    </a:cubicBezTo>
                    <a:lnTo>
                      <a:pt x="969" y="72"/>
                    </a:lnTo>
                    <a:close/>
                    <a:moveTo>
                      <a:pt x="1157" y="72"/>
                    </a:moveTo>
                    <a:cubicBezTo>
                      <a:pt x="1100" y="72"/>
                      <a:pt x="1100" y="72"/>
                      <a:pt x="1100" y="72"/>
                    </a:cubicBezTo>
                    <a:cubicBezTo>
                      <a:pt x="1100" y="110"/>
                      <a:pt x="1100" y="110"/>
                      <a:pt x="1100" y="110"/>
                    </a:cubicBezTo>
                    <a:cubicBezTo>
                      <a:pt x="1127" y="125"/>
                      <a:pt x="1127" y="125"/>
                      <a:pt x="1127" y="125"/>
                    </a:cubicBezTo>
                    <a:cubicBezTo>
                      <a:pt x="1157" y="110"/>
                      <a:pt x="1157" y="110"/>
                      <a:pt x="1157" y="110"/>
                    </a:cubicBezTo>
                    <a:lnTo>
                      <a:pt x="1157" y="72"/>
                    </a:lnTo>
                    <a:close/>
                    <a:moveTo>
                      <a:pt x="1251" y="72"/>
                    </a:moveTo>
                    <a:cubicBezTo>
                      <a:pt x="1194" y="72"/>
                      <a:pt x="1194" y="72"/>
                      <a:pt x="1194" y="72"/>
                    </a:cubicBezTo>
                    <a:cubicBezTo>
                      <a:pt x="1194" y="110"/>
                      <a:pt x="1194" y="110"/>
                      <a:pt x="1194" y="110"/>
                    </a:cubicBezTo>
                    <a:cubicBezTo>
                      <a:pt x="1221" y="125"/>
                      <a:pt x="1221" y="125"/>
                      <a:pt x="1221" y="125"/>
                    </a:cubicBezTo>
                    <a:cubicBezTo>
                      <a:pt x="1251" y="110"/>
                      <a:pt x="1251" y="110"/>
                      <a:pt x="1251" y="110"/>
                    </a:cubicBezTo>
                    <a:lnTo>
                      <a:pt x="1251" y="72"/>
                    </a:lnTo>
                    <a:close/>
                    <a:moveTo>
                      <a:pt x="1062" y="169"/>
                    </a:moveTo>
                    <a:cubicBezTo>
                      <a:pt x="1004" y="169"/>
                      <a:pt x="1004" y="169"/>
                      <a:pt x="1004" y="169"/>
                    </a:cubicBezTo>
                    <a:cubicBezTo>
                      <a:pt x="1004" y="207"/>
                      <a:pt x="1004" y="207"/>
                      <a:pt x="1004" y="207"/>
                    </a:cubicBezTo>
                    <a:cubicBezTo>
                      <a:pt x="1031" y="222"/>
                      <a:pt x="1031" y="222"/>
                      <a:pt x="1031" y="222"/>
                    </a:cubicBezTo>
                    <a:cubicBezTo>
                      <a:pt x="1062" y="207"/>
                      <a:pt x="1062" y="207"/>
                      <a:pt x="1062" y="207"/>
                    </a:cubicBezTo>
                    <a:lnTo>
                      <a:pt x="1062" y="169"/>
                    </a:lnTo>
                    <a:close/>
                    <a:moveTo>
                      <a:pt x="309" y="169"/>
                    </a:moveTo>
                    <a:cubicBezTo>
                      <a:pt x="251" y="169"/>
                      <a:pt x="251" y="169"/>
                      <a:pt x="251" y="169"/>
                    </a:cubicBezTo>
                    <a:cubicBezTo>
                      <a:pt x="251" y="207"/>
                      <a:pt x="251" y="207"/>
                      <a:pt x="251" y="207"/>
                    </a:cubicBezTo>
                    <a:cubicBezTo>
                      <a:pt x="278" y="222"/>
                      <a:pt x="278" y="222"/>
                      <a:pt x="278" y="222"/>
                    </a:cubicBezTo>
                    <a:cubicBezTo>
                      <a:pt x="309" y="207"/>
                      <a:pt x="309" y="207"/>
                      <a:pt x="309" y="207"/>
                    </a:cubicBezTo>
                    <a:lnTo>
                      <a:pt x="309" y="169"/>
                    </a:lnTo>
                    <a:close/>
                    <a:moveTo>
                      <a:pt x="403" y="169"/>
                    </a:moveTo>
                    <a:cubicBezTo>
                      <a:pt x="345" y="169"/>
                      <a:pt x="345" y="169"/>
                      <a:pt x="345" y="169"/>
                    </a:cubicBezTo>
                    <a:cubicBezTo>
                      <a:pt x="345" y="207"/>
                      <a:pt x="345" y="207"/>
                      <a:pt x="345" y="207"/>
                    </a:cubicBezTo>
                    <a:cubicBezTo>
                      <a:pt x="372" y="222"/>
                      <a:pt x="372" y="222"/>
                      <a:pt x="372" y="222"/>
                    </a:cubicBezTo>
                    <a:cubicBezTo>
                      <a:pt x="403" y="207"/>
                      <a:pt x="403" y="207"/>
                      <a:pt x="403" y="207"/>
                    </a:cubicBezTo>
                    <a:lnTo>
                      <a:pt x="403" y="169"/>
                    </a:lnTo>
                    <a:close/>
                    <a:moveTo>
                      <a:pt x="497" y="169"/>
                    </a:moveTo>
                    <a:cubicBezTo>
                      <a:pt x="439" y="169"/>
                      <a:pt x="439" y="169"/>
                      <a:pt x="439" y="169"/>
                    </a:cubicBezTo>
                    <a:cubicBezTo>
                      <a:pt x="439" y="207"/>
                      <a:pt x="439" y="207"/>
                      <a:pt x="439" y="207"/>
                    </a:cubicBezTo>
                    <a:cubicBezTo>
                      <a:pt x="466" y="222"/>
                      <a:pt x="466" y="222"/>
                      <a:pt x="466" y="222"/>
                    </a:cubicBezTo>
                    <a:cubicBezTo>
                      <a:pt x="497" y="207"/>
                      <a:pt x="497" y="207"/>
                      <a:pt x="497" y="207"/>
                    </a:cubicBezTo>
                    <a:lnTo>
                      <a:pt x="497" y="169"/>
                    </a:lnTo>
                    <a:close/>
                    <a:moveTo>
                      <a:pt x="591" y="169"/>
                    </a:moveTo>
                    <a:cubicBezTo>
                      <a:pt x="534" y="169"/>
                      <a:pt x="534" y="169"/>
                      <a:pt x="534" y="169"/>
                    </a:cubicBezTo>
                    <a:cubicBezTo>
                      <a:pt x="534" y="207"/>
                      <a:pt x="534" y="207"/>
                      <a:pt x="534" y="207"/>
                    </a:cubicBezTo>
                    <a:cubicBezTo>
                      <a:pt x="560" y="222"/>
                      <a:pt x="560" y="222"/>
                      <a:pt x="560" y="222"/>
                    </a:cubicBezTo>
                    <a:cubicBezTo>
                      <a:pt x="591" y="207"/>
                      <a:pt x="591" y="207"/>
                      <a:pt x="591" y="207"/>
                    </a:cubicBezTo>
                    <a:lnTo>
                      <a:pt x="591" y="169"/>
                    </a:lnTo>
                    <a:close/>
                    <a:moveTo>
                      <a:pt x="685" y="169"/>
                    </a:moveTo>
                    <a:cubicBezTo>
                      <a:pt x="628" y="169"/>
                      <a:pt x="628" y="169"/>
                      <a:pt x="628" y="169"/>
                    </a:cubicBezTo>
                    <a:cubicBezTo>
                      <a:pt x="628" y="207"/>
                      <a:pt x="628" y="207"/>
                      <a:pt x="628" y="207"/>
                    </a:cubicBezTo>
                    <a:cubicBezTo>
                      <a:pt x="655" y="222"/>
                      <a:pt x="655" y="222"/>
                      <a:pt x="655" y="222"/>
                    </a:cubicBezTo>
                    <a:cubicBezTo>
                      <a:pt x="685" y="207"/>
                      <a:pt x="685" y="207"/>
                      <a:pt x="685" y="207"/>
                    </a:cubicBezTo>
                    <a:lnTo>
                      <a:pt x="685" y="169"/>
                    </a:lnTo>
                    <a:close/>
                    <a:moveTo>
                      <a:pt x="779" y="169"/>
                    </a:moveTo>
                    <a:cubicBezTo>
                      <a:pt x="722" y="169"/>
                      <a:pt x="722" y="169"/>
                      <a:pt x="722" y="169"/>
                    </a:cubicBezTo>
                    <a:cubicBezTo>
                      <a:pt x="722" y="207"/>
                      <a:pt x="722" y="207"/>
                      <a:pt x="722" y="207"/>
                    </a:cubicBezTo>
                    <a:cubicBezTo>
                      <a:pt x="749" y="222"/>
                      <a:pt x="749" y="222"/>
                      <a:pt x="749" y="222"/>
                    </a:cubicBezTo>
                    <a:cubicBezTo>
                      <a:pt x="779" y="207"/>
                      <a:pt x="779" y="207"/>
                      <a:pt x="779" y="207"/>
                    </a:cubicBezTo>
                    <a:lnTo>
                      <a:pt x="779" y="169"/>
                    </a:lnTo>
                    <a:close/>
                    <a:moveTo>
                      <a:pt x="874" y="169"/>
                    </a:moveTo>
                    <a:cubicBezTo>
                      <a:pt x="816" y="169"/>
                      <a:pt x="816" y="169"/>
                      <a:pt x="816" y="169"/>
                    </a:cubicBezTo>
                    <a:cubicBezTo>
                      <a:pt x="816" y="207"/>
                      <a:pt x="816" y="207"/>
                      <a:pt x="816" y="207"/>
                    </a:cubicBezTo>
                    <a:cubicBezTo>
                      <a:pt x="843" y="222"/>
                      <a:pt x="843" y="222"/>
                      <a:pt x="843" y="222"/>
                    </a:cubicBezTo>
                    <a:cubicBezTo>
                      <a:pt x="874" y="207"/>
                      <a:pt x="874" y="207"/>
                      <a:pt x="874" y="207"/>
                    </a:cubicBezTo>
                    <a:lnTo>
                      <a:pt x="874" y="169"/>
                    </a:lnTo>
                    <a:close/>
                    <a:moveTo>
                      <a:pt x="968" y="169"/>
                    </a:moveTo>
                    <a:cubicBezTo>
                      <a:pt x="910" y="169"/>
                      <a:pt x="910" y="169"/>
                      <a:pt x="910" y="169"/>
                    </a:cubicBezTo>
                    <a:cubicBezTo>
                      <a:pt x="910" y="207"/>
                      <a:pt x="910" y="207"/>
                      <a:pt x="910" y="207"/>
                    </a:cubicBezTo>
                    <a:cubicBezTo>
                      <a:pt x="937" y="222"/>
                      <a:pt x="937" y="222"/>
                      <a:pt x="937" y="222"/>
                    </a:cubicBezTo>
                    <a:cubicBezTo>
                      <a:pt x="968" y="207"/>
                      <a:pt x="968" y="207"/>
                      <a:pt x="968" y="207"/>
                    </a:cubicBezTo>
                    <a:lnTo>
                      <a:pt x="968" y="169"/>
                    </a:lnTo>
                    <a:close/>
                    <a:moveTo>
                      <a:pt x="1156" y="169"/>
                    </a:moveTo>
                    <a:cubicBezTo>
                      <a:pt x="1099" y="169"/>
                      <a:pt x="1099" y="169"/>
                      <a:pt x="1099" y="169"/>
                    </a:cubicBezTo>
                    <a:cubicBezTo>
                      <a:pt x="1099" y="207"/>
                      <a:pt x="1099" y="207"/>
                      <a:pt x="1099" y="207"/>
                    </a:cubicBezTo>
                    <a:cubicBezTo>
                      <a:pt x="1125" y="222"/>
                      <a:pt x="1125" y="222"/>
                      <a:pt x="1125" y="222"/>
                    </a:cubicBezTo>
                    <a:cubicBezTo>
                      <a:pt x="1156" y="207"/>
                      <a:pt x="1156" y="207"/>
                      <a:pt x="1156" y="207"/>
                    </a:cubicBezTo>
                    <a:lnTo>
                      <a:pt x="1156" y="169"/>
                    </a:lnTo>
                    <a:close/>
                    <a:moveTo>
                      <a:pt x="1250" y="169"/>
                    </a:moveTo>
                    <a:cubicBezTo>
                      <a:pt x="1193" y="169"/>
                      <a:pt x="1193" y="169"/>
                      <a:pt x="1193" y="169"/>
                    </a:cubicBezTo>
                    <a:cubicBezTo>
                      <a:pt x="1193" y="207"/>
                      <a:pt x="1193" y="207"/>
                      <a:pt x="1193" y="207"/>
                    </a:cubicBezTo>
                    <a:cubicBezTo>
                      <a:pt x="1220" y="222"/>
                      <a:pt x="1220" y="222"/>
                      <a:pt x="1220" y="222"/>
                    </a:cubicBezTo>
                    <a:cubicBezTo>
                      <a:pt x="1250" y="207"/>
                      <a:pt x="1250" y="207"/>
                      <a:pt x="1250" y="207"/>
                    </a:cubicBezTo>
                    <a:lnTo>
                      <a:pt x="1250" y="169"/>
                    </a:lnTo>
                    <a:close/>
                    <a:moveTo>
                      <a:pt x="115" y="115"/>
                    </a:moveTo>
                    <a:cubicBezTo>
                      <a:pt x="99" y="115"/>
                      <a:pt x="85" y="129"/>
                      <a:pt x="85" y="145"/>
                    </a:cubicBezTo>
                    <a:cubicBezTo>
                      <a:pt x="85" y="162"/>
                      <a:pt x="99" y="175"/>
                      <a:pt x="115" y="175"/>
                    </a:cubicBezTo>
                    <a:cubicBezTo>
                      <a:pt x="132" y="175"/>
                      <a:pt x="145" y="162"/>
                      <a:pt x="145" y="145"/>
                    </a:cubicBezTo>
                    <a:cubicBezTo>
                      <a:pt x="145" y="129"/>
                      <a:pt x="132" y="115"/>
                      <a:pt x="115" y="115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77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52" name="Freeform 7"/>
              <p:cNvSpPr>
                <a:spLocks/>
              </p:cNvSpPr>
              <p:nvPr/>
            </p:nvSpPr>
            <p:spPr bwMode="auto">
              <a:xfrm rot="11068569">
                <a:off x="3145886" y="2405377"/>
                <a:ext cx="83086" cy="83294"/>
              </a:xfrm>
              <a:custGeom>
                <a:avLst/>
                <a:gdLst/>
                <a:ahLst/>
                <a:cxnLst/>
                <a:rect l="l" t="t" r="r" b="b"/>
                <a:pathLst>
                  <a:path w="281913" h="282618">
                    <a:moveTo>
                      <a:pt x="141765" y="51523"/>
                    </a:moveTo>
                    <a:lnTo>
                      <a:pt x="132619" y="51876"/>
                    </a:lnTo>
                    <a:lnTo>
                      <a:pt x="123473" y="53288"/>
                    </a:lnTo>
                    <a:lnTo>
                      <a:pt x="114678" y="55405"/>
                    </a:lnTo>
                    <a:lnTo>
                      <a:pt x="106588" y="58581"/>
                    </a:lnTo>
                    <a:lnTo>
                      <a:pt x="98497" y="62463"/>
                    </a:lnTo>
                    <a:lnTo>
                      <a:pt x="90758" y="66698"/>
                    </a:lnTo>
                    <a:lnTo>
                      <a:pt x="83722" y="71991"/>
                    </a:lnTo>
                    <a:lnTo>
                      <a:pt x="77390" y="78343"/>
                    </a:lnTo>
                    <a:lnTo>
                      <a:pt x="71410" y="84695"/>
                    </a:lnTo>
                    <a:lnTo>
                      <a:pt x="66134" y="91753"/>
                    </a:lnTo>
                    <a:lnTo>
                      <a:pt x="61560" y="99164"/>
                    </a:lnTo>
                    <a:lnTo>
                      <a:pt x="58043" y="107281"/>
                    </a:lnTo>
                    <a:lnTo>
                      <a:pt x="54877" y="115750"/>
                    </a:lnTo>
                    <a:lnTo>
                      <a:pt x="52766" y="124573"/>
                    </a:lnTo>
                    <a:lnTo>
                      <a:pt x="51007" y="133395"/>
                    </a:lnTo>
                    <a:lnTo>
                      <a:pt x="50655" y="142923"/>
                    </a:lnTo>
                    <a:lnTo>
                      <a:pt x="51359" y="153863"/>
                    </a:lnTo>
                    <a:lnTo>
                      <a:pt x="53470" y="164803"/>
                    </a:lnTo>
                    <a:lnTo>
                      <a:pt x="56636" y="175037"/>
                    </a:lnTo>
                    <a:lnTo>
                      <a:pt x="61209" y="184565"/>
                    </a:lnTo>
                    <a:lnTo>
                      <a:pt x="66485" y="193740"/>
                    </a:lnTo>
                    <a:lnTo>
                      <a:pt x="72817" y="202210"/>
                    </a:lnTo>
                    <a:lnTo>
                      <a:pt x="80204" y="209621"/>
                    </a:lnTo>
                    <a:lnTo>
                      <a:pt x="88025" y="216102"/>
                    </a:lnTo>
                    <a:lnTo>
                      <a:pt x="88082" y="216016"/>
                    </a:lnTo>
                    <a:lnTo>
                      <a:pt x="93711" y="220245"/>
                    </a:lnTo>
                    <a:lnTo>
                      <a:pt x="100043" y="223769"/>
                    </a:lnTo>
                    <a:lnTo>
                      <a:pt x="106375" y="226588"/>
                    </a:lnTo>
                    <a:lnTo>
                      <a:pt x="113410" y="229055"/>
                    </a:lnTo>
                    <a:lnTo>
                      <a:pt x="119742" y="231169"/>
                    </a:lnTo>
                    <a:lnTo>
                      <a:pt x="127130" y="232579"/>
                    </a:lnTo>
                    <a:lnTo>
                      <a:pt x="134165" y="233636"/>
                    </a:lnTo>
                    <a:lnTo>
                      <a:pt x="141553" y="233988"/>
                    </a:lnTo>
                    <a:lnTo>
                      <a:pt x="151051" y="233636"/>
                    </a:lnTo>
                    <a:lnTo>
                      <a:pt x="160197" y="231874"/>
                    </a:lnTo>
                    <a:lnTo>
                      <a:pt x="168640" y="229759"/>
                    </a:lnTo>
                    <a:lnTo>
                      <a:pt x="177434" y="226588"/>
                    </a:lnTo>
                    <a:lnTo>
                      <a:pt x="185525" y="223064"/>
                    </a:lnTo>
                    <a:lnTo>
                      <a:pt x="192561" y="218483"/>
                    </a:lnTo>
                    <a:lnTo>
                      <a:pt x="199597" y="213197"/>
                    </a:lnTo>
                    <a:lnTo>
                      <a:pt x="205929" y="207206"/>
                    </a:lnTo>
                    <a:lnTo>
                      <a:pt x="212261" y="200511"/>
                    </a:lnTo>
                    <a:lnTo>
                      <a:pt x="217537" y="193816"/>
                    </a:lnTo>
                    <a:lnTo>
                      <a:pt x="221759" y="186063"/>
                    </a:lnTo>
                    <a:lnTo>
                      <a:pt x="225628" y="177958"/>
                    </a:lnTo>
                    <a:lnTo>
                      <a:pt x="228794" y="169853"/>
                    </a:lnTo>
                    <a:lnTo>
                      <a:pt x="230905" y="161043"/>
                    </a:lnTo>
                    <a:lnTo>
                      <a:pt x="232312" y="151881"/>
                    </a:lnTo>
                    <a:lnTo>
                      <a:pt x="232664" y="142719"/>
                    </a:lnTo>
                    <a:lnTo>
                      <a:pt x="231960" y="130385"/>
                    </a:lnTo>
                    <a:lnTo>
                      <a:pt x="229498" y="118756"/>
                    </a:lnTo>
                    <a:lnTo>
                      <a:pt x="225980" y="107832"/>
                    </a:lnTo>
                    <a:lnTo>
                      <a:pt x="221055" y="97613"/>
                    </a:lnTo>
                    <a:lnTo>
                      <a:pt x="214371" y="87746"/>
                    </a:lnTo>
                    <a:lnTo>
                      <a:pt x="207336" y="79288"/>
                    </a:lnTo>
                    <a:lnTo>
                      <a:pt x="198893" y="71536"/>
                    </a:lnTo>
                    <a:lnTo>
                      <a:pt x="189395" y="65193"/>
                    </a:lnTo>
                    <a:lnTo>
                      <a:pt x="189411" y="65169"/>
                    </a:lnTo>
                    <a:lnTo>
                      <a:pt x="184330" y="62110"/>
                    </a:lnTo>
                    <a:lnTo>
                      <a:pt x="178701" y="58934"/>
                    </a:lnTo>
                    <a:lnTo>
                      <a:pt x="173073" y="57169"/>
                    </a:lnTo>
                    <a:lnTo>
                      <a:pt x="167444" y="55052"/>
                    </a:lnTo>
                    <a:lnTo>
                      <a:pt x="161113" y="53288"/>
                    </a:lnTo>
                    <a:lnTo>
                      <a:pt x="154781" y="52229"/>
                    </a:lnTo>
                    <a:lnTo>
                      <a:pt x="148449" y="51876"/>
                    </a:lnTo>
                    <a:close/>
                    <a:moveTo>
                      <a:pt x="134378" y="0"/>
                    </a:moveTo>
                    <a:lnTo>
                      <a:pt x="147393" y="0"/>
                    </a:lnTo>
                    <a:lnTo>
                      <a:pt x="151615" y="33172"/>
                    </a:lnTo>
                    <a:lnTo>
                      <a:pt x="154429" y="33525"/>
                    </a:lnTo>
                    <a:lnTo>
                      <a:pt x="156891" y="33878"/>
                    </a:lnTo>
                    <a:lnTo>
                      <a:pt x="159705" y="34231"/>
                    </a:lnTo>
                    <a:lnTo>
                      <a:pt x="162168" y="34584"/>
                    </a:lnTo>
                    <a:lnTo>
                      <a:pt x="164982" y="34937"/>
                    </a:lnTo>
                    <a:lnTo>
                      <a:pt x="167444" y="35996"/>
                    </a:lnTo>
                    <a:lnTo>
                      <a:pt x="169907" y="36348"/>
                    </a:lnTo>
                    <a:lnTo>
                      <a:pt x="172369" y="37054"/>
                    </a:lnTo>
                    <a:lnTo>
                      <a:pt x="188903" y="8117"/>
                    </a:lnTo>
                    <a:lnTo>
                      <a:pt x="200863" y="13057"/>
                    </a:lnTo>
                    <a:lnTo>
                      <a:pt x="192069" y="45524"/>
                    </a:lnTo>
                    <a:lnTo>
                      <a:pt x="194179" y="46582"/>
                    </a:lnTo>
                    <a:lnTo>
                      <a:pt x="196290" y="47641"/>
                    </a:lnTo>
                    <a:lnTo>
                      <a:pt x="197697" y="49053"/>
                    </a:lnTo>
                    <a:lnTo>
                      <a:pt x="199808" y="50111"/>
                    </a:lnTo>
                    <a:lnTo>
                      <a:pt x="199772" y="50165"/>
                    </a:lnTo>
                    <a:lnTo>
                      <a:pt x="202059" y="51802"/>
                    </a:lnTo>
                    <a:lnTo>
                      <a:pt x="204873" y="53564"/>
                    </a:lnTo>
                    <a:lnTo>
                      <a:pt x="207336" y="55326"/>
                    </a:lnTo>
                    <a:lnTo>
                      <a:pt x="209798" y="57440"/>
                    </a:lnTo>
                    <a:lnTo>
                      <a:pt x="236182" y="36649"/>
                    </a:lnTo>
                    <a:lnTo>
                      <a:pt x="244976" y="46164"/>
                    </a:lnTo>
                    <a:lnTo>
                      <a:pt x="224573" y="72241"/>
                    </a:lnTo>
                    <a:lnTo>
                      <a:pt x="227739" y="76469"/>
                    </a:lnTo>
                    <a:lnTo>
                      <a:pt x="230905" y="81050"/>
                    </a:lnTo>
                    <a:lnTo>
                      <a:pt x="233719" y="85279"/>
                    </a:lnTo>
                    <a:lnTo>
                      <a:pt x="236533" y="90213"/>
                    </a:lnTo>
                    <a:lnTo>
                      <a:pt x="268545" y="81403"/>
                    </a:lnTo>
                    <a:lnTo>
                      <a:pt x="273119" y="93032"/>
                    </a:lnTo>
                    <a:lnTo>
                      <a:pt x="244624" y="109594"/>
                    </a:lnTo>
                    <a:lnTo>
                      <a:pt x="245680" y="114880"/>
                    </a:lnTo>
                    <a:lnTo>
                      <a:pt x="247087" y="120166"/>
                    </a:lnTo>
                    <a:lnTo>
                      <a:pt x="247790" y="125452"/>
                    </a:lnTo>
                    <a:lnTo>
                      <a:pt x="248494" y="130738"/>
                    </a:lnTo>
                    <a:lnTo>
                      <a:pt x="281913" y="134966"/>
                    </a:lnTo>
                    <a:lnTo>
                      <a:pt x="281913" y="148005"/>
                    </a:lnTo>
                    <a:lnTo>
                      <a:pt x="248494" y="151881"/>
                    </a:lnTo>
                    <a:lnTo>
                      <a:pt x="247790" y="157167"/>
                    </a:lnTo>
                    <a:lnTo>
                      <a:pt x="247087" y="162453"/>
                    </a:lnTo>
                    <a:lnTo>
                      <a:pt x="245680" y="167739"/>
                    </a:lnTo>
                    <a:lnTo>
                      <a:pt x="244273" y="172672"/>
                    </a:lnTo>
                    <a:lnTo>
                      <a:pt x="273119" y="189234"/>
                    </a:lnTo>
                    <a:lnTo>
                      <a:pt x="268545" y="201568"/>
                    </a:lnTo>
                    <a:lnTo>
                      <a:pt x="236182" y="192406"/>
                    </a:lnTo>
                    <a:lnTo>
                      <a:pt x="233719" y="196987"/>
                    </a:lnTo>
                    <a:lnTo>
                      <a:pt x="230905" y="201568"/>
                    </a:lnTo>
                    <a:lnTo>
                      <a:pt x="227387" y="205797"/>
                    </a:lnTo>
                    <a:lnTo>
                      <a:pt x="224221" y="210026"/>
                    </a:lnTo>
                    <a:lnTo>
                      <a:pt x="244976" y="236807"/>
                    </a:lnTo>
                    <a:lnTo>
                      <a:pt x="236182" y="245617"/>
                    </a:lnTo>
                    <a:lnTo>
                      <a:pt x="209446" y="224826"/>
                    </a:lnTo>
                    <a:lnTo>
                      <a:pt x="207336" y="226588"/>
                    </a:lnTo>
                    <a:lnTo>
                      <a:pt x="204873" y="228350"/>
                    </a:lnTo>
                    <a:lnTo>
                      <a:pt x="202763" y="229759"/>
                    </a:lnTo>
                    <a:lnTo>
                      <a:pt x="200652" y="231521"/>
                    </a:lnTo>
                    <a:lnTo>
                      <a:pt x="198893" y="232579"/>
                    </a:lnTo>
                    <a:lnTo>
                      <a:pt x="196430" y="234341"/>
                    </a:lnTo>
                    <a:lnTo>
                      <a:pt x="194320" y="235398"/>
                    </a:lnTo>
                    <a:lnTo>
                      <a:pt x="191857" y="236807"/>
                    </a:lnTo>
                    <a:lnTo>
                      <a:pt x="200652" y="269227"/>
                    </a:lnTo>
                    <a:lnTo>
                      <a:pt x="188691" y="274513"/>
                    </a:lnTo>
                    <a:lnTo>
                      <a:pt x="172158" y="244912"/>
                    </a:lnTo>
                    <a:lnTo>
                      <a:pt x="169695" y="245617"/>
                    </a:lnTo>
                    <a:lnTo>
                      <a:pt x="166881" y="245969"/>
                    </a:lnTo>
                    <a:lnTo>
                      <a:pt x="164419" y="247027"/>
                    </a:lnTo>
                    <a:lnTo>
                      <a:pt x="161956" y="247379"/>
                    </a:lnTo>
                    <a:lnTo>
                      <a:pt x="159142" y="247731"/>
                    </a:lnTo>
                    <a:lnTo>
                      <a:pt x="156679" y="248084"/>
                    </a:lnTo>
                    <a:lnTo>
                      <a:pt x="153865" y="248436"/>
                    </a:lnTo>
                    <a:lnTo>
                      <a:pt x="151403" y="248789"/>
                    </a:lnTo>
                    <a:lnTo>
                      <a:pt x="147181" y="282618"/>
                    </a:lnTo>
                    <a:lnTo>
                      <a:pt x="134165" y="282618"/>
                    </a:lnTo>
                    <a:lnTo>
                      <a:pt x="129944" y="248789"/>
                    </a:lnTo>
                    <a:lnTo>
                      <a:pt x="127482" y="248436"/>
                    </a:lnTo>
                    <a:lnTo>
                      <a:pt x="124667" y="248084"/>
                    </a:lnTo>
                    <a:lnTo>
                      <a:pt x="122205" y="247731"/>
                    </a:lnTo>
                    <a:lnTo>
                      <a:pt x="119742" y="247379"/>
                    </a:lnTo>
                    <a:lnTo>
                      <a:pt x="116928" y="247027"/>
                    </a:lnTo>
                    <a:lnTo>
                      <a:pt x="114466" y="245969"/>
                    </a:lnTo>
                    <a:lnTo>
                      <a:pt x="112003" y="245617"/>
                    </a:lnTo>
                    <a:lnTo>
                      <a:pt x="109541" y="244912"/>
                    </a:lnTo>
                    <a:lnTo>
                      <a:pt x="92655" y="274513"/>
                    </a:lnTo>
                    <a:lnTo>
                      <a:pt x="80695" y="269227"/>
                    </a:lnTo>
                    <a:lnTo>
                      <a:pt x="89841" y="236807"/>
                    </a:lnTo>
                    <a:lnTo>
                      <a:pt x="87027" y="235045"/>
                    </a:lnTo>
                    <a:lnTo>
                      <a:pt x="84213" y="233636"/>
                    </a:lnTo>
                    <a:lnTo>
                      <a:pt x="81750" y="231521"/>
                    </a:lnTo>
                    <a:lnTo>
                      <a:pt x="79241" y="229950"/>
                    </a:lnTo>
                    <a:lnTo>
                      <a:pt x="79149" y="230089"/>
                    </a:lnTo>
                    <a:lnTo>
                      <a:pt x="77390" y="229030"/>
                    </a:lnTo>
                    <a:lnTo>
                      <a:pt x="75631" y="227619"/>
                    </a:lnTo>
                    <a:lnTo>
                      <a:pt x="74224" y="226560"/>
                    </a:lnTo>
                    <a:lnTo>
                      <a:pt x="72465" y="225148"/>
                    </a:lnTo>
                    <a:lnTo>
                      <a:pt x="45731" y="245969"/>
                    </a:lnTo>
                    <a:lnTo>
                      <a:pt x="36936" y="237147"/>
                    </a:lnTo>
                    <a:lnTo>
                      <a:pt x="56987" y="210327"/>
                    </a:lnTo>
                    <a:lnTo>
                      <a:pt x="53821" y="205739"/>
                    </a:lnTo>
                    <a:lnTo>
                      <a:pt x="51007" y="201857"/>
                    </a:lnTo>
                    <a:lnTo>
                      <a:pt x="48193" y="197269"/>
                    </a:lnTo>
                    <a:lnTo>
                      <a:pt x="45379" y="192682"/>
                    </a:lnTo>
                    <a:lnTo>
                      <a:pt x="13367" y="201857"/>
                    </a:lnTo>
                    <a:lnTo>
                      <a:pt x="8443" y="189506"/>
                    </a:lnTo>
                    <a:lnTo>
                      <a:pt x="37640" y="172920"/>
                    </a:lnTo>
                    <a:lnTo>
                      <a:pt x="36585" y="167979"/>
                    </a:lnTo>
                    <a:lnTo>
                      <a:pt x="35177" y="162686"/>
                    </a:lnTo>
                    <a:lnTo>
                      <a:pt x="34474" y="157392"/>
                    </a:lnTo>
                    <a:lnTo>
                      <a:pt x="33770" y="152099"/>
                    </a:lnTo>
                    <a:lnTo>
                      <a:pt x="0" y="148217"/>
                    </a:lnTo>
                    <a:lnTo>
                      <a:pt x="0" y="135160"/>
                    </a:lnTo>
                    <a:lnTo>
                      <a:pt x="33770" y="130572"/>
                    </a:lnTo>
                    <a:lnTo>
                      <a:pt x="34122" y="125278"/>
                    </a:lnTo>
                    <a:lnTo>
                      <a:pt x="35177" y="119985"/>
                    </a:lnTo>
                    <a:lnTo>
                      <a:pt x="36233" y="115044"/>
                    </a:lnTo>
                    <a:lnTo>
                      <a:pt x="37640" y="109751"/>
                    </a:lnTo>
                    <a:lnTo>
                      <a:pt x="8443" y="93165"/>
                    </a:lnTo>
                    <a:lnTo>
                      <a:pt x="13367" y="81519"/>
                    </a:lnTo>
                    <a:lnTo>
                      <a:pt x="45379" y="90342"/>
                    </a:lnTo>
                    <a:lnTo>
                      <a:pt x="47841" y="85401"/>
                    </a:lnTo>
                    <a:lnTo>
                      <a:pt x="50655" y="81166"/>
                    </a:lnTo>
                    <a:lnTo>
                      <a:pt x="53821" y="76932"/>
                    </a:lnTo>
                    <a:lnTo>
                      <a:pt x="56987" y="72344"/>
                    </a:lnTo>
                    <a:lnTo>
                      <a:pt x="36936" y="46230"/>
                    </a:lnTo>
                    <a:lnTo>
                      <a:pt x="45731" y="36701"/>
                    </a:lnTo>
                    <a:lnTo>
                      <a:pt x="72114" y="57522"/>
                    </a:lnTo>
                    <a:lnTo>
                      <a:pt x="74224" y="55758"/>
                    </a:lnTo>
                    <a:lnTo>
                      <a:pt x="76335" y="54346"/>
                    </a:lnTo>
                    <a:lnTo>
                      <a:pt x="78094" y="52582"/>
                    </a:lnTo>
                    <a:lnTo>
                      <a:pt x="80556" y="50817"/>
                    </a:lnTo>
                    <a:lnTo>
                      <a:pt x="82667" y="49759"/>
                    </a:lnTo>
                    <a:lnTo>
                      <a:pt x="85129" y="47994"/>
                    </a:lnTo>
                    <a:lnTo>
                      <a:pt x="87240" y="46935"/>
                    </a:lnTo>
                    <a:lnTo>
                      <a:pt x="89702" y="45524"/>
                    </a:lnTo>
                    <a:lnTo>
                      <a:pt x="80908" y="13057"/>
                    </a:lnTo>
                    <a:lnTo>
                      <a:pt x="92868" y="8117"/>
                    </a:lnTo>
                    <a:lnTo>
                      <a:pt x="109402" y="37054"/>
                    </a:lnTo>
                    <a:lnTo>
                      <a:pt x="111864" y="36348"/>
                    </a:lnTo>
                    <a:lnTo>
                      <a:pt x="114327" y="35996"/>
                    </a:lnTo>
                    <a:lnTo>
                      <a:pt x="117141" y="34937"/>
                    </a:lnTo>
                    <a:lnTo>
                      <a:pt x="119603" y="34584"/>
                    </a:lnTo>
                    <a:lnTo>
                      <a:pt x="122417" y="34231"/>
                    </a:lnTo>
                    <a:lnTo>
                      <a:pt x="124880" y="33878"/>
                    </a:lnTo>
                    <a:lnTo>
                      <a:pt x="127694" y="33525"/>
                    </a:lnTo>
                    <a:lnTo>
                      <a:pt x="130156" y="3317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53" name="Freeform 11"/>
              <p:cNvSpPr>
                <a:spLocks/>
              </p:cNvSpPr>
              <p:nvPr/>
            </p:nvSpPr>
            <p:spPr bwMode="auto">
              <a:xfrm rot="11068569">
                <a:off x="3087238" y="2465425"/>
                <a:ext cx="99704" cy="99496"/>
              </a:xfrm>
              <a:custGeom>
                <a:avLst/>
                <a:gdLst/>
                <a:ahLst/>
                <a:cxnLst/>
                <a:rect l="l" t="t" r="r" b="b"/>
                <a:pathLst>
                  <a:path w="338297" h="337591">
                    <a:moveTo>
                      <a:pt x="164083" y="61316"/>
                    </a:moveTo>
                    <a:lnTo>
                      <a:pt x="153144" y="62373"/>
                    </a:lnTo>
                    <a:lnTo>
                      <a:pt x="142558" y="64840"/>
                    </a:lnTo>
                    <a:lnTo>
                      <a:pt x="132325" y="67659"/>
                    </a:lnTo>
                    <a:lnTo>
                      <a:pt x="122444" y="71888"/>
                    </a:lnTo>
                    <a:lnTo>
                      <a:pt x="113623" y="77174"/>
                    </a:lnTo>
                    <a:lnTo>
                      <a:pt x="104801" y="82812"/>
                    </a:lnTo>
                    <a:lnTo>
                      <a:pt x="96685" y="89860"/>
                    </a:lnTo>
                    <a:lnTo>
                      <a:pt x="89275" y="96908"/>
                    </a:lnTo>
                    <a:lnTo>
                      <a:pt x="82218" y="105013"/>
                    </a:lnTo>
                    <a:lnTo>
                      <a:pt x="76219" y="114175"/>
                    </a:lnTo>
                    <a:lnTo>
                      <a:pt x="71279" y="123337"/>
                    </a:lnTo>
                    <a:lnTo>
                      <a:pt x="67044" y="133557"/>
                    </a:lnTo>
                    <a:lnTo>
                      <a:pt x="63516" y="144128"/>
                    </a:lnTo>
                    <a:lnTo>
                      <a:pt x="61752" y="155052"/>
                    </a:lnTo>
                    <a:lnTo>
                      <a:pt x="60340" y="168443"/>
                    </a:lnTo>
                    <a:lnTo>
                      <a:pt x="60693" y="181482"/>
                    </a:lnTo>
                    <a:lnTo>
                      <a:pt x="62810" y="193815"/>
                    </a:lnTo>
                    <a:lnTo>
                      <a:pt x="66692" y="206502"/>
                    </a:lnTo>
                    <a:lnTo>
                      <a:pt x="71279" y="218483"/>
                    </a:lnTo>
                    <a:lnTo>
                      <a:pt x="77630" y="229407"/>
                    </a:lnTo>
                    <a:lnTo>
                      <a:pt x="84688" y="239274"/>
                    </a:lnTo>
                    <a:lnTo>
                      <a:pt x="93509" y="248789"/>
                    </a:lnTo>
                    <a:lnTo>
                      <a:pt x="93464" y="248838"/>
                    </a:lnTo>
                    <a:lnTo>
                      <a:pt x="99760" y="254427"/>
                    </a:lnTo>
                    <a:lnTo>
                      <a:pt x="106111" y="259713"/>
                    </a:lnTo>
                    <a:lnTo>
                      <a:pt x="113169" y="264294"/>
                    </a:lnTo>
                    <a:lnTo>
                      <a:pt x="120932" y="268170"/>
                    </a:lnTo>
                    <a:lnTo>
                      <a:pt x="128695" y="272046"/>
                    </a:lnTo>
                    <a:lnTo>
                      <a:pt x="136811" y="274865"/>
                    </a:lnTo>
                    <a:lnTo>
                      <a:pt x="145279" y="277332"/>
                    </a:lnTo>
                    <a:lnTo>
                      <a:pt x="154101" y="278742"/>
                    </a:lnTo>
                    <a:lnTo>
                      <a:pt x="165746" y="280151"/>
                    </a:lnTo>
                    <a:lnTo>
                      <a:pt x="176684" y="279447"/>
                    </a:lnTo>
                    <a:lnTo>
                      <a:pt x="187270" y="278389"/>
                    </a:lnTo>
                    <a:lnTo>
                      <a:pt x="197856" y="276275"/>
                    </a:lnTo>
                    <a:lnTo>
                      <a:pt x="207737" y="273103"/>
                    </a:lnTo>
                    <a:lnTo>
                      <a:pt x="217617" y="269227"/>
                    </a:lnTo>
                    <a:lnTo>
                      <a:pt x="226791" y="264294"/>
                    </a:lnTo>
                    <a:lnTo>
                      <a:pt x="235966" y="257951"/>
                    </a:lnTo>
                    <a:lnTo>
                      <a:pt x="244082" y="251608"/>
                    </a:lnTo>
                    <a:lnTo>
                      <a:pt x="251492" y="244207"/>
                    </a:lnTo>
                    <a:lnTo>
                      <a:pt x="258196" y="236102"/>
                    </a:lnTo>
                    <a:lnTo>
                      <a:pt x="263842" y="227293"/>
                    </a:lnTo>
                    <a:lnTo>
                      <a:pt x="269135" y="217778"/>
                    </a:lnTo>
                    <a:lnTo>
                      <a:pt x="273370" y="208263"/>
                    </a:lnTo>
                    <a:lnTo>
                      <a:pt x="276546" y="197692"/>
                    </a:lnTo>
                    <a:lnTo>
                      <a:pt x="278663" y="186768"/>
                    </a:lnTo>
                    <a:lnTo>
                      <a:pt x="279721" y="171967"/>
                    </a:lnTo>
                    <a:lnTo>
                      <a:pt x="279016" y="157871"/>
                    </a:lnTo>
                    <a:lnTo>
                      <a:pt x="276546" y="144128"/>
                    </a:lnTo>
                    <a:lnTo>
                      <a:pt x="272311" y="131090"/>
                    </a:lnTo>
                    <a:lnTo>
                      <a:pt x="266312" y="118404"/>
                    </a:lnTo>
                    <a:lnTo>
                      <a:pt x="259608" y="106775"/>
                    </a:lnTo>
                    <a:lnTo>
                      <a:pt x="250433" y="96203"/>
                    </a:lnTo>
                    <a:lnTo>
                      <a:pt x="240906" y="86688"/>
                    </a:lnTo>
                    <a:lnTo>
                      <a:pt x="240944" y="86647"/>
                    </a:lnTo>
                    <a:lnTo>
                      <a:pt x="234656" y="82460"/>
                    </a:lnTo>
                    <a:lnTo>
                      <a:pt x="228657" y="78231"/>
                    </a:lnTo>
                    <a:lnTo>
                      <a:pt x="222305" y="74355"/>
                    </a:lnTo>
                    <a:lnTo>
                      <a:pt x="215601" y="71183"/>
                    </a:lnTo>
                    <a:lnTo>
                      <a:pt x="208897" y="68012"/>
                    </a:lnTo>
                    <a:lnTo>
                      <a:pt x="201486" y="65897"/>
                    </a:lnTo>
                    <a:lnTo>
                      <a:pt x="193723" y="63783"/>
                    </a:lnTo>
                    <a:lnTo>
                      <a:pt x="185960" y="62373"/>
                    </a:lnTo>
                    <a:lnTo>
                      <a:pt x="175021" y="61316"/>
                    </a:lnTo>
                    <a:close/>
                    <a:moveTo>
                      <a:pt x="185960" y="0"/>
                    </a:moveTo>
                    <a:lnTo>
                      <a:pt x="201486" y="2467"/>
                    </a:lnTo>
                    <a:lnTo>
                      <a:pt x="200781" y="42640"/>
                    </a:lnTo>
                    <a:lnTo>
                      <a:pt x="203956" y="43344"/>
                    </a:lnTo>
                    <a:lnTo>
                      <a:pt x="207132" y="44401"/>
                    </a:lnTo>
                    <a:lnTo>
                      <a:pt x="209955" y="45106"/>
                    </a:lnTo>
                    <a:lnTo>
                      <a:pt x="213131" y="46163"/>
                    </a:lnTo>
                    <a:lnTo>
                      <a:pt x="215954" y="47573"/>
                    </a:lnTo>
                    <a:lnTo>
                      <a:pt x="218777" y="48630"/>
                    </a:lnTo>
                    <a:lnTo>
                      <a:pt x="221600" y="50040"/>
                    </a:lnTo>
                    <a:lnTo>
                      <a:pt x="224776" y="51097"/>
                    </a:lnTo>
                    <a:lnTo>
                      <a:pt x="249476" y="19382"/>
                    </a:lnTo>
                    <a:lnTo>
                      <a:pt x="262885" y="27487"/>
                    </a:lnTo>
                    <a:lnTo>
                      <a:pt x="246653" y="64135"/>
                    </a:lnTo>
                    <a:lnTo>
                      <a:pt x="249123" y="65897"/>
                    </a:lnTo>
                    <a:lnTo>
                      <a:pt x="250888" y="67307"/>
                    </a:lnTo>
                    <a:lnTo>
                      <a:pt x="253005" y="69421"/>
                    </a:lnTo>
                    <a:lnTo>
                      <a:pt x="255122" y="71183"/>
                    </a:lnTo>
                    <a:lnTo>
                      <a:pt x="255081" y="71228"/>
                    </a:lnTo>
                    <a:lnTo>
                      <a:pt x="257844" y="73297"/>
                    </a:lnTo>
                    <a:lnTo>
                      <a:pt x="260314" y="75764"/>
                    </a:lnTo>
                    <a:lnTo>
                      <a:pt x="263137" y="78231"/>
                    </a:lnTo>
                    <a:lnTo>
                      <a:pt x="265607" y="81050"/>
                    </a:lnTo>
                    <a:lnTo>
                      <a:pt x="300540" y="61316"/>
                    </a:lnTo>
                    <a:lnTo>
                      <a:pt x="309715" y="74002"/>
                    </a:lnTo>
                    <a:lnTo>
                      <a:pt x="281133" y="101841"/>
                    </a:lnTo>
                    <a:lnTo>
                      <a:pt x="284309" y="107479"/>
                    </a:lnTo>
                    <a:lnTo>
                      <a:pt x="287131" y="113118"/>
                    </a:lnTo>
                    <a:lnTo>
                      <a:pt x="289602" y="118756"/>
                    </a:lnTo>
                    <a:lnTo>
                      <a:pt x="292072" y="125099"/>
                    </a:lnTo>
                    <a:lnTo>
                      <a:pt x="331945" y="119813"/>
                    </a:lnTo>
                    <a:lnTo>
                      <a:pt x="335474" y="134966"/>
                    </a:lnTo>
                    <a:lnTo>
                      <a:pt x="298070" y="149766"/>
                    </a:lnTo>
                    <a:lnTo>
                      <a:pt x="298776" y="155757"/>
                    </a:lnTo>
                    <a:lnTo>
                      <a:pt x="299129" y="162453"/>
                    </a:lnTo>
                    <a:lnTo>
                      <a:pt x="299129" y="168443"/>
                    </a:lnTo>
                    <a:lnTo>
                      <a:pt x="299129" y="174786"/>
                    </a:lnTo>
                    <a:lnTo>
                      <a:pt x="338297" y="185710"/>
                    </a:lnTo>
                    <a:lnTo>
                      <a:pt x="335827" y="201216"/>
                    </a:lnTo>
                    <a:lnTo>
                      <a:pt x="295600" y="200511"/>
                    </a:lnTo>
                    <a:lnTo>
                      <a:pt x="293836" y="206501"/>
                    </a:lnTo>
                    <a:lnTo>
                      <a:pt x="292072" y="212492"/>
                    </a:lnTo>
                    <a:lnTo>
                      <a:pt x="289602" y="218835"/>
                    </a:lnTo>
                    <a:lnTo>
                      <a:pt x="287131" y="224473"/>
                    </a:lnTo>
                    <a:lnTo>
                      <a:pt x="318889" y="249141"/>
                    </a:lnTo>
                    <a:lnTo>
                      <a:pt x="311126" y="262532"/>
                    </a:lnTo>
                    <a:lnTo>
                      <a:pt x="273723" y="246322"/>
                    </a:lnTo>
                    <a:lnTo>
                      <a:pt x="271605" y="248788"/>
                    </a:lnTo>
                    <a:lnTo>
                      <a:pt x="270194" y="251255"/>
                    </a:lnTo>
                    <a:lnTo>
                      <a:pt x="268077" y="253722"/>
                    </a:lnTo>
                    <a:lnTo>
                      <a:pt x="265960" y="256189"/>
                    </a:lnTo>
                    <a:lnTo>
                      <a:pt x="263489" y="258655"/>
                    </a:lnTo>
                    <a:lnTo>
                      <a:pt x="261372" y="260417"/>
                    </a:lnTo>
                    <a:lnTo>
                      <a:pt x="258902" y="262884"/>
                    </a:lnTo>
                    <a:lnTo>
                      <a:pt x="256785" y="264998"/>
                    </a:lnTo>
                    <a:lnTo>
                      <a:pt x="276898" y="299885"/>
                    </a:lnTo>
                    <a:lnTo>
                      <a:pt x="264195" y="309400"/>
                    </a:lnTo>
                    <a:lnTo>
                      <a:pt x="235966" y="280151"/>
                    </a:lnTo>
                    <a:lnTo>
                      <a:pt x="233496" y="281561"/>
                    </a:lnTo>
                    <a:lnTo>
                      <a:pt x="230673" y="282970"/>
                    </a:lnTo>
                    <a:lnTo>
                      <a:pt x="227850" y="284380"/>
                    </a:lnTo>
                    <a:lnTo>
                      <a:pt x="225027" y="285790"/>
                    </a:lnTo>
                    <a:lnTo>
                      <a:pt x="222204" y="286847"/>
                    </a:lnTo>
                    <a:lnTo>
                      <a:pt x="219381" y="288256"/>
                    </a:lnTo>
                    <a:lnTo>
                      <a:pt x="215853" y="289313"/>
                    </a:lnTo>
                    <a:lnTo>
                      <a:pt x="213030" y="290723"/>
                    </a:lnTo>
                    <a:lnTo>
                      <a:pt x="218323" y="331248"/>
                    </a:lnTo>
                    <a:lnTo>
                      <a:pt x="202797" y="334772"/>
                    </a:lnTo>
                    <a:lnTo>
                      <a:pt x="188329" y="297066"/>
                    </a:lnTo>
                    <a:lnTo>
                      <a:pt x="185153" y="297418"/>
                    </a:lnTo>
                    <a:lnTo>
                      <a:pt x="182330" y="297771"/>
                    </a:lnTo>
                    <a:lnTo>
                      <a:pt x="179155" y="298123"/>
                    </a:lnTo>
                    <a:lnTo>
                      <a:pt x="175626" y="298123"/>
                    </a:lnTo>
                    <a:lnTo>
                      <a:pt x="172803" y="298123"/>
                    </a:lnTo>
                    <a:lnTo>
                      <a:pt x="169627" y="298123"/>
                    </a:lnTo>
                    <a:lnTo>
                      <a:pt x="166451" y="298123"/>
                    </a:lnTo>
                    <a:lnTo>
                      <a:pt x="163276" y="298123"/>
                    </a:lnTo>
                    <a:lnTo>
                      <a:pt x="152337" y="337591"/>
                    </a:lnTo>
                    <a:lnTo>
                      <a:pt x="136811" y="335124"/>
                    </a:lnTo>
                    <a:lnTo>
                      <a:pt x="137516" y="294599"/>
                    </a:lnTo>
                    <a:lnTo>
                      <a:pt x="134693" y="293895"/>
                    </a:lnTo>
                    <a:lnTo>
                      <a:pt x="131518" y="292837"/>
                    </a:lnTo>
                    <a:lnTo>
                      <a:pt x="128695" y="292133"/>
                    </a:lnTo>
                    <a:lnTo>
                      <a:pt x="125519" y="291075"/>
                    </a:lnTo>
                    <a:lnTo>
                      <a:pt x="122343" y="289666"/>
                    </a:lnTo>
                    <a:lnTo>
                      <a:pt x="119520" y="288609"/>
                    </a:lnTo>
                    <a:lnTo>
                      <a:pt x="116697" y="287199"/>
                    </a:lnTo>
                    <a:lnTo>
                      <a:pt x="113874" y="286142"/>
                    </a:lnTo>
                    <a:lnTo>
                      <a:pt x="88821" y="318210"/>
                    </a:lnTo>
                    <a:lnTo>
                      <a:pt x="75412" y="310457"/>
                    </a:lnTo>
                    <a:lnTo>
                      <a:pt x="91644" y="273103"/>
                    </a:lnTo>
                    <a:lnTo>
                      <a:pt x="88821" y="270989"/>
                    </a:lnTo>
                    <a:lnTo>
                      <a:pt x="85998" y="268522"/>
                    </a:lnTo>
                    <a:lnTo>
                      <a:pt x="83175" y="266056"/>
                    </a:lnTo>
                    <a:lnTo>
                      <a:pt x="80352" y="263237"/>
                    </a:lnTo>
                    <a:lnTo>
                      <a:pt x="80394" y="263190"/>
                    </a:lnTo>
                    <a:lnTo>
                      <a:pt x="78689" y="261827"/>
                    </a:lnTo>
                    <a:lnTo>
                      <a:pt x="76572" y="260065"/>
                    </a:lnTo>
                    <a:lnTo>
                      <a:pt x="75160" y="257951"/>
                    </a:lnTo>
                    <a:lnTo>
                      <a:pt x="73043" y="256541"/>
                    </a:lnTo>
                    <a:lnTo>
                      <a:pt x="37757" y="276275"/>
                    </a:lnTo>
                    <a:lnTo>
                      <a:pt x="28229" y="264294"/>
                    </a:lnTo>
                    <a:lnTo>
                      <a:pt x="57517" y="235750"/>
                    </a:lnTo>
                    <a:lnTo>
                      <a:pt x="54694" y="230464"/>
                    </a:lnTo>
                    <a:lnTo>
                      <a:pt x="51871" y="224826"/>
                    </a:lnTo>
                    <a:lnTo>
                      <a:pt x="49401" y="219188"/>
                    </a:lnTo>
                    <a:lnTo>
                      <a:pt x="46931" y="213197"/>
                    </a:lnTo>
                    <a:lnTo>
                      <a:pt x="6352" y="218483"/>
                    </a:lnTo>
                    <a:lnTo>
                      <a:pt x="2823" y="202978"/>
                    </a:lnTo>
                    <a:lnTo>
                      <a:pt x="40580" y="188177"/>
                    </a:lnTo>
                    <a:lnTo>
                      <a:pt x="39874" y="182187"/>
                    </a:lnTo>
                    <a:lnTo>
                      <a:pt x="39168" y="175844"/>
                    </a:lnTo>
                    <a:lnTo>
                      <a:pt x="39168" y="169500"/>
                    </a:lnTo>
                    <a:lnTo>
                      <a:pt x="39168" y="163157"/>
                    </a:lnTo>
                    <a:lnTo>
                      <a:pt x="0" y="152233"/>
                    </a:lnTo>
                    <a:lnTo>
                      <a:pt x="2470" y="136728"/>
                    </a:lnTo>
                    <a:lnTo>
                      <a:pt x="43050" y="137433"/>
                    </a:lnTo>
                    <a:lnTo>
                      <a:pt x="44461" y="131442"/>
                    </a:lnTo>
                    <a:lnTo>
                      <a:pt x="46578" y="125452"/>
                    </a:lnTo>
                    <a:lnTo>
                      <a:pt x="48695" y="119461"/>
                    </a:lnTo>
                    <a:lnTo>
                      <a:pt x="51166" y="113470"/>
                    </a:lnTo>
                    <a:lnTo>
                      <a:pt x="19408" y="88803"/>
                    </a:lnTo>
                    <a:lnTo>
                      <a:pt x="27171" y="75412"/>
                    </a:lnTo>
                    <a:lnTo>
                      <a:pt x="64222" y="91622"/>
                    </a:lnTo>
                    <a:lnTo>
                      <a:pt x="65986" y="89155"/>
                    </a:lnTo>
                    <a:lnTo>
                      <a:pt x="68103" y="86336"/>
                    </a:lnTo>
                    <a:lnTo>
                      <a:pt x="70220" y="83869"/>
                    </a:lnTo>
                    <a:lnTo>
                      <a:pt x="72337" y="81403"/>
                    </a:lnTo>
                    <a:lnTo>
                      <a:pt x="74808" y="79641"/>
                    </a:lnTo>
                    <a:lnTo>
                      <a:pt x="76572" y="77174"/>
                    </a:lnTo>
                    <a:lnTo>
                      <a:pt x="78689" y="74707"/>
                    </a:lnTo>
                    <a:lnTo>
                      <a:pt x="81159" y="72593"/>
                    </a:lnTo>
                    <a:lnTo>
                      <a:pt x="61399" y="37706"/>
                    </a:lnTo>
                    <a:lnTo>
                      <a:pt x="73749" y="28544"/>
                    </a:lnTo>
                    <a:lnTo>
                      <a:pt x="101978" y="57088"/>
                    </a:lnTo>
                    <a:lnTo>
                      <a:pt x="104801" y="55678"/>
                    </a:lnTo>
                    <a:lnTo>
                      <a:pt x="107624" y="54268"/>
                    </a:lnTo>
                    <a:lnTo>
                      <a:pt x="110447" y="52859"/>
                    </a:lnTo>
                    <a:lnTo>
                      <a:pt x="113270" y="51097"/>
                    </a:lnTo>
                    <a:lnTo>
                      <a:pt x="116093" y="50040"/>
                    </a:lnTo>
                    <a:lnTo>
                      <a:pt x="118916" y="48630"/>
                    </a:lnTo>
                    <a:lnTo>
                      <a:pt x="122092" y="47573"/>
                    </a:lnTo>
                    <a:lnTo>
                      <a:pt x="124914" y="46163"/>
                    </a:lnTo>
                    <a:lnTo>
                      <a:pt x="119622" y="6343"/>
                    </a:lnTo>
                    <a:lnTo>
                      <a:pt x="135148" y="2819"/>
                    </a:lnTo>
                    <a:lnTo>
                      <a:pt x="149968" y="40173"/>
                    </a:lnTo>
                    <a:lnTo>
                      <a:pt x="153144" y="39820"/>
                    </a:lnTo>
                    <a:lnTo>
                      <a:pt x="155967" y="39468"/>
                    </a:lnTo>
                    <a:lnTo>
                      <a:pt x="159142" y="39116"/>
                    </a:lnTo>
                    <a:lnTo>
                      <a:pt x="162318" y="38411"/>
                    </a:lnTo>
                    <a:lnTo>
                      <a:pt x="165847" y="38411"/>
                    </a:lnTo>
                    <a:lnTo>
                      <a:pt x="169023" y="38411"/>
                    </a:lnTo>
                    <a:lnTo>
                      <a:pt x="172198" y="38411"/>
                    </a:lnTo>
                    <a:lnTo>
                      <a:pt x="175374" y="3841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54" name="Freeform 15"/>
              <p:cNvSpPr>
                <a:spLocks/>
              </p:cNvSpPr>
              <p:nvPr/>
            </p:nvSpPr>
            <p:spPr bwMode="auto">
              <a:xfrm rot="11068569">
                <a:off x="3202117" y="2447899"/>
                <a:ext cx="118813" cy="117359"/>
              </a:xfrm>
              <a:custGeom>
                <a:avLst/>
                <a:gdLst/>
                <a:ahLst/>
                <a:cxnLst/>
                <a:rect l="l" t="t" r="r" b="b"/>
                <a:pathLst>
                  <a:path w="403136" h="398203">
                    <a:moveTo>
                      <a:pt x="201831" y="59258"/>
                    </a:moveTo>
                    <a:lnTo>
                      <a:pt x="187364" y="59963"/>
                    </a:lnTo>
                    <a:lnTo>
                      <a:pt x="173250" y="62080"/>
                    </a:lnTo>
                    <a:lnTo>
                      <a:pt x="159136" y="65960"/>
                    </a:lnTo>
                    <a:lnTo>
                      <a:pt x="146434" y="70545"/>
                    </a:lnTo>
                    <a:lnTo>
                      <a:pt x="133731" y="76894"/>
                    </a:lnTo>
                    <a:lnTo>
                      <a:pt x="122087" y="83596"/>
                    </a:lnTo>
                    <a:lnTo>
                      <a:pt x="110443" y="92061"/>
                    </a:lnTo>
                    <a:lnTo>
                      <a:pt x="100210" y="101232"/>
                    </a:lnTo>
                    <a:lnTo>
                      <a:pt x="91389" y="111461"/>
                    </a:lnTo>
                    <a:lnTo>
                      <a:pt x="82920" y="122395"/>
                    </a:lnTo>
                    <a:lnTo>
                      <a:pt x="75863" y="134035"/>
                    </a:lnTo>
                    <a:lnTo>
                      <a:pt x="69865" y="146733"/>
                    </a:lnTo>
                    <a:lnTo>
                      <a:pt x="64925" y="159784"/>
                    </a:lnTo>
                    <a:lnTo>
                      <a:pt x="61396" y="173540"/>
                    </a:lnTo>
                    <a:lnTo>
                      <a:pt x="59279" y="187649"/>
                    </a:lnTo>
                    <a:lnTo>
                      <a:pt x="58574" y="202464"/>
                    </a:lnTo>
                    <a:lnTo>
                      <a:pt x="58926" y="213398"/>
                    </a:lnTo>
                    <a:lnTo>
                      <a:pt x="59985" y="223980"/>
                    </a:lnTo>
                    <a:lnTo>
                      <a:pt x="62102" y="234209"/>
                    </a:lnTo>
                    <a:lnTo>
                      <a:pt x="64925" y="244438"/>
                    </a:lnTo>
                    <a:lnTo>
                      <a:pt x="68101" y="254667"/>
                    </a:lnTo>
                    <a:lnTo>
                      <a:pt x="72688" y="264191"/>
                    </a:lnTo>
                    <a:lnTo>
                      <a:pt x="77628" y="273361"/>
                    </a:lnTo>
                    <a:lnTo>
                      <a:pt x="82920" y="281827"/>
                    </a:lnTo>
                    <a:lnTo>
                      <a:pt x="88919" y="290292"/>
                    </a:lnTo>
                    <a:lnTo>
                      <a:pt x="95976" y="298052"/>
                    </a:lnTo>
                    <a:lnTo>
                      <a:pt x="102680" y="305812"/>
                    </a:lnTo>
                    <a:lnTo>
                      <a:pt x="110443" y="312514"/>
                    </a:lnTo>
                    <a:lnTo>
                      <a:pt x="118558" y="318863"/>
                    </a:lnTo>
                    <a:lnTo>
                      <a:pt x="127732" y="324506"/>
                    </a:lnTo>
                    <a:lnTo>
                      <a:pt x="136554" y="329445"/>
                    </a:lnTo>
                    <a:lnTo>
                      <a:pt x="145728" y="334030"/>
                    </a:lnTo>
                    <a:lnTo>
                      <a:pt x="145687" y="334128"/>
                    </a:lnTo>
                    <a:lnTo>
                      <a:pt x="152210" y="336534"/>
                    </a:lnTo>
                    <a:lnTo>
                      <a:pt x="158544" y="338649"/>
                    </a:lnTo>
                    <a:lnTo>
                      <a:pt x="165583" y="340763"/>
                    </a:lnTo>
                    <a:lnTo>
                      <a:pt x="172270" y="342525"/>
                    </a:lnTo>
                    <a:lnTo>
                      <a:pt x="179660" y="343582"/>
                    </a:lnTo>
                    <a:lnTo>
                      <a:pt x="187051" y="344640"/>
                    </a:lnTo>
                    <a:lnTo>
                      <a:pt x="194441" y="345344"/>
                    </a:lnTo>
                    <a:lnTo>
                      <a:pt x="201480" y="345344"/>
                    </a:lnTo>
                    <a:lnTo>
                      <a:pt x="216261" y="344640"/>
                    </a:lnTo>
                    <a:lnTo>
                      <a:pt x="230338" y="342525"/>
                    </a:lnTo>
                    <a:lnTo>
                      <a:pt x="244064" y="338649"/>
                    </a:lnTo>
                    <a:lnTo>
                      <a:pt x="257085" y="334068"/>
                    </a:lnTo>
                    <a:lnTo>
                      <a:pt x="269754" y="327725"/>
                    </a:lnTo>
                    <a:lnTo>
                      <a:pt x="281368" y="321029"/>
                    </a:lnTo>
                    <a:lnTo>
                      <a:pt x="292278" y="312572"/>
                    </a:lnTo>
                    <a:lnTo>
                      <a:pt x="302484" y="303410"/>
                    </a:lnTo>
                    <a:lnTo>
                      <a:pt x="311282" y="293190"/>
                    </a:lnTo>
                    <a:lnTo>
                      <a:pt x="320080" y="282266"/>
                    </a:lnTo>
                    <a:lnTo>
                      <a:pt x="326767" y="270637"/>
                    </a:lnTo>
                    <a:lnTo>
                      <a:pt x="333102" y="257951"/>
                    </a:lnTo>
                    <a:lnTo>
                      <a:pt x="337677" y="244912"/>
                    </a:lnTo>
                    <a:lnTo>
                      <a:pt x="341548" y="231169"/>
                    </a:lnTo>
                    <a:lnTo>
                      <a:pt x="343308" y="217073"/>
                    </a:lnTo>
                    <a:lnTo>
                      <a:pt x="344364" y="202625"/>
                    </a:lnTo>
                    <a:lnTo>
                      <a:pt x="344012" y="191349"/>
                    </a:lnTo>
                    <a:lnTo>
                      <a:pt x="342604" y="180425"/>
                    </a:lnTo>
                    <a:lnTo>
                      <a:pt x="340492" y="169853"/>
                    </a:lnTo>
                    <a:lnTo>
                      <a:pt x="337677" y="159986"/>
                    </a:lnTo>
                    <a:lnTo>
                      <a:pt x="334510" y="150119"/>
                    </a:lnTo>
                    <a:lnTo>
                      <a:pt x="329934" y="140252"/>
                    </a:lnTo>
                    <a:lnTo>
                      <a:pt x="325711" y="131442"/>
                    </a:lnTo>
                    <a:lnTo>
                      <a:pt x="320080" y="122632"/>
                    </a:lnTo>
                    <a:lnTo>
                      <a:pt x="313746" y="114527"/>
                    </a:lnTo>
                    <a:lnTo>
                      <a:pt x="307411" y="106422"/>
                    </a:lnTo>
                    <a:lnTo>
                      <a:pt x="300020" y="99022"/>
                    </a:lnTo>
                    <a:lnTo>
                      <a:pt x="292278" y="91974"/>
                    </a:lnTo>
                    <a:lnTo>
                      <a:pt x="284183" y="85983"/>
                    </a:lnTo>
                    <a:lnTo>
                      <a:pt x="275737" y="80345"/>
                    </a:lnTo>
                    <a:lnTo>
                      <a:pt x="266587" y="75412"/>
                    </a:lnTo>
                    <a:lnTo>
                      <a:pt x="257085" y="70831"/>
                    </a:lnTo>
                    <a:lnTo>
                      <a:pt x="257261" y="70421"/>
                    </a:lnTo>
                    <a:lnTo>
                      <a:pt x="251230" y="68076"/>
                    </a:lnTo>
                    <a:lnTo>
                      <a:pt x="244526" y="65960"/>
                    </a:lnTo>
                    <a:lnTo>
                      <a:pt x="237822" y="63843"/>
                    </a:lnTo>
                    <a:lnTo>
                      <a:pt x="230765" y="62080"/>
                    </a:lnTo>
                    <a:lnTo>
                      <a:pt x="223355" y="61021"/>
                    </a:lnTo>
                    <a:lnTo>
                      <a:pt x="216651" y="59963"/>
                    </a:lnTo>
                    <a:lnTo>
                      <a:pt x="209241" y="59258"/>
                    </a:lnTo>
                    <a:close/>
                    <a:moveTo>
                      <a:pt x="172545" y="0"/>
                    </a:moveTo>
                    <a:lnTo>
                      <a:pt x="185247" y="26807"/>
                    </a:lnTo>
                    <a:lnTo>
                      <a:pt x="189834" y="26454"/>
                    </a:lnTo>
                    <a:lnTo>
                      <a:pt x="194069" y="26102"/>
                    </a:lnTo>
                    <a:lnTo>
                      <a:pt x="198303" y="26102"/>
                    </a:lnTo>
                    <a:lnTo>
                      <a:pt x="202890" y="26102"/>
                    </a:lnTo>
                    <a:lnTo>
                      <a:pt x="206771" y="26102"/>
                    </a:lnTo>
                    <a:lnTo>
                      <a:pt x="211358" y="26454"/>
                    </a:lnTo>
                    <a:lnTo>
                      <a:pt x="215240" y="26454"/>
                    </a:lnTo>
                    <a:lnTo>
                      <a:pt x="219827" y="26807"/>
                    </a:lnTo>
                    <a:lnTo>
                      <a:pt x="232882" y="1058"/>
                    </a:lnTo>
                    <a:lnTo>
                      <a:pt x="253700" y="5291"/>
                    </a:lnTo>
                    <a:lnTo>
                      <a:pt x="253700" y="33862"/>
                    </a:lnTo>
                    <a:lnTo>
                      <a:pt x="255465" y="34567"/>
                    </a:lnTo>
                    <a:lnTo>
                      <a:pt x="257934" y="35273"/>
                    </a:lnTo>
                    <a:lnTo>
                      <a:pt x="260051" y="35978"/>
                    </a:lnTo>
                    <a:lnTo>
                      <a:pt x="262169" y="37036"/>
                    </a:lnTo>
                    <a:lnTo>
                      <a:pt x="264286" y="37742"/>
                    </a:lnTo>
                    <a:lnTo>
                      <a:pt x="266403" y="38447"/>
                    </a:lnTo>
                    <a:lnTo>
                      <a:pt x="268520" y="39505"/>
                    </a:lnTo>
                    <a:lnTo>
                      <a:pt x="270637" y="40211"/>
                    </a:lnTo>
                    <a:lnTo>
                      <a:pt x="270452" y="40640"/>
                    </a:lnTo>
                    <a:lnTo>
                      <a:pt x="272218" y="41230"/>
                    </a:lnTo>
                    <a:lnTo>
                      <a:pt x="273625" y="42287"/>
                    </a:lnTo>
                    <a:lnTo>
                      <a:pt x="275737" y="42992"/>
                    </a:lnTo>
                    <a:lnTo>
                      <a:pt x="277497" y="43696"/>
                    </a:lnTo>
                    <a:lnTo>
                      <a:pt x="279608" y="44754"/>
                    </a:lnTo>
                    <a:lnTo>
                      <a:pt x="281016" y="45811"/>
                    </a:lnTo>
                    <a:lnTo>
                      <a:pt x="283128" y="46516"/>
                    </a:lnTo>
                    <a:lnTo>
                      <a:pt x="284535" y="47573"/>
                    </a:lnTo>
                    <a:lnTo>
                      <a:pt x="305651" y="28191"/>
                    </a:lnTo>
                    <a:lnTo>
                      <a:pt x="323248" y="39820"/>
                    </a:lnTo>
                    <a:lnTo>
                      <a:pt x="313042" y="66954"/>
                    </a:lnTo>
                    <a:lnTo>
                      <a:pt x="316209" y="69773"/>
                    </a:lnTo>
                    <a:lnTo>
                      <a:pt x="319728" y="72593"/>
                    </a:lnTo>
                    <a:lnTo>
                      <a:pt x="322544" y="75412"/>
                    </a:lnTo>
                    <a:lnTo>
                      <a:pt x="325711" y="78231"/>
                    </a:lnTo>
                    <a:lnTo>
                      <a:pt x="328527" y="81402"/>
                    </a:lnTo>
                    <a:lnTo>
                      <a:pt x="331342" y="84926"/>
                    </a:lnTo>
                    <a:lnTo>
                      <a:pt x="334158" y="88098"/>
                    </a:lnTo>
                    <a:lnTo>
                      <a:pt x="336973" y="91269"/>
                    </a:lnTo>
                    <a:lnTo>
                      <a:pt x="364072" y="81050"/>
                    </a:lnTo>
                    <a:lnTo>
                      <a:pt x="375333" y="98670"/>
                    </a:lnTo>
                    <a:lnTo>
                      <a:pt x="355977" y="120166"/>
                    </a:lnTo>
                    <a:lnTo>
                      <a:pt x="357737" y="123689"/>
                    </a:lnTo>
                    <a:lnTo>
                      <a:pt x="359849" y="127918"/>
                    </a:lnTo>
                    <a:lnTo>
                      <a:pt x="361256" y="131794"/>
                    </a:lnTo>
                    <a:lnTo>
                      <a:pt x="363016" y="135318"/>
                    </a:lnTo>
                    <a:lnTo>
                      <a:pt x="364424" y="139547"/>
                    </a:lnTo>
                    <a:lnTo>
                      <a:pt x="365831" y="143776"/>
                    </a:lnTo>
                    <a:lnTo>
                      <a:pt x="367239" y="147652"/>
                    </a:lnTo>
                    <a:lnTo>
                      <a:pt x="368647" y="151881"/>
                    </a:lnTo>
                    <a:lnTo>
                      <a:pt x="398913" y="152233"/>
                    </a:lnTo>
                    <a:lnTo>
                      <a:pt x="403136" y="172672"/>
                    </a:lnTo>
                    <a:lnTo>
                      <a:pt x="374630" y="185358"/>
                    </a:lnTo>
                    <a:lnTo>
                      <a:pt x="375333" y="194168"/>
                    </a:lnTo>
                    <a:lnTo>
                      <a:pt x="375333" y="202978"/>
                    </a:lnTo>
                    <a:lnTo>
                      <a:pt x="374982" y="211435"/>
                    </a:lnTo>
                    <a:lnTo>
                      <a:pt x="374278" y="219540"/>
                    </a:lnTo>
                    <a:lnTo>
                      <a:pt x="400321" y="231169"/>
                    </a:lnTo>
                    <a:lnTo>
                      <a:pt x="396097" y="251608"/>
                    </a:lnTo>
                    <a:lnTo>
                      <a:pt x="367943" y="253017"/>
                    </a:lnTo>
                    <a:lnTo>
                      <a:pt x="366535" y="257246"/>
                    </a:lnTo>
                    <a:lnTo>
                      <a:pt x="365127" y="260770"/>
                    </a:lnTo>
                    <a:lnTo>
                      <a:pt x="363720" y="264999"/>
                    </a:lnTo>
                    <a:lnTo>
                      <a:pt x="361960" y="268875"/>
                    </a:lnTo>
                    <a:lnTo>
                      <a:pt x="360552" y="273104"/>
                    </a:lnTo>
                    <a:lnTo>
                      <a:pt x="358441" y="276628"/>
                    </a:lnTo>
                    <a:lnTo>
                      <a:pt x="356681" y="280856"/>
                    </a:lnTo>
                    <a:lnTo>
                      <a:pt x="354921" y="284380"/>
                    </a:lnTo>
                    <a:lnTo>
                      <a:pt x="372166" y="304819"/>
                    </a:lnTo>
                    <a:lnTo>
                      <a:pt x="360904" y="322086"/>
                    </a:lnTo>
                    <a:lnTo>
                      <a:pt x="335213" y="312924"/>
                    </a:lnTo>
                    <a:lnTo>
                      <a:pt x="332398" y="316096"/>
                    </a:lnTo>
                    <a:lnTo>
                      <a:pt x="329582" y="319267"/>
                    </a:lnTo>
                    <a:lnTo>
                      <a:pt x="326767" y="322086"/>
                    </a:lnTo>
                    <a:lnTo>
                      <a:pt x="323952" y="325258"/>
                    </a:lnTo>
                    <a:lnTo>
                      <a:pt x="320784" y="328429"/>
                    </a:lnTo>
                    <a:lnTo>
                      <a:pt x="317617" y="331249"/>
                    </a:lnTo>
                    <a:lnTo>
                      <a:pt x="314449" y="334068"/>
                    </a:lnTo>
                    <a:lnTo>
                      <a:pt x="310930" y="336887"/>
                    </a:lnTo>
                    <a:lnTo>
                      <a:pt x="321136" y="364373"/>
                    </a:lnTo>
                    <a:lnTo>
                      <a:pt x="303892" y="375650"/>
                    </a:lnTo>
                    <a:lnTo>
                      <a:pt x="282424" y="355564"/>
                    </a:lnTo>
                    <a:lnTo>
                      <a:pt x="278553" y="357326"/>
                    </a:lnTo>
                    <a:lnTo>
                      <a:pt x="275033" y="359088"/>
                    </a:lnTo>
                    <a:lnTo>
                      <a:pt x="270810" y="361202"/>
                    </a:lnTo>
                    <a:lnTo>
                      <a:pt x="267291" y="362612"/>
                    </a:lnTo>
                    <a:lnTo>
                      <a:pt x="263068" y="364373"/>
                    </a:lnTo>
                    <a:lnTo>
                      <a:pt x="259196" y="365431"/>
                    </a:lnTo>
                    <a:lnTo>
                      <a:pt x="254973" y="367193"/>
                    </a:lnTo>
                    <a:lnTo>
                      <a:pt x="251102" y="368602"/>
                    </a:lnTo>
                    <a:lnTo>
                      <a:pt x="247935" y="393270"/>
                    </a:lnTo>
                    <a:lnTo>
                      <a:pt x="227523" y="397146"/>
                    </a:lnTo>
                    <a:lnTo>
                      <a:pt x="216965" y="374945"/>
                    </a:lnTo>
                    <a:lnTo>
                      <a:pt x="213094" y="375298"/>
                    </a:lnTo>
                    <a:lnTo>
                      <a:pt x="208519" y="375650"/>
                    </a:lnTo>
                    <a:lnTo>
                      <a:pt x="204295" y="375650"/>
                    </a:lnTo>
                    <a:lnTo>
                      <a:pt x="200424" y="375650"/>
                    </a:lnTo>
                    <a:lnTo>
                      <a:pt x="195849" y="375650"/>
                    </a:lnTo>
                    <a:lnTo>
                      <a:pt x="191978" y="375298"/>
                    </a:lnTo>
                    <a:lnTo>
                      <a:pt x="187403" y="375298"/>
                    </a:lnTo>
                    <a:lnTo>
                      <a:pt x="183531" y="374945"/>
                    </a:lnTo>
                    <a:lnTo>
                      <a:pt x="171214" y="398203"/>
                    </a:lnTo>
                    <a:lnTo>
                      <a:pt x="150802" y="393974"/>
                    </a:lnTo>
                    <a:lnTo>
                      <a:pt x="149746" y="367897"/>
                    </a:lnTo>
                    <a:lnTo>
                      <a:pt x="147635" y="367193"/>
                    </a:lnTo>
                    <a:lnTo>
                      <a:pt x="145523" y="366488"/>
                    </a:lnTo>
                    <a:lnTo>
                      <a:pt x="143763" y="366135"/>
                    </a:lnTo>
                    <a:lnTo>
                      <a:pt x="142004" y="365078"/>
                    </a:lnTo>
                    <a:lnTo>
                      <a:pt x="139892" y="364373"/>
                    </a:lnTo>
                    <a:lnTo>
                      <a:pt x="138132" y="363669"/>
                    </a:lnTo>
                    <a:lnTo>
                      <a:pt x="136021" y="362612"/>
                    </a:lnTo>
                    <a:lnTo>
                      <a:pt x="133909" y="361907"/>
                    </a:lnTo>
                    <a:lnTo>
                      <a:pt x="133935" y="361845"/>
                    </a:lnTo>
                    <a:lnTo>
                      <a:pt x="131967" y="361190"/>
                    </a:lnTo>
                    <a:lnTo>
                      <a:pt x="130202" y="360132"/>
                    </a:lnTo>
                    <a:lnTo>
                      <a:pt x="128085" y="359426"/>
                    </a:lnTo>
                    <a:lnTo>
                      <a:pt x="126321" y="358721"/>
                    </a:lnTo>
                    <a:lnTo>
                      <a:pt x="124204" y="357310"/>
                    </a:lnTo>
                    <a:lnTo>
                      <a:pt x="122440" y="356604"/>
                    </a:lnTo>
                    <a:lnTo>
                      <a:pt x="120675" y="355899"/>
                    </a:lnTo>
                    <a:lnTo>
                      <a:pt x="118558" y="354488"/>
                    </a:lnTo>
                    <a:lnTo>
                      <a:pt x="96682" y="373535"/>
                    </a:lnTo>
                    <a:lnTo>
                      <a:pt x="79745" y="361895"/>
                    </a:lnTo>
                    <a:lnTo>
                      <a:pt x="89977" y="335441"/>
                    </a:lnTo>
                    <a:lnTo>
                      <a:pt x="86449" y="332619"/>
                    </a:lnTo>
                    <a:lnTo>
                      <a:pt x="83273" y="329797"/>
                    </a:lnTo>
                    <a:lnTo>
                      <a:pt x="80450" y="326976"/>
                    </a:lnTo>
                    <a:lnTo>
                      <a:pt x="77275" y="324154"/>
                    </a:lnTo>
                    <a:lnTo>
                      <a:pt x="74452" y="320979"/>
                    </a:lnTo>
                    <a:lnTo>
                      <a:pt x="71629" y="318157"/>
                    </a:lnTo>
                    <a:lnTo>
                      <a:pt x="68806" y="314983"/>
                    </a:lnTo>
                    <a:lnTo>
                      <a:pt x="65983" y="311456"/>
                    </a:lnTo>
                    <a:lnTo>
                      <a:pt x="39520" y="320627"/>
                    </a:lnTo>
                    <a:lnTo>
                      <a:pt x="27876" y="302990"/>
                    </a:lnTo>
                    <a:lnTo>
                      <a:pt x="46577" y="282885"/>
                    </a:lnTo>
                    <a:lnTo>
                      <a:pt x="44812" y="279005"/>
                    </a:lnTo>
                    <a:lnTo>
                      <a:pt x="43048" y="275125"/>
                    </a:lnTo>
                    <a:lnTo>
                      <a:pt x="41284" y="271245"/>
                    </a:lnTo>
                    <a:lnTo>
                      <a:pt x="39872" y="267365"/>
                    </a:lnTo>
                    <a:lnTo>
                      <a:pt x="38108" y="263132"/>
                    </a:lnTo>
                    <a:lnTo>
                      <a:pt x="36697" y="259252"/>
                    </a:lnTo>
                    <a:lnTo>
                      <a:pt x="35285" y="255020"/>
                    </a:lnTo>
                    <a:lnTo>
                      <a:pt x="34227" y="251140"/>
                    </a:lnTo>
                    <a:lnTo>
                      <a:pt x="4234" y="250082"/>
                    </a:lnTo>
                    <a:lnTo>
                      <a:pt x="0" y="229976"/>
                    </a:lnTo>
                    <a:lnTo>
                      <a:pt x="27170" y="217631"/>
                    </a:lnTo>
                    <a:lnTo>
                      <a:pt x="26817" y="209166"/>
                    </a:lnTo>
                    <a:lnTo>
                      <a:pt x="26817" y="200700"/>
                    </a:lnTo>
                    <a:lnTo>
                      <a:pt x="26817" y="192235"/>
                    </a:lnTo>
                    <a:lnTo>
                      <a:pt x="27170" y="183769"/>
                    </a:lnTo>
                    <a:lnTo>
                      <a:pt x="0" y="169661"/>
                    </a:lnTo>
                    <a:lnTo>
                      <a:pt x="4234" y="149203"/>
                    </a:lnTo>
                    <a:lnTo>
                      <a:pt x="34227" y="149908"/>
                    </a:lnTo>
                    <a:lnTo>
                      <a:pt x="35285" y="145675"/>
                    </a:lnTo>
                    <a:lnTo>
                      <a:pt x="37050" y="141795"/>
                    </a:lnTo>
                    <a:lnTo>
                      <a:pt x="38108" y="137563"/>
                    </a:lnTo>
                    <a:lnTo>
                      <a:pt x="39872" y="133683"/>
                    </a:lnTo>
                    <a:lnTo>
                      <a:pt x="41990" y="130155"/>
                    </a:lnTo>
                    <a:lnTo>
                      <a:pt x="43401" y="125923"/>
                    </a:lnTo>
                    <a:lnTo>
                      <a:pt x="45518" y="121690"/>
                    </a:lnTo>
                    <a:lnTo>
                      <a:pt x="47635" y="118163"/>
                    </a:lnTo>
                    <a:lnTo>
                      <a:pt x="25053" y="94530"/>
                    </a:lnTo>
                    <a:lnTo>
                      <a:pt x="37050" y="77599"/>
                    </a:lnTo>
                    <a:lnTo>
                      <a:pt x="66689" y="89592"/>
                    </a:lnTo>
                    <a:lnTo>
                      <a:pt x="69512" y="86418"/>
                    </a:lnTo>
                    <a:lnTo>
                      <a:pt x="72335" y="83243"/>
                    </a:lnTo>
                    <a:lnTo>
                      <a:pt x="75158" y="80069"/>
                    </a:lnTo>
                    <a:lnTo>
                      <a:pt x="78333" y="76894"/>
                    </a:lnTo>
                    <a:lnTo>
                      <a:pt x="81156" y="74072"/>
                    </a:lnTo>
                    <a:lnTo>
                      <a:pt x="84685" y="71250"/>
                    </a:lnTo>
                    <a:lnTo>
                      <a:pt x="87860" y="68076"/>
                    </a:lnTo>
                    <a:lnTo>
                      <a:pt x="91036" y="65254"/>
                    </a:lnTo>
                    <a:lnTo>
                      <a:pt x="78686" y="35978"/>
                    </a:lnTo>
                    <a:lnTo>
                      <a:pt x="96329" y="24338"/>
                    </a:lnTo>
                    <a:lnTo>
                      <a:pt x="119617" y="46207"/>
                    </a:lnTo>
                    <a:lnTo>
                      <a:pt x="123145" y="44443"/>
                    </a:lnTo>
                    <a:lnTo>
                      <a:pt x="127027" y="42680"/>
                    </a:lnTo>
                    <a:lnTo>
                      <a:pt x="131261" y="40563"/>
                    </a:lnTo>
                    <a:lnTo>
                      <a:pt x="134789" y="39153"/>
                    </a:lnTo>
                    <a:lnTo>
                      <a:pt x="139024" y="37389"/>
                    </a:lnTo>
                    <a:lnTo>
                      <a:pt x="142905" y="35978"/>
                    </a:lnTo>
                    <a:lnTo>
                      <a:pt x="147492" y="34567"/>
                    </a:lnTo>
                    <a:lnTo>
                      <a:pt x="151726" y="33156"/>
                    </a:lnTo>
                    <a:lnTo>
                      <a:pt x="152079" y="388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55" name="Oval 54"/>
              <p:cNvSpPr/>
              <p:nvPr/>
            </p:nvSpPr>
            <p:spPr>
              <a:xfrm rot="11068569">
                <a:off x="3241167" y="2486223"/>
                <a:ext cx="40712" cy="40712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56" name="Oval 55"/>
              <p:cNvSpPr/>
              <p:nvPr/>
            </p:nvSpPr>
            <p:spPr>
              <a:xfrm rot="11068569">
                <a:off x="3122446" y="2500529"/>
                <a:ext cx="29288" cy="29288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57" name="Oval 56"/>
              <p:cNvSpPr/>
              <p:nvPr/>
            </p:nvSpPr>
            <p:spPr>
              <a:xfrm rot="11068569">
                <a:off x="3175796" y="2435392"/>
                <a:ext cx="23264" cy="23264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8" name="Group 57"/>
            <p:cNvGrpSpPr>
              <a:grpSpLocks noChangeAspect="1"/>
            </p:cNvGrpSpPr>
            <p:nvPr userDrawn="1"/>
          </p:nvGrpSpPr>
          <p:grpSpPr>
            <a:xfrm>
              <a:off x="8202625" y="3290533"/>
              <a:ext cx="91440" cy="131308"/>
              <a:chOff x="4276350" y="2057868"/>
              <a:chExt cx="181590" cy="260763"/>
            </a:xfrm>
            <a:solidFill>
              <a:schemeClr val="bg1">
                <a:lumMod val="85000"/>
                <a:alpha val="30000"/>
              </a:schemeClr>
            </a:solidFill>
          </p:grpSpPr>
          <p:sp>
            <p:nvSpPr>
              <p:cNvPr id="59" name="Freeform 579"/>
              <p:cNvSpPr>
                <a:spLocks/>
              </p:cNvSpPr>
              <p:nvPr/>
            </p:nvSpPr>
            <p:spPr bwMode="auto">
              <a:xfrm>
                <a:off x="4355720" y="2061078"/>
                <a:ext cx="19362" cy="9418"/>
              </a:xfrm>
              <a:custGeom>
                <a:avLst/>
                <a:gdLst>
                  <a:gd name="T0" fmla="*/ 32 w 115"/>
                  <a:gd name="T1" fmla="*/ 0 h 56"/>
                  <a:gd name="T2" fmla="*/ 72 w 115"/>
                  <a:gd name="T3" fmla="*/ 0 h 56"/>
                  <a:gd name="T4" fmla="*/ 0 w 115"/>
                  <a:gd name="T5" fmla="*/ 24 h 56"/>
                  <a:gd name="T6" fmla="*/ 32 w 115"/>
                  <a:gd name="T7" fmla="*/ 0 h 5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15"/>
                  <a:gd name="T13" fmla="*/ 0 h 56"/>
                  <a:gd name="T14" fmla="*/ 115 w 115"/>
                  <a:gd name="T15" fmla="*/ 56 h 5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15" h="56">
                    <a:moveTo>
                      <a:pt x="32" y="0"/>
                    </a:moveTo>
                    <a:cubicBezTo>
                      <a:pt x="45" y="0"/>
                      <a:pt x="59" y="0"/>
                      <a:pt x="72" y="0"/>
                    </a:cubicBezTo>
                    <a:cubicBezTo>
                      <a:pt x="115" y="34"/>
                      <a:pt x="15" y="56"/>
                      <a:pt x="0" y="24"/>
                    </a:cubicBezTo>
                    <a:cubicBezTo>
                      <a:pt x="0" y="5"/>
                      <a:pt x="22" y="8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Freeform 580"/>
              <p:cNvSpPr>
                <a:spLocks/>
              </p:cNvSpPr>
              <p:nvPr/>
            </p:nvSpPr>
            <p:spPr bwMode="auto">
              <a:xfrm>
                <a:off x="4327460" y="2057868"/>
                <a:ext cx="92824" cy="34887"/>
              </a:xfrm>
              <a:custGeom>
                <a:avLst/>
                <a:gdLst>
                  <a:gd name="T0" fmla="*/ 376 w 552"/>
                  <a:gd name="T1" fmla="*/ 75 h 207"/>
                  <a:gd name="T2" fmla="*/ 308 w 552"/>
                  <a:gd name="T3" fmla="*/ 79 h 207"/>
                  <a:gd name="T4" fmla="*/ 452 w 552"/>
                  <a:gd name="T5" fmla="*/ 123 h 207"/>
                  <a:gd name="T6" fmla="*/ 552 w 552"/>
                  <a:gd name="T7" fmla="*/ 207 h 207"/>
                  <a:gd name="T8" fmla="*/ 428 w 552"/>
                  <a:gd name="T9" fmla="*/ 155 h 207"/>
                  <a:gd name="T10" fmla="*/ 200 w 552"/>
                  <a:gd name="T11" fmla="*/ 127 h 207"/>
                  <a:gd name="T12" fmla="*/ 124 w 552"/>
                  <a:gd name="T13" fmla="*/ 111 h 207"/>
                  <a:gd name="T14" fmla="*/ 0 w 552"/>
                  <a:gd name="T15" fmla="*/ 131 h 207"/>
                  <a:gd name="T16" fmla="*/ 224 w 552"/>
                  <a:gd name="T17" fmla="*/ 71 h 207"/>
                  <a:gd name="T18" fmla="*/ 376 w 552"/>
                  <a:gd name="T19" fmla="*/ 75 h 20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52"/>
                  <a:gd name="T31" fmla="*/ 0 h 207"/>
                  <a:gd name="T32" fmla="*/ 552 w 552"/>
                  <a:gd name="T33" fmla="*/ 207 h 207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52" h="207">
                    <a:moveTo>
                      <a:pt x="376" y="75"/>
                    </a:moveTo>
                    <a:cubicBezTo>
                      <a:pt x="349" y="75"/>
                      <a:pt x="328" y="67"/>
                      <a:pt x="308" y="79"/>
                    </a:cubicBezTo>
                    <a:cubicBezTo>
                      <a:pt x="347" y="104"/>
                      <a:pt x="405" y="105"/>
                      <a:pt x="452" y="123"/>
                    </a:cubicBezTo>
                    <a:cubicBezTo>
                      <a:pt x="494" y="139"/>
                      <a:pt x="548" y="155"/>
                      <a:pt x="552" y="207"/>
                    </a:cubicBezTo>
                    <a:cubicBezTo>
                      <a:pt x="510" y="197"/>
                      <a:pt x="473" y="171"/>
                      <a:pt x="428" y="155"/>
                    </a:cubicBezTo>
                    <a:cubicBezTo>
                      <a:pt x="359" y="130"/>
                      <a:pt x="295" y="137"/>
                      <a:pt x="200" y="127"/>
                    </a:cubicBezTo>
                    <a:cubicBezTo>
                      <a:pt x="174" y="124"/>
                      <a:pt x="150" y="111"/>
                      <a:pt x="124" y="111"/>
                    </a:cubicBezTo>
                    <a:cubicBezTo>
                      <a:pt x="77" y="112"/>
                      <a:pt x="41" y="154"/>
                      <a:pt x="0" y="131"/>
                    </a:cubicBezTo>
                    <a:cubicBezTo>
                      <a:pt x="17" y="48"/>
                      <a:pt x="142" y="83"/>
                      <a:pt x="224" y="71"/>
                    </a:cubicBezTo>
                    <a:cubicBezTo>
                      <a:pt x="275" y="64"/>
                      <a:pt x="359" y="0"/>
                      <a:pt x="376" y="75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Freeform 581"/>
              <p:cNvSpPr>
                <a:spLocks/>
              </p:cNvSpPr>
              <p:nvPr/>
            </p:nvSpPr>
            <p:spPr bwMode="auto">
              <a:xfrm>
                <a:off x="4395441" y="2065645"/>
                <a:ext cx="14450" cy="12485"/>
              </a:xfrm>
              <a:custGeom>
                <a:avLst/>
                <a:gdLst>
                  <a:gd name="T0" fmla="*/ 80 w 86"/>
                  <a:gd name="T1" fmla="*/ 65 h 74"/>
                  <a:gd name="T2" fmla="*/ 0 w 86"/>
                  <a:gd name="T3" fmla="*/ 41 h 74"/>
                  <a:gd name="T4" fmla="*/ 80 w 86"/>
                  <a:gd name="T5" fmla="*/ 65 h 74"/>
                  <a:gd name="T6" fmla="*/ 0 60000 65536"/>
                  <a:gd name="T7" fmla="*/ 0 60000 65536"/>
                  <a:gd name="T8" fmla="*/ 0 60000 65536"/>
                  <a:gd name="T9" fmla="*/ 0 w 86"/>
                  <a:gd name="T10" fmla="*/ 0 h 74"/>
                  <a:gd name="T11" fmla="*/ 86 w 86"/>
                  <a:gd name="T12" fmla="*/ 74 h 7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6" h="74">
                    <a:moveTo>
                      <a:pt x="80" y="65"/>
                    </a:moveTo>
                    <a:cubicBezTo>
                      <a:pt x="52" y="74"/>
                      <a:pt x="18" y="55"/>
                      <a:pt x="0" y="41"/>
                    </a:cubicBezTo>
                    <a:cubicBezTo>
                      <a:pt x="8" y="0"/>
                      <a:pt x="86" y="28"/>
                      <a:pt x="80" y="65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Freeform 582"/>
              <p:cNvSpPr>
                <a:spLocks/>
              </p:cNvSpPr>
              <p:nvPr/>
            </p:nvSpPr>
            <p:spPr bwMode="auto">
              <a:xfrm>
                <a:off x="4296709" y="2079271"/>
                <a:ext cx="153330" cy="73484"/>
              </a:xfrm>
              <a:custGeom>
                <a:avLst/>
                <a:gdLst>
                  <a:gd name="T0" fmla="*/ 895 w 912"/>
                  <a:gd name="T1" fmla="*/ 436 h 436"/>
                  <a:gd name="T2" fmla="*/ 831 w 912"/>
                  <a:gd name="T3" fmla="*/ 336 h 436"/>
                  <a:gd name="T4" fmla="*/ 759 w 912"/>
                  <a:gd name="T5" fmla="*/ 248 h 436"/>
                  <a:gd name="T6" fmla="*/ 747 w 912"/>
                  <a:gd name="T7" fmla="*/ 184 h 436"/>
                  <a:gd name="T8" fmla="*/ 491 w 912"/>
                  <a:gd name="T9" fmla="*/ 64 h 436"/>
                  <a:gd name="T10" fmla="*/ 295 w 912"/>
                  <a:gd name="T11" fmla="*/ 44 h 436"/>
                  <a:gd name="T12" fmla="*/ 479 w 912"/>
                  <a:gd name="T13" fmla="*/ 84 h 436"/>
                  <a:gd name="T14" fmla="*/ 727 w 912"/>
                  <a:gd name="T15" fmla="*/ 220 h 436"/>
                  <a:gd name="T16" fmla="*/ 471 w 912"/>
                  <a:gd name="T17" fmla="*/ 120 h 436"/>
                  <a:gd name="T18" fmla="*/ 363 w 912"/>
                  <a:gd name="T19" fmla="*/ 120 h 436"/>
                  <a:gd name="T20" fmla="*/ 275 w 912"/>
                  <a:gd name="T21" fmla="*/ 92 h 436"/>
                  <a:gd name="T22" fmla="*/ 7 w 912"/>
                  <a:gd name="T23" fmla="*/ 216 h 436"/>
                  <a:gd name="T24" fmla="*/ 99 w 912"/>
                  <a:gd name="T25" fmla="*/ 132 h 436"/>
                  <a:gd name="T26" fmla="*/ 251 w 912"/>
                  <a:gd name="T27" fmla="*/ 24 h 436"/>
                  <a:gd name="T28" fmla="*/ 387 w 912"/>
                  <a:gd name="T29" fmla="*/ 24 h 436"/>
                  <a:gd name="T30" fmla="*/ 503 w 912"/>
                  <a:gd name="T31" fmla="*/ 28 h 436"/>
                  <a:gd name="T32" fmla="*/ 779 w 912"/>
                  <a:gd name="T33" fmla="*/ 148 h 436"/>
                  <a:gd name="T34" fmla="*/ 803 w 912"/>
                  <a:gd name="T35" fmla="*/ 228 h 436"/>
                  <a:gd name="T36" fmla="*/ 847 w 912"/>
                  <a:gd name="T37" fmla="*/ 276 h 436"/>
                  <a:gd name="T38" fmla="*/ 895 w 912"/>
                  <a:gd name="T39" fmla="*/ 436 h 4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912"/>
                  <a:gd name="T61" fmla="*/ 0 h 436"/>
                  <a:gd name="T62" fmla="*/ 912 w 912"/>
                  <a:gd name="T63" fmla="*/ 436 h 4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912" h="436">
                    <a:moveTo>
                      <a:pt x="895" y="436"/>
                    </a:moveTo>
                    <a:cubicBezTo>
                      <a:pt x="864" y="406"/>
                      <a:pt x="854" y="371"/>
                      <a:pt x="831" y="336"/>
                    </a:cubicBezTo>
                    <a:cubicBezTo>
                      <a:pt x="811" y="305"/>
                      <a:pt x="772" y="280"/>
                      <a:pt x="759" y="248"/>
                    </a:cubicBezTo>
                    <a:cubicBezTo>
                      <a:pt x="752" y="230"/>
                      <a:pt x="756" y="204"/>
                      <a:pt x="747" y="184"/>
                    </a:cubicBezTo>
                    <a:cubicBezTo>
                      <a:pt x="721" y="123"/>
                      <a:pt x="586" y="71"/>
                      <a:pt x="491" y="64"/>
                    </a:cubicBezTo>
                    <a:cubicBezTo>
                      <a:pt x="413" y="58"/>
                      <a:pt x="362" y="58"/>
                      <a:pt x="295" y="44"/>
                    </a:cubicBezTo>
                    <a:cubicBezTo>
                      <a:pt x="321" y="92"/>
                      <a:pt x="409" y="79"/>
                      <a:pt x="479" y="84"/>
                    </a:cubicBezTo>
                    <a:cubicBezTo>
                      <a:pt x="591" y="92"/>
                      <a:pt x="712" y="133"/>
                      <a:pt x="727" y="220"/>
                    </a:cubicBezTo>
                    <a:cubicBezTo>
                      <a:pt x="646" y="185"/>
                      <a:pt x="577" y="128"/>
                      <a:pt x="471" y="120"/>
                    </a:cubicBezTo>
                    <a:cubicBezTo>
                      <a:pt x="437" y="117"/>
                      <a:pt x="399" y="124"/>
                      <a:pt x="363" y="120"/>
                    </a:cubicBezTo>
                    <a:cubicBezTo>
                      <a:pt x="333" y="116"/>
                      <a:pt x="305" y="94"/>
                      <a:pt x="275" y="92"/>
                    </a:cubicBezTo>
                    <a:cubicBezTo>
                      <a:pt x="165" y="84"/>
                      <a:pt x="112" y="218"/>
                      <a:pt x="7" y="216"/>
                    </a:cubicBezTo>
                    <a:cubicBezTo>
                      <a:pt x="0" y="168"/>
                      <a:pt x="63" y="154"/>
                      <a:pt x="99" y="132"/>
                    </a:cubicBezTo>
                    <a:cubicBezTo>
                      <a:pt x="142" y="106"/>
                      <a:pt x="199" y="55"/>
                      <a:pt x="251" y="24"/>
                    </a:cubicBezTo>
                    <a:cubicBezTo>
                      <a:pt x="292" y="0"/>
                      <a:pt x="338" y="16"/>
                      <a:pt x="387" y="24"/>
                    </a:cubicBezTo>
                    <a:cubicBezTo>
                      <a:pt x="425" y="30"/>
                      <a:pt x="464" y="25"/>
                      <a:pt x="503" y="28"/>
                    </a:cubicBezTo>
                    <a:cubicBezTo>
                      <a:pt x="592" y="34"/>
                      <a:pt x="736" y="87"/>
                      <a:pt x="779" y="148"/>
                    </a:cubicBezTo>
                    <a:cubicBezTo>
                      <a:pt x="796" y="173"/>
                      <a:pt x="793" y="202"/>
                      <a:pt x="803" y="228"/>
                    </a:cubicBezTo>
                    <a:cubicBezTo>
                      <a:pt x="811" y="248"/>
                      <a:pt x="831" y="256"/>
                      <a:pt x="847" y="276"/>
                    </a:cubicBezTo>
                    <a:cubicBezTo>
                      <a:pt x="880" y="315"/>
                      <a:pt x="912" y="375"/>
                      <a:pt x="895" y="436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Freeform 583"/>
              <p:cNvSpPr>
                <a:spLocks/>
              </p:cNvSpPr>
              <p:nvPr/>
            </p:nvSpPr>
            <p:spPr bwMode="auto">
              <a:xfrm>
                <a:off x="4308668" y="2082981"/>
                <a:ext cx="18152" cy="13841"/>
              </a:xfrm>
              <a:custGeom>
                <a:avLst/>
                <a:gdLst>
                  <a:gd name="T0" fmla="*/ 108 w 108"/>
                  <a:gd name="T1" fmla="*/ 10 h 82"/>
                  <a:gd name="T2" fmla="*/ 0 w 108"/>
                  <a:gd name="T3" fmla="*/ 82 h 82"/>
                  <a:gd name="T4" fmla="*/ 108 w 108"/>
                  <a:gd name="T5" fmla="*/ 10 h 82"/>
                  <a:gd name="T6" fmla="*/ 0 60000 65536"/>
                  <a:gd name="T7" fmla="*/ 0 60000 65536"/>
                  <a:gd name="T8" fmla="*/ 0 60000 65536"/>
                  <a:gd name="T9" fmla="*/ 0 w 108"/>
                  <a:gd name="T10" fmla="*/ 0 h 82"/>
                  <a:gd name="T11" fmla="*/ 108 w 108"/>
                  <a:gd name="T12" fmla="*/ 82 h 8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08" h="82">
                    <a:moveTo>
                      <a:pt x="108" y="10"/>
                    </a:moveTo>
                    <a:cubicBezTo>
                      <a:pt x="93" y="53"/>
                      <a:pt x="43" y="81"/>
                      <a:pt x="0" y="82"/>
                    </a:cubicBezTo>
                    <a:cubicBezTo>
                      <a:pt x="14" y="38"/>
                      <a:pt x="53" y="0"/>
                      <a:pt x="108" y="1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Freeform 584"/>
              <p:cNvSpPr>
                <a:spLocks/>
              </p:cNvSpPr>
              <p:nvPr/>
            </p:nvSpPr>
            <p:spPr bwMode="auto">
              <a:xfrm>
                <a:off x="4281760" y="2094824"/>
                <a:ext cx="65204" cy="61284"/>
              </a:xfrm>
              <a:custGeom>
                <a:avLst/>
                <a:gdLst>
                  <a:gd name="T0" fmla="*/ 388 w 388"/>
                  <a:gd name="T1" fmla="*/ 36 h 364"/>
                  <a:gd name="T2" fmla="*/ 220 w 388"/>
                  <a:gd name="T3" fmla="*/ 148 h 364"/>
                  <a:gd name="T4" fmla="*/ 192 w 388"/>
                  <a:gd name="T5" fmla="*/ 200 h 364"/>
                  <a:gd name="T6" fmla="*/ 96 w 388"/>
                  <a:gd name="T7" fmla="*/ 276 h 364"/>
                  <a:gd name="T8" fmla="*/ 12 w 388"/>
                  <a:gd name="T9" fmla="*/ 364 h 364"/>
                  <a:gd name="T10" fmla="*/ 88 w 388"/>
                  <a:gd name="T11" fmla="*/ 232 h 364"/>
                  <a:gd name="T12" fmla="*/ 160 w 388"/>
                  <a:gd name="T13" fmla="*/ 184 h 364"/>
                  <a:gd name="T14" fmla="*/ 208 w 388"/>
                  <a:gd name="T15" fmla="*/ 104 h 364"/>
                  <a:gd name="T16" fmla="*/ 388 w 388"/>
                  <a:gd name="T17" fmla="*/ 36 h 36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88"/>
                  <a:gd name="T28" fmla="*/ 0 h 364"/>
                  <a:gd name="T29" fmla="*/ 388 w 388"/>
                  <a:gd name="T30" fmla="*/ 364 h 36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88" h="364">
                    <a:moveTo>
                      <a:pt x="388" y="36"/>
                    </a:moveTo>
                    <a:cubicBezTo>
                      <a:pt x="327" y="76"/>
                      <a:pt x="262" y="93"/>
                      <a:pt x="220" y="148"/>
                    </a:cubicBezTo>
                    <a:cubicBezTo>
                      <a:pt x="208" y="164"/>
                      <a:pt x="205" y="185"/>
                      <a:pt x="192" y="200"/>
                    </a:cubicBezTo>
                    <a:cubicBezTo>
                      <a:pt x="166" y="229"/>
                      <a:pt x="126" y="246"/>
                      <a:pt x="96" y="276"/>
                    </a:cubicBezTo>
                    <a:cubicBezTo>
                      <a:pt x="66" y="306"/>
                      <a:pt x="53" y="347"/>
                      <a:pt x="12" y="364"/>
                    </a:cubicBezTo>
                    <a:cubicBezTo>
                      <a:pt x="0" y="307"/>
                      <a:pt x="48" y="268"/>
                      <a:pt x="88" y="232"/>
                    </a:cubicBezTo>
                    <a:cubicBezTo>
                      <a:pt x="110" y="212"/>
                      <a:pt x="142" y="202"/>
                      <a:pt x="160" y="184"/>
                    </a:cubicBezTo>
                    <a:cubicBezTo>
                      <a:pt x="179" y="165"/>
                      <a:pt x="187" y="127"/>
                      <a:pt x="208" y="104"/>
                    </a:cubicBezTo>
                    <a:cubicBezTo>
                      <a:pt x="245" y="65"/>
                      <a:pt x="341" y="0"/>
                      <a:pt x="388" y="36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Freeform 585"/>
              <p:cNvSpPr>
                <a:spLocks/>
              </p:cNvSpPr>
              <p:nvPr/>
            </p:nvSpPr>
            <p:spPr bwMode="auto">
              <a:xfrm>
                <a:off x="4321409" y="2100532"/>
                <a:ext cx="136531" cy="134483"/>
              </a:xfrm>
              <a:custGeom>
                <a:avLst/>
                <a:gdLst>
                  <a:gd name="T0" fmla="*/ 812 w 812"/>
                  <a:gd name="T1" fmla="*/ 598 h 798"/>
                  <a:gd name="T2" fmla="*/ 812 w 812"/>
                  <a:gd name="T3" fmla="*/ 682 h 798"/>
                  <a:gd name="T4" fmla="*/ 760 w 812"/>
                  <a:gd name="T5" fmla="*/ 798 h 798"/>
                  <a:gd name="T6" fmla="*/ 772 w 812"/>
                  <a:gd name="T7" fmla="*/ 590 h 798"/>
                  <a:gd name="T8" fmla="*/ 576 w 812"/>
                  <a:gd name="T9" fmla="*/ 182 h 798"/>
                  <a:gd name="T10" fmla="*/ 100 w 812"/>
                  <a:gd name="T11" fmla="*/ 94 h 798"/>
                  <a:gd name="T12" fmla="*/ 0 w 812"/>
                  <a:gd name="T13" fmla="*/ 154 h 798"/>
                  <a:gd name="T14" fmla="*/ 112 w 812"/>
                  <a:gd name="T15" fmla="*/ 50 h 798"/>
                  <a:gd name="T16" fmla="*/ 364 w 812"/>
                  <a:gd name="T17" fmla="*/ 22 h 798"/>
                  <a:gd name="T18" fmla="*/ 812 w 812"/>
                  <a:gd name="T19" fmla="*/ 598 h 79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812"/>
                  <a:gd name="T31" fmla="*/ 0 h 798"/>
                  <a:gd name="T32" fmla="*/ 812 w 812"/>
                  <a:gd name="T33" fmla="*/ 798 h 79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812" h="798">
                    <a:moveTo>
                      <a:pt x="812" y="598"/>
                    </a:moveTo>
                    <a:cubicBezTo>
                      <a:pt x="812" y="626"/>
                      <a:pt x="812" y="654"/>
                      <a:pt x="812" y="682"/>
                    </a:cubicBezTo>
                    <a:cubicBezTo>
                      <a:pt x="796" y="722"/>
                      <a:pt x="801" y="783"/>
                      <a:pt x="760" y="798"/>
                    </a:cubicBezTo>
                    <a:cubicBezTo>
                      <a:pt x="757" y="729"/>
                      <a:pt x="777" y="659"/>
                      <a:pt x="772" y="590"/>
                    </a:cubicBezTo>
                    <a:cubicBezTo>
                      <a:pt x="760" y="437"/>
                      <a:pt x="656" y="264"/>
                      <a:pt x="576" y="182"/>
                    </a:cubicBezTo>
                    <a:cubicBezTo>
                      <a:pt x="477" y="80"/>
                      <a:pt x="267" y="0"/>
                      <a:pt x="100" y="94"/>
                    </a:cubicBezTo>
                    <a:cubicBezTo>
                      <a:pt x="64" y="114"/>
                      <a:pt x="48" y="161"/>
                      <a:pt x="0" y="154"/>
                    </a:cubicBezTo>
                    <a:cubicBezTo>
                      <a:pt x="13" y="101"/>
                      <a:pt x="67" y="72"/>
                      <a:pt x="112" y="50"/>
                    </a:cubicBezTo>
                    <a:cubicBezTo>
                      <a:pt x="181" y="17"/>
                      <a:pt x="283" y="3"/>
                      <a:pt x="364" y="22"/>
                    </a:cubicBezTo>
                    <a:cubicBezTo>
                      <a:pt x="614" y="81"/>
                      <a:pt x="776" y="324"/>
                      <a:pt x="812" y="598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Freeform 586"/>
              <p:cNvSpPr>
                <a:spLocks/>
              </p:cNvSpPr>
              <p:nvPr/>
            </p:nvSpPr>
            <p:spPr bwMode="auto">
              <a:xfrm>
                <a:off x="4276350" y="2113159"/>
                <a:ext cx="171340" cy="115791"/>
              </a:xfrm>
              <a:custGeom>
                <a:avLst/>
                <a:gdLst>
                  <a:gd name="T0" fmla="*/ 0 w 1019"/>
                  <a:gd name="T1" fmla="*/ 467 h 687"/>
                  <a:gd name="T2" fmla="*/ 0 w 1019"/>
                  <a:gd name="T3" fmla="*/ 435 h 687"/>
                  <a:gd name="T4" fmla="*/ 220 w 1019"/>
                  <a:gd name="T5" fmla="*/ 131 h 687"/>
                  <a:gd name="T6" fmla="*/ 296 w 1019"/>
                  <a:gd name="T7" fmla="*/ 103 h 687"/>
                  <a:gd name="T8" fmla="*/ 380 w 1019"/>
                  <a:gd name="T9" fmla="*/ 43 h 687"/>
                  <a:gd name="T10" fmla="*/ 588 w 1019"/>
                  <a:gd name="T11" fmla="*/ 3 h 687"/>
                  <a:gd name="T12" fmla="*/ 844 w 1019"/>
                  <a:gd name="T13" fmla="*/ 143 h 687"/>
                  <a:gd name="T14" fmla="*/ 1012 w 1019"/>
                  <a:gd name="T15" fmla="*/ 551 h 687"/>
                  <a:gd name="T16" fmla="*/ 976 w 1019"/>
                  <a:gd name="T17" fmla="*/ 687 h 687"/>
                  <a:gd name="T18" fmla="*/ 968 w 1019"/>
                  <a:gd name="T19" fmla="*/ 539 h 687"/>
                  <a:gd name="T20" fmla="*/ 820 w 1019"/>
                  <a:gd name="T21" fmla="*/ 187 h 687"/>
                  <a:gd name="T22" fmla="*/ 412 w 1019"/>
                  <a:gd name="T23" fmla="*/ 75 h 687"/>
                  <a:gd name="T24" fmla="*/ 304 w 1019"/>
                  <a:gd name="T25" fmla="*/ 151 h 687"/>
                  <a:gd name="T26" fmla="*/ 232 w 1019"/>
                  <a:gd name="T27" fmla="*/ 171 h 687"/>
                  <a:gd name="T28" fmla="*/ 68 w 1019"/>
                  <a:gd name="T29" fmla="*/ 371 h 687"/>
                  <a:gd name="T30" fmla="*/ 0 w 1019"/>
                  <a:gd name="T31" fmla="*/ 467 h 687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019"/>
                  <a:gd name="T49" fmla="*/ 0 h 687"/>
                  <a:gd name="T50" fmla="*/ 1019 w 1019"/>
                  <a:gd name="T51" fmla="*/ 687 h 687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019" h="687">
                    <a:moveTo>
                      <a:pt x="0" y="467"/>
                    </a:moveTo>
                    <a:cubicBezTo>
                      <a:pt x="0" y="456"/>
                      <a:pt x="0" y="446"/>
                      <a:pt x="0" y="435"/>
                    </a:cubicBezTo>
                    <a:cubicBezTo>
                      <a:pt x="35" y="319"/>
                      <a:pt x="123" y="178"/>
                      <a:pt x="220" y="131"/>
                    </a:cubicBezTo>
                    <a:cubicBezTo>
                      <a:pt x="245" y="119"/>
                      <a:pt x="272" y="115"/>
                      <a:pt x="296" y="103"/>
                    </a:cubicBezTo>
                    <a:cubicBezTo>
                      <a:pt x="329" y="86"/>
                      <a:pt x="354" y="58"/>
                      <a:pt x="380" y="43"/>
                    </a:cubicBezTo>
                    <a:cubicBezTo>
                      <a:pt x="432" y="14"/>
                      <a:pt x="497" y="0"/>
                      <a:pt x="588" y="3"/>
                    </a:cubicBezTo>
                    <a:cubicBezTo>
                      <a:pt x="693" y="7"/>
                      <a:pt x="788" y="78"/>
                      <a:pt x="844" y="143"/>
                    </a:cubicBezTo>
                    <a:cubicBezTo>
                      <a:pt x="930" y="242"/>
                      <a:pt x="1012" y="387"/>
                      <a:pt x="1012" y="551"/>
                    </a:cubicBezTo>
                    <a:cubicBezTo>
                      <a:pt x="1012" y="598"/>
                      <a:pt x="1019" y="653"/>
                      <a:pt x="976" y="687"/>
                    </a:cubicBezTo>
                    <a:cubicBezTo>
                      <a:pt x="955" y="635"/>
                      <a:pt x="970" y="584"/>
                      <a:pt x="968" y="539"/>
                    </a:cubicBezTo>
                    <a:cubicBezTo>
                      <a:pt x="961" y="392"/>
                      <a:pt x="890" y="271"/>
                      <a:pt x="820" y="187"/>
                    </a:cubicBezTo>
                    <a:cubicBezTo>
                      <a:pt x="740" y="91"/>
                      <a:pt x="571" y="0"/>
                      <a:pt x="412" y="75"/>
                    </a:cubicBezTo>
                    <a:cubicBezTo>
                      <a:pt x="373" y="93"/>
                      <a:pt x="347" y="132"/>
                      <a:pt x="304" y="151"/>
                    </a:cubicBezTo>
                    <a:cubicBezTo>
                      <a:pt x="283" y="160"/>
                      <a:pt x="256" y="159"/>
                      <a:pt x="232" y="171"/>
                    </a:cubicBezTo>
                    <a:cubicBezTo>
                      <a:pt x="156" y="208"/>
                      <a:pt x="102" y="300"/>
                      <a:pt x="68" y="371"/>
                    </a:cubicBezTo>
                    <a:cubicBezTo>
                      <a:pt x="52" y="406"/>
                      <a:pt x="34" y="484"/>
                      <a:pt x="0" y="467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" name="Freeform 587"/>
              <p:cNvSpPr>
                <a:spLocks/>
              </p:cNvSpPr>
              <p:nvPr/>
            </p:nvSpPr>
            <p:spPr bwMode="auto">
              <a:xfrm>
                <a:off x="4290302" y="2116370"/>
                <a:ext cx="18365" cy="16837"/>
              </a:xfrm>
              <a:custGeom>
                <a:avLst/>
                <a:gdLst>
                  <a:gd name="T0" fmla="*/ 109 w 109"/>
                  <a:gd name="T1" fmla="*/ 0 h 100"/>
                  <a:gd name="T2" fmla="*/ 1 w 109"/>
                  <a:gd name="T3" fmla="*/ 100 h 100"/>
                  <a:gd name="T4" fmla="*/ 109 w 109"/>
                  <a:gd name="T5" fmla="*/ 0 h 100"/>
                  <a:gd name="T6" fmla="*/ 0 60000 65536"/>
                  <a:gd name="T7" fmla="*/ 0 60000 65536"/>
                  <a:gd name="T8" fmla="*/ 0 60000 65536"/>
                  <a:gd name="T9" fmla="*/ 0 w 109"/>
                  <a:gd name="T10" fmla="*/ 0 h 100"/>
                  <a:gd name="T11" fmla="*/ 109 w 109"/>
                  <a:gd name="T12" fmla="*/ 100 h 1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09" h="100">
                    <a:moveTo>
                      <a:pt x="109" y="0"/>
                    </a:moveTo>
                    <a:cubicBezTo>
                      <a:pt x="102" y="62"/>
                      <a:pt x="47" y="77"/>
                      <a:pt x="1" y="100"/>
                    </a:cubicBezTo>
                    <a:cubicBezTo>
                      <a:pt x="0" y="45"/>
                      <a:pt x="52" y="10"/>
                      <a:pt x="109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Freeform 588"/>
              <p:cNvSpPr>
                <a:spLocks/>
              </p:cNvSpPr>
              <p:nvPr/>
            </p:nvSpPr>
            <p:spPr bwMode="auto">
              <a:xfrm>
                <a:off x="4278699" y="2124931"/>
                <a:ext cx="140232" cy="177504"/>
              </a:xfrm>
              <a:custGeom>
                <a:avLst/>
                <a:gdLst>
                  <a:gd name="T0" fmla="*/ 386 w 834"/>
                  <a:gd name="T1" fmla="*/ 105 h 1053"/>
                  <a:gd name="T2" fmla="*/ 470 w 834"/>
                  <a:gd name="T3" fmla="*/ 85 h 1053"/>
                  <a:gd name="T4" fmla="*/ 834 w 834"/>
                  <a:gd name="T5" fmla="*/ 397 h 1053"/>
                  <a:gd name="T6" fmla="*/ 830 w 834"/>
                  <a:gd name="T7" fmla="*/ 429 h 1053"/>
                  <a:gd name="T8" fmla="*/ 694 w 834"/>
                  <a:gd name="T9" fmla="*/ 869 h 1053"/>
                  <a:gd name="T10" fmla="*/ 542 w 834"/>
                  <a:gd name="T11" fmla="*/ 937 h 1053"/>
                  <a:gd name="T12" fmla="*/ 434 w 834"/>
                  <a:gd name="T13" fmla="*/ 1001 h 1053"/>
                  <a:gd name="T14" fmla="*/ 302 w 834"/>
                  <a:gd name="T15" fmla="*/ 1021 h 1053"/>
                  <a:gd name="T16" fmla="*/ 222 w 834"/>
                  <a:gd name="T17" fmla="*/ 1045 h 1053"/>
                  <a:gd name="T18" fmla="*/ 390 w 834"/>
                  <a:gd name="T19" fmla="*/ 965 h 1053"/>
                  <a:gd name="T20" fmla="*/ 690 w 834"/>
                  <a:gd name="T21" fmla="*/ 625 h 1053"/>
                  <a:gd name="T22" fmla="*/ 714 w 834"/>
                  <a:gd name="T23" fmla="*/ 521 h 1053"/>
                  <a:gd name="T24" fmla="*/ 722 w 834"/>
                  <a:gd name="T25" fmla="*/ 653 h 1053"/>
                  <a:gd name="T26" fmla="*/ 622 w 834"/>
                  <a:gd name="T27" fmla="*/ 861 h 1053"/>
                  <a:gd name="T28" fmla="*/ 766 w 834"/>
                  <a:gd name="T29" fmla="*/ 529 h 1053"/>
                  <a:gd name="T30" fmla="*/ 778 w 834"/>
                  <a:gd name="T31" fmla="*/ 361 h 1053"/>
                  <a:gd name="T32" fmla="*/ 522 w 834"/>
                  <a:gd name="T33" fmla="*/ 133 h 1053"/>
                  <a:gd name="T34" fmla="*/ 326 w 834"/>
                  <a:gd name="T35" fmla="*/ 205 h 1053"/>
                  <a:gd name="T36" fmla="*/ 202 w 834"/>
                  <a:gd name="T37" fmla="*/ 321 h 1053"/>
                  <a:gd name="T38" fmla="*/ 114 w 834"/>
                  <a:gd name="T39" fmla="*/ 505 h 1053"/>
                  <a:gd name="T40" fmla="*/ 18 w 834"/>
                  <a:gd name="T41" fmla="*/ 645 h 1053"/>
                  <a:gd name="T42" fmla="*/ 78 w 834"/>
                  <a:gd name="T43" fmla="*/ 477 h 1053"/>
                  <a:gd name="T44" fmla="*/ 150 w 834"/>
                  <a:gd name="T45" fmla="*/ 309 h 1053"/>
                  <a:gd name="T46" fmla="*/ 266 w 834"/>
                  <a:gd name="T47" fmla="*/ 185 h 1053"/>
                  <a:gd name="T48" fmla="*/ 502 w 834"/>
                  <a:gd name="T49" fmla="*/ 5 h 1053"/>
                  <a:gd name="T50" fmla="*/ 574 w 834"/>
                  <a:gd name="T51" fmla="*/ 25 h 1053"/>
                  <a:gd name="T52" fmla="*/ 470 w 834"/>
                  <a:gd name="T53" fmla="*/ 57 h 1053"/>
                  <a:gd name="T54" fmla="*/ 386 w 834"/>
                  <a:gd name="T55" fmla="*/ 105 h 1053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834"/>
                  <a:gd name="T85" fmla="*/ 0 h 1053"/>
                  <a:gd name="T86" fmla="*/ 834 w 834"/>
                  <a:gd name="T87" fmla="*/ 1053 h 1053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834" h="1053">
                    <a:moveTo>
                      <a:pt x="386" y="105"/>
                    </a:moveTo>
                    <a:cubicBezTo>
                      <a:pt x="419" y="107"/>
                      <a:pt x="441" y="88"/>
                      <a:pt x="470" y="85"/>
                    </a:cubicBezTo>
                    <a:cubicBezTo>
                      <a:pt x="658" y="63"/>
                      <a:pt x="834" y="235"/>
                      <a:pt x="834" y="397"/>
                    </a:cubicBezTo>
                    <a:cubicBezTo>
                      <a:pt x="834" y="407"/>
                      <a:pt x="832" y="420"/>
                      <a:pt x="830" y="429"/>
                    </a:cubicBezTo>
                    <a:cubicBezTo>
                      <a:pt x="792" y="614"/>
                      <a:pt x="805" y="765"/>
                      <a:pt x="694" y="869"/>
                    </a:cubicBezTo>
                    <a:cubicBezTo>
                      <a:pt x="652" y="909"/>
                      <a:pt x="601" y="916"/>
                      <a:pt x="542" y="937"/>
                    </a:cubicBezTo>
                    <a:cubicBezTo>
                      <a:pt x="502" y="951"/>
                      <a:pt x="477" y="984"/>
                      <a:pt x="434" y="1001"/>
                    </a:cubicBezTo>
                    <a:cubicBezTo>
                      <a:pt x="395" y="1017"/>
                      <a:pt x="348" y="1010"/>
                      <a:pt x="302" y="1021"/>
                    </a:cubicBezTo>
                    <a:cubicBezTo>
                      <a:pt x="278" y="1027"/>
                      <a:pt x="256" y="1053"/>
                      <a:pt x="222" y="1045"/>
                    </a:cubicBezTo>
                    <a:cubicBezTo>
                      <a:pt x="220" y="972"/>
                      <a:pt x="328" y="988"/>
                      <a:pt x="390" y="965"/>
                    </a:cubicBezTo>
                    <a:cubicBezTo>
                      <a:pt x="533" y="914"/>
                      <a:pt x="657" y="786"/>
                      <a:pt x="690" y="625"/>
                    </a:cubicBezTo>
                    <a:cubicBezTo>
                      <a:pt x="697" y="593"/>
                      <a:pt x="685" y="552"/>
                      <a:pt x="714" y="521"/>
                    </a:cubicBezTo>
                    <a:cubicBezTo>
                      <a:pt x="764" y="541"/>
                      <a:pt x="733" y="611"/>
                      <a:pt x="722" y="653"/>
                    </a:cubicBezTo>
                    <a:cubicBezTo>
                      <a:pt x="700" y="737"/>
                      <a:pt x="671" y="808"/>
                      <a:pt x="622" y="861"/>
                    </a:cubicBezTo>
                    <a:cubicBezTo>
                      <a:pt x="735" y="819"/>
                      <a:pt x="755" y="678"/>
                      <a:pt x="766" y="529"/>
                    </a:cubicBezTo>
                    <a:cubicBezTo>
                      <a:pt x="771" y="467"/>
                      <a:pt x="790" y="414"/>
                      <a:pt x="778" y="361"/>
                    </a:cubicBezTo>
                    <a:cubicBezTo>
                      <a:pt x="753" y="251"/>
                      <a:pt x="651" y="135"/>
                      <a:pt x="522" y="133"/>
                    </a:cubicBezTo>
                    <a:cubicBezTo>
                      <a:pt x="442" y="132"/>
                      <a:pt x="378" y="164"/>
                      <a:pt x="326" y="205"/>
                    </a:cubicBezTo>
                    <a:cubicBezTo>
                      <a:pt x="288" y="236"/>
                      <a:pt x="235" y="283"/>
                      <a:pt x="202" y="321"/>
                    </a:cubicBezTo>
                    <a:cubicBezTo>
                      <a:pt x="166" y="363"/>
                      <a:pt x="144" y="445"/>
                      <a:pt x="114" y="505"/>
                    </a:cubicBezTo>
                    <a:cubicBezTo>
                      <a:pt x="89" y="556"/>
                      <a:pt x="74" y="622"/>
                      <a:pt x="18" y="645"/>
                    </a:cubicBezTo>
                    <a:cubicBezTo>
                      <a:pt x="0" y="588"/>
                      <a:pt x="50" y="534"/>
                      <a:pt x="78" y="477"/>
                    </a:cubicBezTo>
                    <a:cubicBezTo>
                      <a:pt x="104" y="424"/>
                      <a:pt x="119" y="359"/>
                      <a:pt x="150" y="309"/>
                    </a:cubicBezTo>
                    <a:cubicBezTo>
                      <a:pt x="177" y="264"/>
                      <a:pt x="229" y="225"/>
                      <a:pt x="266" y="185"/>
                    </a:cubicBezTo>
                    <a:cubicBezTo>
                      <a:pt x="341" y="106"/>
                      <a:pt x="369" y="17"/>
                      <a:pt x="502" y="5"/>
                    </a:cubicBezTo>
                    <a:cubicBezTo>
                      <a:pt x="524" y="3"/>
                      <a:pt x="572" y="0"/>
                      <a:pt x="574" y="25"/>
                    </a:cubicBezTo>
                    <a:cubicBezTo>
                      <a:pt x="577" y="58"/>
                      <a:pt x="501" y="50"/>
                      <a:pt x="470" y="57"/>
                    </a:cubicBezTo>
                    <a:cubicBezTo>
                      <a:pt x="435" y="65"/>
                      <a:pt x="401" y="77"/>
                      <a:pt x="386" y="105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" name="Freeform 589"/>
              <p:cNvSpPr>
                <a:spLocks/>
              </p:cNvSpPr>
              <p:nvPr/>
            </p:nvSpPr>
            <p:spPr bwMode="auto">
              <a:xfrm>
                <a:off x="4377929" y="2125145"/>
                <a:ext cx="58157" cy="103805"/>
              </a:xfrm>
              <a:custGeom>
                <a:avLst/>
                <a:gdLst>
                  <a:gd name="T0" fmla="*/ 304 w 346"/>
                  <a:gd name="T1" fmla="*/ 616 h 616"/>
                  <a:gd name="T2" fmla="*/ 300 w 346"/>
                  <a:gd name="T3" fmla="*/ 464 h 616"/>
                  <a:gd name="T4" fmla="*/ 280 w 346"/>
                  <a:gd name="T5" fmla="*/ 412 h 616"/>
                  <a:gd name="T6" fmla="*/ 232 w 346"/>
                  <a:gd name="T7" fmla="*/ 260 h 616"/>
                  <a:gd name="T8" fmla="*/ 80 w 346"/>
                  <a:gd name="T9" fmla="*/ 92 h 616"/>
                  <a:gd name="T10" fmla="*/ 0 w 346"/>
                  <a:gd name="T11" fmla="*/ 32 h 616"/>
                  <a:gd name="T12" fmla="*/ 200 w 346"/>
                  <a:gd name="T13" fmla="*/ 132 h 616"/>
                  <a:gd name="T14" fmla="*/ 340 w 346"/>
                  <a:gd name="T15" fmla="*/ 448 h 616"/>
                  <a:gd name="T16" fmla="*/ 304 w 346"/>
                  <a:gd name="T17" fmla="*/ 616 h 61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46"/>
                  <a:gd name="T28" fmla="*/ 0 h 616"/>
                  <a:gd name="T29" fmla="*/ 346 w 346"/>
                  <a:gd name="T30" fmla="*/ 616 h 61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46" h="616">
                    <a:moveTo>
                      <a:pt x="304" y="616"/>
                    </a:moveTo>
                    <a:cubicBezTo>
                      <a:pt x="276" y="580"/>
                      <a:pt x="309" y="515"/>
                      <a:pt x="300" y="464"/>
                    </a:cubicBezTo>
                    <a:cubicBezTo>
                      <a:pt x="297" y="445"/>
                      <a:pt x="285" y="430"/>
                      <a:pt x="280" y="412"/>
                    </a:cubicBezTo>
                    <a:cubicBezTo>
                      <a:pt x="264" y="354"/>
                      <a:pt x="258" y="308"/>
                      <a:pt x="232" y="260"/>
                    </a:cubicBezTo>
                    <a:cubicBezTo>
                      <a:pt x="197" y="196"/>
                      <a:pt x="138" y="127"/>
                      <a:pt x="80" y="92"/>
                    </a:cubicBezTo>
                    <a:cubicBezTo>
                      <a:pt x="53" y="76"/>
                      <a:pt x="6" y="77"/>
                      <a:pt x="0" y="32"/>
                    </a:cubicBezTo>
                    <a:cubicBezTo>
                      <a:pt x="46" y="0"/>
                      <a:pt x="161" y="84"/>
                      <a:pt x="200" y="132"/>
                    </a:cubicBezTo>
                    <a:cubicBezTo>
                      <a:pt x="269" y="217"/>
                      <a:pt x="332" y="346"/>
                      <a:pt x="340" y="448"/>
                    </a:cubicBezTo>
                    <a:cubicBezTo>
                      <a:pt x="345" y="509"/>
                      <a:pt x="346" y="588"/>
                      <a:pt x="304" y="616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" name="Freeform 590"/>
              <p:cNvSpPr>
                <a:spLocks/>
              </p:cNvSpPr>
              <p:nvPr/>
            </p:nvSpPr>
            <p:spPr bwMode="auto">
              <a:xfrm>
                <a:off x="4278414" y="2142625"/>
                <a:ext cx="47195" cy="70845"/>
              </a:xfrm>
              <a:custGeom>
                <a:avLst/>
                <a:gdLst>
                  <a:gd name="T0" fmla="*/ 276 w 281"/>
                  <a:gd name="T1" fmla="*/ 0 h 420"/>
                  <a:gd name="T2" fmla="*/ 184 w 281"/>
                  <a:gd name="T3" fmla="*/ 116 h 420"/>
                  <a:gd name="T4" fmla="*/ 100 w 281"/>
                  <a:gd name="T5" fmla="*/ 244 h 420"/>
                  <a:gd name="T6" fmla="*/ 8 w 281"/>
                  <a:gd name="T7" fmla="*/ 420 h 420"/>
                  <a:gd name="T8" fmla="*/ 48 w 281"/>
                  <a:gd name="T9" fmla="*/ 268 h 420"/>
                  <a:gd name="T10" fmla="*/ 108 w 281"/>
                  <a:gd name="T11" fmla="*/ 128 h 420"/>
                  <a:gd name="T12" fmla="*/ 268 w 281"/>
                  <a:gd name="T13" fmla="*/ 0 h 420"/>
                  <a:gd name="T14" fmla="*/ 276 w 281"/>
                  <a:gd name="T15" fmla="*/ 0 h 42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81"/>
                  <a:gd name="T25" fmla="*/ 0 h 420"/>
                  <a:gd name="T26" fmla="*/ 281 w 281"/>
                  <a:gd name="T27" fmla="*/ 420 h 42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81" h="420">
                    <a:moveTo>
                      <a:pt x="276" y="0"/>
                    </a:moveTo>
                    <a:cubicBezTo>
                      <a:pt x="281" y="60"/>
                      <a:pt x="217" y="82"/>
                      <a:pt x="184" y="116"/>
                    </a:cubicBezTo>
                    <a:cubicBezTo>
                      <a:pt x="151" y="150"/>
                      <a:pt x="120" y="196"/>
                      <a:pt x="100" y="244"/>
                    </a:cubicBezTo>
                    <a:cubicBezTo>
                      <a:pt x="74" y="306"/>
                      <a:pt x="67" y="380"/>
                      <a:pt x="8" y="420"/>
                    </a:cubicBezTo>
                    <a:cubicBezTo>
                      <a:pt x="0" y="366"/>
                      <a:pt x="29" y="315"/>
                      <a:pt x="48" y="268"/>
                    </a:cubicBezTo>
                    <a:cubicBezTo>
                      <a:pt x="67" y="221"/>
                      <a:pt x="83" y="167"/>
                      <a:pt x="108" y="128"/>
                    </a:cubicBezTo>
                    <a:cubicBezTo>
                      <a:pt x="139" y="81"/>
                      <a:pt x="220" y="27"/>
                      <a:pt x="268" y="0"/>
                    </a:cubicBezTo>
                    <a:cubicBezTo>
                      <a:pt x="271" y="0"/>
                      <a:pt x="273" y="0"/>
                      <a:pt x="276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" name="Freeform 591"/>
              <p:cNvSpPr>
                <a:spLocks/>
              </p:cNvSpPr>
              <p:nvPr/>
            </p:nvSpPr>
            <p:spPr bwMode="auto">
              <a:xfrm>
                <a:off x="4293150" y="2148190"/>
                <a:ext cx="116528" cy="139906"/>
              </a:xfrm>
              <a:custGeom>
                <a:avLst/>
                <a:gdLst>
                  <a:gd name="T0" fmla="*/ 632 w 693"/>
                  <a:gd name="T1" fmla="*/ 363 h 830"/>
                  <a:gd name="T2" fmla="*/ 444 w 693"/>
                  <a:gd name="T3" fmla="*/ 79 h 830"/>
                  <a:gd name="T4" fmla="*/ 260 w 693"/>
                  <a:gd name="T5" fmla="*/ 151 h 830"/>
                  <a:gd name="T6" fmla="*/ 232 w 693"/>
                  <a:gd name="T7" fmla="*/ 187 h 830"/>
                  <a:gd name="T8" fmla="*/ 168 w 693"/>
                  <a:gd name="T9" fmla="*/ 263 h 830"/>
                  <a:gd name="T10" fmla="*/ 524 w 693"/>
                  <a:gd name="T11" fmla="*/ 131 h 830"/>
                  <a:gd name="T12" fmla="*/ 544 w 693"/>
                  <a:gd name="T13" fmla="*/ 571 h 830"/>
                  <a:gd name="T14" fmla="*/ 376 w 693"/>
                  <a:gd name="T15" fmla="*/ 763 h 830"/>
                  <a:gd name="T16" fmla="*/ 304 w 693"/>
                  <a:gd name="T17" fmla="*/ 795 h 830"/>
                  <a:gd name="T18" fmla="*/ 236 w 693"/>
                  <a:gd name="T19" fmla="*/ 819 h 830"/>
                  <a:gd name="T20" fmla="*/ 384 w 693"/>
                  <a:gd name="T21" fmla="*/ 703 h 830"/>
                  <a:gd name="T22" fmla="*/ 528 w 693"/>
                  <a:gd name="T23" fmla="*/ 415 h 830"/>
                  <a:gd name="T24" fmla="*/ 520 w 693"/>
                  <a:gd name="T25" fmla="*/ 191 h 830"/>
                  <a:gd name="T26" fmla="*/ 340 w 693"/>
                  <a:gd name="T27" fmla="*/ 167 h 830"/>
                  <a:gd name="T28" fmla="*/ 260 w 693"/>
                  <a:gd name="T29" fmla="*/ 255 h 830"/>
                  <a:gd name="T30" fmla="*/ 200 w 693"/>
                  <a:gd name="T31" fmla="*/ 307 h 830"/>
                  <a:gd name="T32" fmla="*/ 184 w 693"/>
                  <a:gd name="T33" fmla="*/ 431 h 830"/>
                  <a:gd name="T34" fmla="*/ 116 w 693"/>
                  <a:gd name="T35" fmla="*/ 571 h 830"/>
                  <a:gd name="T36" fmla="*/ 0 w 693"/>
                  <a:gd name="T37" fmla="*/ 651 h 830"/>
                  <a:gd name="T38" fmla="*/ 84 w 693"/>
                  <a:gd name="T39" fmla="*/ 527 h 830"/>
                  <a:gd name="T40" fmla="*/ 124 w 693"/>
                  <a:gd name="T41" fmla="*/ 355 h 830"/>
                  <a:gd name="T42" fmla="*/ 124 w 693"/>
                  <a:gd name="T43" fmla="*/ 223 h 830"/>
                  <a:gd name="T44" fmla="*/ 248 w 693"/>
                  <a:gd name="T45" fmla="*/ 103 h 830"/>
                  <a:gd name="T46" fmla="*/ 644 w 693"/>
                  <a:gd name="T47" fmla="*/ 171 h 830"/>
                  <a:gd name="T48" fmla="*/ 632 w 693"/>
                  <a:gd name="T49" fmla="*/ 363 h 83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693"/>
                  <a:gd name="T76" fmla="*/ 0 h 830"/>
                  <a:gd name="T77" fmla="*/ 693 w 693"/>
                  <a:gd name="T78" fmla="*/ 830 h 830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693" h="830">
                    <a:moveTo>
                      <a:pt x="632" y="363"/>
                    </a:moveTo>
                    <a:cubicBezTo>
                      <a:pt x="628" y="214"/>
                      <a:pt x="580" y="83"/>
                      <a:pt x="444" y="79"/>
                    </a:cubicBezTo>
                    <a:cubicBezTo>
                      <a:pt x="376" y="77"/>
                      <a:pt x="304" y="110"/>
                      <a:pt x="260" y="151"/>
                    </a:cubicBezTo>
                    <a:cubicBezTo>
                      <a:pt x="249" y="161"/>
                      <a:pt x="244" y="175"/>
                      <a:pt x="232" y="187"/>
                    </a:cubicBezTo>
                    <a:cubicBezTo>
                      <a:pt x="209" y="209"/>
                      <a:pt x="160" y="222"/>
                      <a:pt x="168" y="263"/>
                    </a:cubicBezTo>
                    <a:cubicBezTo>
                      <a:pt x="253" y="221"/>
                      <a:pt x="372" y="31"/>
                      <a:pt x="524" y="131"/>
                    </a:cubicBezTo>
                    <a:cubicBezTo>
                      <a:pt x="621" y="195"/>
                      <a:pt x="594" y="461"/>
                      <a:pt x="544" y="571"/>
                    </a:cubicBezTo>
                    <a:cubicBezTo>
                      <a:pt x="509" y="649"/>
                      <a:pt x="440" y="726"/>
                      <a:pt x="376" y="763"/>
                    </a:cubicBezTo>
                    <a:cubicBezTo>
                      <a:pt x="354" y="776"/>
                      <a:pt x="327" y="783"/>
                      <a:pt x="304" y="795"/>
                    </a:cubicBezTo>
                    <a:cubicBezTo>
                      <a:pt x="283" y="806"/>
                      <a:pt x="262" y="830"/>
                      <a:pt x="236" y="819"/>
                    </a:cubicBezTo>
                    <a:cubicBezTo>
                      <a:pt x="260" y="744"/>
                      <a:pt x="331" y="743"/>
                      <a:pt x="384" y="703"/>
                    </a:cubicBezTo>
                    <a:cubicBezTo>
                      <a:pt x="465" y="641"/>
                      <a:pt x="514" y="548"/>
                      <a:pt x="528" y="415"/>
                    </a:cubicBezTo>
                    <a:cubicBezTo>
                      <a:pt x="536" y="339"/>
                      <a:pt x="562" y="251"/>
                      <a:pt x="520" y="191"/>
                    </a:cubicBezTo>
                    <a:cubicBezTo>
                      <a:pt x="484" y="140"/>
                      <a:pt x="396" y="135"/>
                      <a:pt x="340" y="167"/>
                    </a:cubicBezTo>
                    <a:cubicBezTo>
                      <a:pt x="309" y="184"/>
                      <a:pt x="293" y="221"/>
                      <a:pt x="260" y="255"/>
                    </a:cubicBezTo>
                    <a:cubicBezTo>
                      <a:pt x="243" y="273"/>
                      <a:pt x="213" y="285"/>
                      <a:pt x="200" y="307"/>
                    </a:cubicBezTo>
                    <a:cubicBezTo>
                      <a:pt x="179" y="343"/>
                      <a:pt x="192" y="380"/>
                      <a:pt x="184" y="431"/>
                    </a:cubicBezTo>
                    <a:cubicBezTo>
                      <a:pt x="177" y="476"/>
                      <a:pt x="142" y="534"/>
                      <a:pt x="116" y="571"/>
                    </a:cubicBezTo>
                    <a:cubicBezTo>
                      <a:pt x="90" y="608"/>
                      <a:pt x="55" y="652"/>
                      <a:pt x="0" y="651"/>
                    </a:cubicBezTo>
                    <a:cubicBezTo>
                      <a:pt x="5" y="592"/>
                      <a:pt x="59" y="569"/>
                      <a:pt x="84" y="527"/>
                    </a:cubicBezTo>
                    <a:cubicBezTo>
                      <a:pt x="107" y="489"/>
                      <a:pt x="132" y="426"/>
                      <a:pt x="124" y="355"/>
                    </a:cubicBezTo>
                    <a:cubicBezTo>
                      <a:pt x="119" y="309"/>
                      <a:pt x="103" y="267"/>
                      <a:pt x="124" y="223"/>
                    </a:cubicBezTo>
                    <a:cubicBezTo>
                      <a:pt x="145" y="180"/>
                      <a:pt x="204" y="139"/>
                      <a:pt x="248" y="103"/>
                    </a:cubicBezTo>
                    <a:cubicBezTo>
                      <a:pt x="376" y="0"/>
                      <a:pt x="568" y="10"/>
                      <a:pt x="644" y="171"/>
                    </a:cubicBezTo>
                    <a:cubicBezTo>
                      <a:pt x="664" y="213"/>
                      <a:pt x="693" y="346"/>
                      <a:pt x="632" y="363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2" name="Freeform 592"/>
              <p:cNvSpPr>
                <a:spLocks/>
              </p:cNvSpPr>
              <p:nvPr/>
            </p:nvSpPr>
            <p:spPr bwMode="auto">
              <a:xfrm>
                <a:off x="4360917" y="2172517"/>
                <a:ext cx="21854" cy="15268"/>
              </a:xfrm>
              <a:custGeom>
                <a:avLst/>
                <a:gdLst>
                  <a:gd name="T0" fmla="*/ 101 w 130"/>
                  <a:gd name="T1" fmla="*/ 91 h 91"/>
                  <a:gd name="T2" fmla="*/ 17 w 130"/>
                  <a:gd name="T3" fmla="*/ 67 h 91"/>
                  <a:gd name="T4" fmla="*/ 101 w 130"/>
                  <a:gd name="T5" fmla="*/ 91 h 91"/>
                  <a:gd name="T6" fmla="*/ 0 60000 65536"/>
                  <a:gd name="T7" fmla="*/ 0 60000 65536"/>
                  <a:gd name="T8" fmla="*/ 0 60000 65536"/>
                  <a:gd name="T9" fmla="*/ 0 w 130"/>
                  <a:gd name="T10" fmla="*/ 0 h 91"/>
                  <a:gd name="T11" fmla="*/ 130 w 130"/>
                  <a:gd name="T12" fmla="*/ 91 h 9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30" h="91">
                    <a:moveTo>
                      <a:pt x="101" y="91"/>
                    </a:moveTo>
                    <a:cubicBezTo>
                      <a:pt x="75" y="81"/>
                      <a:pt x="51" y="69"/>
                      <a:pt x="17" y="67"/>
                    </a:cubicBezTo>
                    <a:cubicBezTo>
                      <a:pt x="0" y="0"/>
                      <a:pt x="130" y="39"/>
                      <a:pt x="101" y="9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" name="Freeform 593"/>
              <p:cNvSpPr>
                <a:spLocks/>
              </p:cNvSpPr>
              <p:nvPr/>
            </p:nvSpPr>
            <p:spPr bwMode="auto">
              <a:xfrm>
                <a:off x="4323758" y="2173160"/>
                <a:ext cx="37656" cy="44305"/>
              </a:xfrm>
              <a:custGeom>
                <a:avLst/>
                <a:gdLst>
                  <a:gd name="T0" fmla="*/ 222 w 224"/>
                  <a:gd name="T1" fmla="*/ 47 h 263"/>
                  <a:gd name="T2" fmla="*/ 182 w 224"/>
                  <a:gd name="T3" fmla="*/ 79 h 263"/>
                  <a:gd name="T4" fmla="*/ 86 w 224"/>
                  <a:gd name="T5" fmla="*/ 179 h 263"/>
                  <a:gd name="T6" fmla="*/ 34 w 224"/>
                  <a:gd name="T7" fmla="*/ 263 h 263"/>
                  <a:gd name="T8" fmla="*/ 118 w 224"/>
                  <a:gd name="T9" fmla="*/ 91 h 263"/>
                  <a:gd name="T10" fmla="*/ 222 w 224"/>
                  <a:gd name="T11" fmla="*/ 47 h 26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24"/>
                  <a:gd name="T19" fmla="*/ 0 h 263"/>
                  <a:gd name="T20" fmla="*/ 224 w 224"/>
                  <a:gd name="T21" fmla="*/ 263 h 26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24" h="263">
                    <a:moveTo>
                      <a:pt x="222" y="47"/>
                    </a:moveTo>
                    <a:cubicBezTo>
                      <a:pt x="224" y="73"/>
                      <a:pt x="195" y="68"/>
                      <a:pt x="182" y="79"/>
                    </a:cubicBezTo>
                    <a:cubicBezTo>
                      <a:pt x="162" y="122"/>
                      <a:pt x="115" y="143"/>
                      <a:pt x="86" y="179"/>
                    </a:cubicBezTo>
                    <a:cubicBezTo>
                      <a:pt x="65" y="205"/>
                      <a:pt x="68" y="245"/>
                      <a:pt x="34" y="263"/>
                    </a:cubicBezTo>
                    <a:cubicBezTo>
                      <a:pt x="0" y="195"/>
                      <a:pt x="79" y="136"/>
                      <a:pt x="118" y="91"/>
                    </a:cubicBezTo>
                    <a:cubicBezTo>
                      <a:pt x="141" y="65"/>
                      <a:pt x="176" y="0"/>
                      <a:pt x="222" y="47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" name="Freeform 594"/>
              <p:cNvSpPr>
                <a:spLocks/>
              </p:cNvSpPr>
              <p:nvPr/>
            </p:nvSpPr>
            <p:spPr bwMode="auto">
              <a:xfrm>
                <a:off x="4298560" y="2184789"/>
                <a:ext cx="81078" cy="106873"/>
              </a:xfrm>
              <a:custGeom>
                <a:avLst/>
                <a:gdLst>
                  <a:gd name="T0" fmla="*/ 52 w 482"/>
                  <a:gd name="T1" fmla="*/ 614 h 634"/>
                  <a:gd name="T2" fmla="*/ 120 w 482"/>
                  <a:gd name="T3" fmla="*/ 562 h 634"/>
                  <a:gd name="T4" fmla="*/ 236 w 482"/>
                  <a:gd name="T5" fmla="*/ 454 h 634"/>
                  <a:gd name="T6" fmla="*/ 300 w 482"/>
                  <a:gd name="T7" fmla="*/ 430 h 634"/>
                  <a:gd name="T8" fmla="*/ 432 w 482"/>
                  <a:gd name="T9" fmla="*/ 206 h 634"/>
                  <a:gd name="T10" fmla="*/ 428 w 482"/>
                  <a:gd name="T11" fmla="*/ 162 h 634"/>
                  <a:gd name="T12" fmla="*/ 400 w 482"/>
                  <a:gd name="T13" fmla="*/ 58 h 634"/>
                  <a:gd name="T14" fmla="*/ 332 w 482"/>
                  <a:gd name="T15" fmla="*/ 130 h 634"/>
                  <a:gd name="T16" fmla="*/ 64 w 482"/>
                  <a:gd name="T17" fmla="*/ 490 h 634"/>
                  <a:gd name="T18" fmla="*/ 0 w 482"/>
                  <a:gd name="T19" fmla="*/ 506 h 634"/>
                  <a:gd name="T20" fmla="*/ 76 w 482"/>
                  <a:gd name="T21" fmla="*/ 426 h 634"/>
                  <a:gd name="T22" fmla="*/ 240 w 482"/>
                  <a:gd name="T23" fmla="*/ 146 h 634"/>
                  <a:gd name="T24" fmla="*/ 292 w 482"/>
                  <a:gd name="T25" fmla="*/ 102 h 634"/>
                  <a:gd name="T26" fmla="*/ 340 w 482"/>
                  <a:gd name="T27" fmla="*/ 38 h 634"/>
                  <a:gd name="T28" fmla="*/ 480 w 482"/>
                  <a:gd name="T29" fmla="*/ 90 h 634"/>
                  <a:gd name="T30" fmla="*/ 468 w 482"/>
                  <a:gd name="T31" fmla="*/ 166 h 634"/>
                  <a:gd name="T32" fmla="*/ 468 w 482"/>
                  <a:gd name="T33" fmla="*/ 250 h 634"/>
                  <a:gd name="T34" fmla="*/ 356 w 482"/>
                  <a:gd name="T35" fmla="*/ 450 h 634"/>
                  <a:gd name="T36" fmla="*/ 264 w 482"/>
                  <a:gd name="T37" fmla="*/ 494 h 634"/>
                  <a:gd name="T38" fmla="*/ 52 w 482"/>
                  <a:gd name="T39" fmla="*/ 614 h 634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482"/>
                  <a:gd name="T61" fmla="*/ 0 h 634"/>
                  <a:gd name="T62" fmla="*/ 482 w 482"/>
                  <a:gd name="T63" fmla="*/ 634 h 634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482" h="634">
                    <a:moveTo>
                      <a:pt x="52" y="614"/>
                    </a:moveTo>
                    <a:cubicBezTo>
                      <a:pt x="63" y="583"/>
                      <a:pt x="91" y="582"/>
                      <a:pt x="120" y="562"/>
                    </a:cubicBezTo>
                    <a:cubicBezTo>
                      <a:pt x="162" y="533"/>
                      <a:pt x="194" y="478"/>
                      <a:pt x="236" y="454"/>
                    </a:cubicBezTo>
                    <a:cubicBezTo>
                      <a:pt x="255" y="443"/>
                      <a:pt x="279" y="442"/>
                      <a:pt x="300" y="430"/>
                    </a:cubicBezTo>
                    <a:cubicBezTo>
                      <a:pt x="368" y="392"/>
                      <a:pt x="428" y="289"/>
                      <a:pt x="432" y="206"/>
                    </a:cubicBezTo>
                    <a:cubicBezTo>
                      <a:pt x="433" y="191"/>
                      <a:pt x="427" y="176"/>
                      <a:pt x="428" y="162"/>
                    </a:cubicBezTo>
                    <a:cubicBezTo>
                      <a:pt x="430" y="121"/>
                      <a:pt x="449" y="65"/>
                      <a:pt x="400" y="58"/>
                    </a:cubicBezTo>
                    <a:cubicBezTo>
                      <a:pt x="355" y="51"/>
                      <a:pt x="343" y="93"/>
                      <a:pt x="332" y="130"/>
                    </a:cubicBezTo>
                    <a:cubicBezTo>
                      <a:pt x="229" y="219"/>
                      <a:pt x="186" y="413"/>
                      <a:pt x="64" y="490"/>
                    </a:cubicBezTo>
                    <a:cubicBezTo>
                      <a:pt x="48" y="500"/>
                      <a:pt x="23" y="512"/>
                      <a:pt x="0" y="506"/>
                    </a:cubicBezTo>
                    <a:cubicBezTo>
                      <a:pt x="0" y="456"/>
                      <a:pt x="46" y="452"/>
                      <a:pt x="76" y="426"/>
                    </a:cubicBezTo>
                    <a:cubicBezTo>
                      <a:pt x="154" y="358"/>
                      <a:pt x="171" y="230"/>
                      <a:pt x="240" y="146"/>
                    </a:cubicBezTo>
                    <a:cubicBezTo>
                      <a:pt x="253" y="131"/>
                      <a:pt x="276" y="120"/>
                      <a:pt x="292" y="102"/>
                    </a:cubicBezTo>
                    <a:cubicBezTo>
                      <a:pt x="311" y="81"/>
                      <a:pt x="322" y="51"/>
                      <a:pt x="340" y="38"/>
                    </a:cubicBezTo>
                    <a:cubicBezTo>
                      <a:pt x="395" y="0"/>
                      <a:pt x="476" y="32"/>
                      <a:pt x="480" y="90"/>
                    </a:cubicBezTo>
                    <a:cubicBezTo>
                      <a:pt x="482" y="116"/>
                      <a:pt x="470" y="144"/>
                      <a:pt x="468" y="166"/>
                    </a:cubicBezTo>
                    <a:cubicBezTo>
                      <a:pt x="466" y="195"/>
                      <a:pt x="471" y="223"/>
                      <a:pt x="468" y="250"/>
                    </a:cubicBezTo>
                    <a:cubicBezTo>
                      <a:pt x="459" y="329"/>
                      <a:pt x="412" y="407"/>
                      <a:pt x="356" y="450"/>
                    </a:cubicBezTo>
                    <a:cubicBezTo>
                      <a:pt x="330" y="470"/>
                      <a:pt x="294" y="476"/>
                      <a:pt x="264" y="494"/>
                    </a:cubicBezTo>
                    <a:cubicBezTo>
                      <a:pt x="198" y="533"/>
                      <a:pt x="151" y="634"/>
                      <a:pt x="52" y="614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5" name="Freeform 595"/>
              <p:cNvSpPr>
                <a:spLocks noEditPoints="1"/>
              </p:cNvSpPr>
              <p:nvPr/>
            </p:nvSpPr>
            <p:spPr bwMode="auto">
              <a:xfrm>
                <a:off x="4300553" y="2198629"/>
                <a:ext cx="69974" cy="86112"/>
              </a:xfrm>
              <a:custGeom>
                <a:avLst/>
                <a:gdLst>
                  <a:gd name="T0" fmla="*/ 388 w 416"/>
                  <a:gd name="T1" fmla="*/ 0 h 511"/>
                  <a:gd name="T2" fmla="*/ 380 w 416"/>
                  <a:gd name="T3" fmla="*/ 76 h 511"/>
                  <a:gd name="T4" fmla="*/ 308 w 416"/>
                  <a:gd name="T5" fmla="*/ 296 h 511"/>
                  <a:gd name="T6" fmla="*/ 160 w 416"/>
                  <a:gd name="T7" fmla="*/ 392 h 511"/>
                  <a:gd name="T8" fmla="*/ 0 w 416"/>
                  <a:gd name="T9" fmla="*/ 476 h 511"/>
                  <a:gd name="T10" fmla="*/ 76 w 416"/>
                  <a:gd name="T11" fmla="*/ 420 h 511"/>
                  <a:gd name="T12" fmla="*/ 208 w 416"/>
                  <a:gd name="T13" fmla="*/ 276 h 511"/>
                  <a:gd name="T14" fmla="*/ 344 w 416"/>
                  <a:gd name="T15" fmla="*/ 60 h 511"/>
                  <a:gd name="T16" fmla="*/ 380 w 416"/>
                  <a:gd name="T17" fmla="*/ 0 h 511"/>
                  <a:gd name="T18" fmla="*/ 388 w 416"/>
                  <a:gd name="T19" fmla="*/ 0 h 511"/>
                  <a:gd name="T20" fmla="*/ 260 w 416"/>
                  <a:gd name="T21" fmla="*/ 264 h 511"/>
                  <a:gd name="T22" fmla="*/ 344 w 416"/>
                  <a:gd name="T23" fmla="*/ 120 h 511"/>
                  <a:gd name="T24" fmla="*/ 332 w 416"/>
                  <a:gd name="T25" fmla="*/ 116 h 511"/>
                  <a:gd name="T26" fmla="*/ 260 w 416"/>
                  <a:gd name="T27" fmla="*/ 264 h 511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16"/>
                  <a:gd name="T43" fmla="*/ 0 h 511"/>
                  <a:gd name="T44" fmla="*/ 416 w 416"/>
                  <a:gd name="T45" fmla="*/ 511 h 511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16" h="511">
                    <a:moveTo>
                      <a:pt x="388" y="0"/>
                    </a:moveTo>
                    <a:cubicBezTo>
                      <a:pt x="408" y="22"/>
                      <a:pt x="388" y="57"/>
                      <a:pt x="380" y="76"/>
                    </a:cubicBezTo>
                    <a:cubicBezTo>
                      <a:pt x="416" y="121"/>
                      <a:pt x="361" y="271"/>
                      <a:pt x="308" y="296"/>
                    </a:cubicBezTo>
                    <a:cubicBezTo>
                      <a:pt x="246" y="325"/>
                      <a:pt x="203" y="342"/>
                      <a:pt x="160" y="392"/>
                    </a:cubicBezTo>
                    <a:cubicBezTo>
                      <a:pt x="130" y="426"/>
                      <a:pt x="60" y="511"/>
                      <a:pt x="0" y="476"/>
                    </a:cubicBezTo>
                    <a:cubicBezTo>
                      <a:pt x="17" y="440"/>
                      <a:pt x="50" y="439"/>
                      <a:pt x="76" y="420"/>
                    </a:cubicBezTo>
                    <a:cubicBezTo>
                      <a:pt x="106" y="399"/>
                      <a:pt x="194" y="313"/>
                      <a:pt x="208" y="276"/>
                    </a:cubicBezTo>
                    <a:cubicBezTo>
                      <a:pt x="239" y="199"/>
                      <a:pt x="278" y="107"/>
                      <a:pt x="344" y="60"/>
                    </a:cubicBezTo>
                    <a:cubicBezTo>
                      <a:pt x="351" y="35"/>
                      <a:pt x="355" y="6"/>
                      <a:pt x="380" y="0"/>
                    </a:cubicBezTo>
                    <a:cubicBezTo>
                      <a:pt x="383" y="0"/>
                      <a:pt x="385" y="0"/>
                      <a:pt x="388" y="0"/>
                    </a:cubicBezTo>
                    <a:close/>
                    <a:moveTo>
                      <a:pt x="260" y="264"/>
                    </a:moveTo>
                    <a:cubicBezTo>
                      <a:pt x="312" y="258"/>
                      <a:pt x="349" y="183"/>
                      <a:pt x="344" y="120"/>
                    </a:cubicBezTo>
                    <a:cubicBezTo>
                      <a:pt x="339" y="120"/>
                      <a:pt x="339" y="115"/>
                      <a:pt x="332" y="116"/>
                    </a:cubicBezTo>
                    <a:cubicBezTo>
                      <a:pt x="312" y="169"/>
                      <a:pt x="283" y="213"/>
                      <a:pt x="260" y="264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6" name="Freeform 596"/>
              <p:cNvSpPr>
                <a:spLocks/>
              </p:cNvSpPr>
              <p:nvPr/>
            </p:nvSpPr>
            <p:spPr bwMode="auto">
              <a:xfrm>
                <a:off x="4415728" y="2201269"/>
                <a:ext cx="11603" cy="24971"/>
              </a:xfrm>
              <a:custGeom>
                <a:avLst/>
                <a:gdLst>
                  <a:gd name="T0" fmla="*/ 39 w 69"/>
                  <a:gd name="T1" fmla="*/ 0 h 148"/>
                  <a:gd name="T2" fmla="*/ 15 w 69"/>
                  <a:gd name="T3" fmla="*/ 148 h 148"/>
                  <a:gd name="T4" fmla="*/ 39 w 69"/>
                  <a:gd name="T5" fmla="*/ 0 h 148"/>
                  <a:gd name="T6" fmla="*/ 0 60000 65536"/>
                  <a:gd name="T7" fmla="*/ 0 60000 65536"/>
                  <a:gd name="T8" fmla="*/ 0 60000 65536"/>
                  <a:gd name="T9" fmla="*/ 0 w 69"/>
                  <a:gd name="T10" fmla="*/ 0 h 148"/>
                  <a:gd name="T11" fmla="*/ 69 w 69"/>
                  <a:gd name="T12" fmla="*/ 148 h 14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9" h="148">
                    <a:moveTo>
                      <a:pt x="39" y="0"/>
                    </a:moveTo>
                    <a:cubicBezTo>
                      <a:pt x="69" y="30"/>
                      <a:pt x="53" y="134"/>
                      <a:pt x="15" y="148"/>
                    </a:cubicBezTo>
                    <a:cubicBezTo>
                      <a:pt x="13" y="103"/>
                      <a:pt x="0" y="16"/>
                      <a:pt x="39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" name="Freeform 597"/>
              <p:cNvSpPr>
                <a:spLocks/>
              </p:cNvSpPr>
              <p:nvPr/>
            </p:nvSpPr>
            <p:spPr bwMode="auto">
              <a:xfrm>
                <a:off x="4284465" y="2203837"/>
                <a:ext cx="26694" cy="43948"/>
              </a:xfrm>
              <a:custGeom>
                <a:avLst/>
                <a:gdLst>
                  <a:gd name="T0" fmla="*/ 140 w 159"/>
                  <a:gd name="T1" fmla="*/ 5 h 261"/>
                  <a:gd name="T2" fmla="*/ 112 w 159"/>
                  <a:gd name="T3" fmla="*/ 157 h 261"/>
                  <a:gd name="T4" fmla="*/ 20 w 159"/>
                  <a:gd name="T5" fmla="*/ 261 h 261"/>
                  <a:gd name="T6" fmla="*/ 120 w 159"/>
                  <a:gd name="T7" fmla="*/ 13 h 261"/>
                  <a:gd name="T8" fmla="*/ 128 w 159"/>
                  <a:gd name="T9" fmla="*/ 1 h 261"/>
                  <a:gd name="T10" fmla="*/ 140 w 159"/>
                  <a:gd name="T11" fmla="*/ 5 h 26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59"/>
                  <a:gd name="T19" fmla="*/ 0 h 261"/>
                  <a:gd name="T20" fmla="*/ 159 w 159"/>
                  <a:gd name="T21" fmla="*/ 261 h 26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59" h="261">
                    <a:moveTo>
                      <a:pt x="140" y="5"/>
                    </a:moveTo>
                    <a:cubicBezTo>
                      <a:pt x="159" y="62"/>
                      <a:pt x="137" y="118"/>
                      <a:pt x="112" y="157"/>
                    </a:cubicBezTo>
                    <a:cubicBezTo>
                      <a:pt x="87" y="195"/>
                      <a:pt x="54" y="238"/>
                      <a:pt x="20" y="261"/>
                    </a:cubicBezTo>
                    <a:cubicBezTo>
                      <a:pt x="0" y="156"/>
                      <a:pt x="106" y="110"/>
                      <a:pt x="120" y="13"/>
                    </a:cubicBezTo>
                    <a:cubicBezTo>
                      <a:pt x="122" y="8"/>
                      <a:pt x="127" y="7"/>
                      <a:pt x="128" y="1"/>
                    </a:cubicBezTo>
                    <a:cubicBezTo>
                      <a:pt x="135" y="0"/>
                      <a:pt x="135" y="5"/>
                      <a:pt x="140" y="5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" name="Freeform 598"/>
              <p:cNvSpPr>
                <a:spLocks/>
              </p:cNvSpPr>
              <p:nvPr/>
            </p:nvSpPr>
            <p:spPr bwMode="auto">
              <a:xfrm>
                <a:off x="4338209" y="2232304"/>
                <a:ext cx="85279" cy="86327"/>
              </a:xfrm>
              <a:custGeom>
                <a:avLst/>
                <a:gdLst>
                  <a:gd name="T0" fmla="*/ 492 w 507"/>
                  <a:gd name="T1" fmla="*/ 0 h 512"/>
                  <a:gd name="T2" fmla="*/ 444 w 507"/>
                  <a:gd name="T3" fmla="*/ 188 h 512"/>
                  <a:gd name="T4" fmla="*/ 328 w 507"/>
                  <a:gd name="T5" fmla="*/ 324 h 512"/>
                  <a:gd name="T6" fmla="*/ 160 w 507"/>
                  <a:gd name="T7" fmla="*/ 396 h 512"/>
                  <a:gd name="T8" fmla="*/ 316 w 507"/>
                  <a:gd name="T9" fmla="*/ 360 h 512"/>
                  <a:gd name="T10" fmla="*/ 124 w 507"/>
                  <a:gd name="T11" fmla="*/ 444 h 512"/>
                  <a:gd name="T12" fmla="*/ 0 w 507"/>
                  <a:gd name="T13" fmla="*/ 496 h 512"/>
                  <a:gd name="T14" fmla="*/ 56 w 507"/>
                  <a:gd name="T15" fmla="*/ 444 h 512"/>
                  <a:gd name="T16" fmla="*/ 136 w 507"/>
                  <a:gd name="T17" fmla="*/ 356 h 512"/>
                  <a:gd name="T18" fmla="*/ 332 w 507"/>
                  <a:gd name="T19" fmla="*/ 272 h 512"/>
                  <a:gd name="T20" fmla="*/ 472 w 507"/>
                  <a:gd name="T21" fmla="*/ 16 h 512"/>
                  <a:gd name="T22" fmla="*/ 480 w 507"/>
                  <a:gd name="T23" fmla="*/ 0 h 512"/>
                  <a:gd name="T24" fmla="*/ 492 w 507"/>
                  <a:gd name="T25" fmla="*/ 0 h 51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07"/>
                  <a:gd name="T40" fmla="*/ 0 h 512"/>
                  <a:gd name="T41" fmla="*/ 507 w 507"/>
                  <a:gd name="T42" fmla="*/ 512 h 51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07" h="512">
                    <a:moveTo>
                      <a:pt x="492" y="0"/>
                    </a:moveTo>
                    <a:cubicBezTo>
                      <a:pt x="507" y="67"/>
                      <a:pt x="473" y="136"/>
                      <a:pt x="444" y="188"/>
                    </a:cubicBezTo>
                    <a:cubicBezTo>
                      <a:pt x="415" y="240"/>
                      <a:pt x="380" y="296"/>
                      <a:pt x="328" y="324"/>
                    </a:cubicBezTo>
                    <a:cubicBezTo>
                      <a:pt x="274" y="354"/>
                      <a:pt x="207" y="350"/>
                      <a:pt x="160" y="396"/>
                    </a:cubicBezTo>
                    <a:cubicBezTo>
                      <a:pt x="219" y="409"/>
                      <a:pt x="271" y="361"/>
                      <a:pt x="316" y="360"/>
                    </a:cubicBezTo>
                    <a:cubicBezTo>
                      <a:pt x="311" y="453"/>
                      <a:pt x="194" y="419"/>
                      <a:pt x="124" y="444"/>
                    </a:cubicBezTo>
                    <a:cubicBezTo>
                      <a:pt x="78" y="460"/>
                      <a:pt x="50" y="512"/>
                      <a:pt x="0" y="496"/>
                    </a:cubicBezTo>
                    <a:cubicBezTo>
                      <a:pt x="5" y="460"/>
                      <a:pt x="37" y="460"/>
                      <a:pt x="56" y="444"/>
                    </a:cubicBezTo>
                    <a:cubicBezTo>
                      <a:pt x="87" y="419"/>
                      <a:pt x="107" y="378"/>
                      <a:pt x="136" y="356"/>
                    </a:cubicBezTo>
                    <a:cubicBezTo>
                      <a:pt x="198" y="310"/>
                      <a:pt x="277" y="314"/>
                      <a:pt x="332" y="272"/>
                    </a:cubicBezTo>
                    <a:cubicBezTo>
                      <a:pt x="418" y="206"/>
                      <a:pt x="424" y="122"/>
                      <a:pt x="472" y="16"/>
                    </a:cubicBezTo>
                    <a:cubicBezTo>
                      <a:pt x="474" y="12"/>
                      <a:pt x="475" y="5"/>
                      <a:pt x="480" y="0"/>
                    </a:cubicBezTo>
                    <a:cubicBezTo>
                      <a:pt x="484" y="0"/>
                      <a:pt x="488" y="0"/>
                      <a:pt x="492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" name="Freeform 599"/>
              <p:cNvSpPr>
                <a:spLocks/>
              </p:cNvSpPr>
              <p:nvPr/>
            </p:nvSpPr>
            <p:spPr bwMode="auto">
              <a:xfrm>
                <a:off x="4394729" y="2233660"/>
                <a:ext cx="51323" cy="61998"/>
              </a:xfrm>
              <a:custGeom>
                <a:avLst/>
                <a:gdLst>
                  <a:gd name="T0" fmla="*/ 288 w 305"/>
                  <a:gd name="T1" fmla="*/ 4 h 368"/>
                  <a:gd name="T2" fmla="*/ 220 w 305"/>
                  <a:gd name="T3" fmla="*/ 196 h 368"/>
                  <a:gd name="T4" fmla="*/ 152 w 305"/>
                  <a:gd name="T5" fmla="*/ 236 h 368"/>
                  <a:gd name="T6" fmla="*/ 0 w 305"/>
                  <a:gd name="T7" fmla="*/ 348 h 368"/>
                  <a:gd name="T8" fmla="*/ 52 w 305"/>
                  <a:gd name="T9" fmla="*/ 292 h 368"/>
                  <a:gd name="T10" fmla="*/ 172 w 305"/>
                  <a:gd name="T11" fmla="*/ 76 h 368"/>
                  <a:gd name="T12" fmla="*/ 208 w 305"/>
                  <a:gd name="T13" fmla="*/ 4 h 368"/>
                  <a:gd name="T14" fmla="*/ 176 w 305"/>
                  <a:gd name="T15" fmla="*/ 164 h 368"/>
                  <a:gd name="T16" fmla="*/ 276 w 305"/>
                  <a:gd name="T17" fmla="*/ 0 h 368"/>
                  <a:gd name="T18" fmla="*/ 288 w 305"/>
                  <a:gd name="T19" fmla="*/ 4 h 36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305"/>
                  <a:gd name="T31" fmla="*/ 0 h 368"/>
                  <a:gd name="T32" fmla="*/ 305 w 305"/>
                  <a:gd name="T33" fmla="*/ 368 h 36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305" h="368">
                    <a:moveTo>
                      <a:pt x="288" y="4"/>
                    </a:moveTo>
                    <a:cubicBezTo>
                      <a:pt x="305" y="75"/>
                      <a:pt x="265" y="155"/>
                      <a:pt x="220" y="196"/>
                    </a:cubicBezTo>
                    <a:cubicBezTo>
                      <a:pt x="202" y="213"/>
                      <a:pt x="173" y="218"/>
                      <a:pt x="152" y="236"/>
                    </a:cubicBezTo>
                    <a:cubicBezTo>
                      <a:pt x="106" y="276"/>
                      <a:pt x="76" y="368"/>
                      <a:pt x="0" y="348"/>
                    </a:cubicBezTo>
                    <a:cubicBezTo>
                      <a:pt x="0" y="310"/>
                      <a:pt x="31" y="310"/>
                      <a:pt x="52" y="292"/>
                    </a:cubicBezTo>
                    <a:cubicBezTo>
                      <a:pt x="106" y="246"/>
                      <a:pt x="151" y="153"/>
                      <a:pt x="172" y="76"/>
                    </a:cubicBezTo>
                    <a:cubicBezTo>
                      <a:pt x="179" y="52"/>
                      <a:pt x="177" y="14"/>
                      <a:pt x="208" y="4"/>
                    </a:cubicBezTo>
                    <a:cubicBezTo>
                      <a:pt x="247" y="48"/>
                      <a:pt x="187" y="118"/>
                      <a:pt x="176" y="164"/>
                    </a:cubicBezTo>
                    <a:cubicBezTo>
                      <a:pt x="233" y="149"/>
                      <a:pt x="235" y="44"/>
                      <a:pt x="276" y="0"/>
                    </a:cubicBezTo>
                    <a:cubicBezTo>
                      <a:pt x="279" y="2"/>
                      <a:pt x="283" y="4"/>
                      <a:pt x="288" y="4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" name="Freeform 600"/>
              <p:cNvSpPr>
                <a:spLocks/>
              </p:cNvSpPr>
              <p:nvPr/>
            </p:nvSpPr>
            <p:spPr bwMode="auto">
              <a:xfrm>
                <a:off x="4383340" y="2266050"/>
                <a:ext cx="56093" cy="43805"/>
              </a:xfrm>
              <a:custGeom>
                <a:avLst/>
                <a:gdLst>
                  <a:gd name="T0" fmla="*/ 328 w 334"/>
                  <a:gd name="T1" fmla="*/ 0 h 260"/>
                  <a:gd name="T2" fmla="*/ 252 w 334"/>
                  <a:gd name="T3" fmla="*/ 100 h 260"/>
                  <a:gd name="T4" fmla="*/ 288 w 334"/>
                  <a:gd name="T5" fmla="*/ 92 h 260"/>
                  <a:gd name="T6" fmla="*/ 252 w 334"/>
                  <a:gd name="T7" fmla="*/ 148 h 260"/>
                  <a:gd name="T8" fmla="*/ 0 w 334"/>
                  <a:gd name="T9" fmla="*/ 260 h 260"/>
                  <a:gd name="T10" fmla="*/ 92 w 334"/>
                  <a:gd name="T11" fmla="*/ 188 h 260"/>
                  <a:gd name="T12" fmla="*/ 196 w 334"/>
                  <a:gd name="T13" fmla="*/ 120 h 260"/>
                  <a:gd name="T14" fmla="*/ 316 w 334"/>
                  <a:gd name="T15" fmla="*/ 0 h 260"/>
                  <a:gd name="T16" fmla="*/ 328 w 334"/>
                  <a:gd name="T17" fmla="*/ 0 h 26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34"/>
                  <a:gd name="T28" fmla="*/ 0 h 260"/>
                  <a:gd name="T29" fmla="*/ 334 w 334"/>
                  <a:gd name="T30" fmla="*/ 260 h 26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34" h="260">
                    <a:moveTo>
                      <a:pt x="328" y="0"/>
                    </a:moveTo>
                    <a:cubicBezTo>
                      <a:pt x="334" y="49"/>
                      <a:pt x="277" y="69"/>
                      <a:pt x="252" y="100"/>
                    </a:cubicBezTo>
                    <a:cubicBezTo>
                      <a:pt x="263" y="112"/>
                      <a:pt x="269" y="85"/>
                      <a:pt x="288" y="92"/>
                    </a:cubicBezTo>
                    <a:cubicBezTo>
                      <a:pt x="289" y="123"/>
                      <a:pt x="264" y="129"/>
                      <a:pt x="252" y="148"/>
                    </a:cubicBezTo>
                    <a:cubicBezTo>
                      <a:pt x="148" y="163"/>
                      <a:pt x="101" y="255"/>
                      <a:pt x="0" y="260"/>
                    </a:cubicBezTo>
                    <a:cubicBezTo>
                      <a:pt x="16" y="222"/>
                      <a:pt x="60" y="207"/>
                      <a:pt x="92" y="188"/>
                    </a:cubicBezTo>
                    <a:cubicBezTo>
                      <a:pt x="126" y="168"/>
                      <a:pt x="168" y="148"/>
                      <a:pt x="196" y="120"/>
                    </a:cubicBezTo>
                    <a:cubicBezTo>
                      <a:pt x="235" y="82"/>
                      <a:pt x="259" y="24"/>
                      <a:pt x="316" y="0"/>
                    </a:cubicBezTo>
                    <a:cubicBezTo>
                      <a:pt x="320" y="0"/>
                      <a:pt x="324" y="0"/>
                      <a:pt x="328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1" name="Freeform 601"/>
              <p:cNvSpPr>
                <a:spLocks/>
              </p:cNvSpPr>
              <p:nvPr/>
            </p:nvSpPr>
            <p:spPr bwMode="auto">
              <a:xfrm>
                <a:off x="4324115" y="2298868"/>
                <a:ext cx="22850" cy="14982"/>
              </a:xfrm>
              <a:custGeom>
                <a:avLst/>
                <a:gdLst>
                  <a:gd name="T0" fmla="*/ 136 w 136"/>
                  <a:gd name="T1" fmla="*/ 9 h 89"/>
                  <a:gd name="T2" fmla="*/ 0 w 136"/>
                  <a:gd name="T3" fmla="*/ 53 h 89"/>
                  <a:gd name="T4" fmla="*/ 136 w 136"/>
                  <a:gd name="T5" fmla="*/ 9 h 89"/>
                  <a:gd name="T6" fmla="*/ 0 60000 65536"/>
                  <a:gd name="T7" fmla="*/ 0 60000 65536"/>
                  <a:gd name="T8" fmla="*/ 0 60000 65536"/>
                  <a:gd name="T9" fmla="*/ 0 w 136"/>
                  <a:gd name="T10" fmla="*/ 0 h 89"/>
                  <a:gd name="T11" fmla="*/ 136 w 136"/>
                  <a:gd name="T12" fmla="*/ 89 h 8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36" h="89">
                    <a:moveTo>
                      <a:pt x="136" y="9"/>
                    </a:moveTo>
                    <a:cubicBezTo>
                      <a:pt x="122" y="49"/>
                      <a:pt x="38" y="89"/>
                      <a:pt x="0" y="53"/>
                    </a:cubicBezTo>
                    <a:cubicBezTo>
                      <a:pt x="9" y="6"/>
                      <a:pt x="98" y="0"/>
                      <a:pt x="136" y="9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Freeform 602"/>
              <p:cNvSpPr>
                <a:spLocks/>
              </p:cNvSpPr>
              <p:nvPr/>
            </p:nvSpPr>
            <p:spPr bwMode="auto">
              <a:xfrm>
                <a:off x="4350168" y="2306431"/>
                <a:ext cx="23705" cy="10844"/>
              </a:xfrm>
              <a:custGeom>
                <a:avLst/>
                <a:gdLst>
                  <a:gd name="T0" fmla="*/ 77 w 141"/>
                  <a:gd name="T1" fmla="*/ 64 h 64"/>
                  <a:gd name="T2" fmla="*/ 37 w 141"/>
                  <a:gd name="T3" fmla="*/ 64 h 64"/>
                  <a:gd name="T4" fmla="*/ 141 w 141"/>
                  <a:gd name="T5" fmla="*/ 24 h 64"/>
                  <a:gd name="T6" fmla="*/ 77 w 141"/>
                  <a:gd name="T7" fmla="*/ 64 h 6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41"/>
                  <a:gd name="T13" fmla="*/ 0 h 64"/>
                  <a:gd name="T14" fmla="*/ 141 w 141"/>
                  <a:gd name="T15" fmla="*/ 64 h 6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41" h="64">
                    <a:moveTo>
                      <a:pt x="77" y="64"/>
                    </a:moveTo>
                    <a:cubicBezTo>
                      <a:pt x="64" y="64"/>
                      <a:pt x="50" y="64"/>
                      <a:pt x="37" y="64"/>
                    </a:cubicBezTo>
                    <a:cubicBezTo>
                      <a:pt x="0" y="28"/>
                      <a:pt x="107" y="0"/>
                      <a:pt x="141" y="24"/>
                    </a:cubicBezTo>
                    <a:cubicBezTo>
                      <a:pt x="135" y="53"/>
                      <a:pt x="101" y="53"/>
                      <a:pt x="77" y="64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83" name="Group 82"/>
            <p:cNvGrpSpPr>
              <a:grpSpLocks noChangeAspect="1"/>
            </p:cNvGrpSpPr>
            <p:nvPr userDrawn="1"/>
          </p:nvGrpSpPr>
          <p:grpSpPr>
            <a:xfrm>
              <a:off x="7390459" y="3487064"/>
              <a:ext cx="137160" cy="122040"/>
              <a:chOff x="7084235" y="2212223"/>
              <a:chExt cx="257056" cy="228719"/>
            </a:xfrm>
            <a:solidFill>
              <a:schemeClr val="bg1">
                <a:lumMod val="85000"/>
                <a:alpha val="30000"/>
              </a:schemeClr>
            </a:solidFill>
          </p:grpSpPr>
          <p:sp>
            <p:nvSpPr>
              <p:cNvPr id="84" name="Freeform 17"/>
              <p:cNvSpPr>
                <a:spLocks noEditPoints="1"/>
              </p:cNvSpPr>
              <p:nvPr/>
            </p:nvSpPr>
            <p:spPr bwMode="auto">
              <a:xfrm>
                <a:off x="7120667" y="2212223"/>
                <a:ext cx="184190" cy="228719"/>
              </a:xfrm>
              <a:custGeom>
                <a:avLst/>
                <a:gdLst>
                  <a:gd name="T0" fmla="*/ 84 w 458"/>
                  <a:gd name="T1" fmla="*/ 33 h 566"/>
                  <a:gd name="T2" fmla="*/ 84 w 458"/>
                  <a:gd name="T3" fmla="*/ 33 h 566"/>
                  <a:gd name="T4" fmla="*/ 84 w 458"/>
                  <a:gd name="T5" fmla="*/ 64 h 566"/>
                  <a:gd name="T6" fmla="*/ 176 w 458"/>
                  <a:gd name="T7" fmla="*/ 42 h 566"/>
                  <a:gd name="T8" fmla="*/ 176 w 458"/>
                  <a:gd name="T9" fmla="*/ 11 h 566"/>
                  <a:gd name="T10" fmla="*/ 229 w 458"/>
                  <a:gd name="T11" fmla="*/ 0 h 566"/>
                  <a:gd name="T12" fmla="*/ 281 w 458"/>
                  <a:gd name="T13" fmla="*/ 11 h 566"/>
                  <a:gd name="T14" fmla="*/ 281 w 458"/>
                  <a:gd name="T15" fmla="*/ 42 h 566"/>
                  <a:gd name="T16" fmla="*/ 374 w 458"/>
                  <a:gd name="T17" fmla="*/ 64 h 566"/>
                  <a:gd name="T18" fmla="*/ 374 w 458"/>
                  <a:gd name="T19" fmla="*/ 33 h 566"/>
                  <a:gd name="T20" fmla="*/ 458 w 458"/>
                  <a:gd name="T21" fmla="*/ 51 h 566"/>
                  <a:gd name="T22" fmla="*/ 458 w 458"/>
                  <a:gd name="T23" fmla="*/ 220 h 566"/>
                  <a:gd name="T24" fmla="*/ 229 w 458"/>
                  <a:gd name="T25" fmla="*/ 566 h 566"/>
                  <a:gd name="T26" fmla="*/ 0 w 458"/>
                  <a:gd name="T27" fmla="*/ 220 h 566"/>
                  <a:gd name="T28" fmla="*/ 0 w 458"/>
                  <a:gd name="T29" fmla="*/ 51 h 566"/>
                  <a:gd name="T30" fmla="*/ 84 w 458"/>
                  <a:gd name="T31" fmla="*/ 33 h 566"/>
                  <a:gd name="T32" fmla="*/ 63 w 458"/>
                  <a:gd name="T33" fmla="*/ 220 h 566"/>
                  <a:gd name="T34" fmla="*/ 63 w 458"/>
                  <a:gd name="T35" fmla="*/ 220 h 566"/>
                  <a:gd name="T36" fmla="*/ 70 w 458"/>
                  <a:gd name="T37" fmla="*/ 282 h 566"/>
                  <a:gd name="T38" fmla="*/ 229 w 458"/>
                  <a:gd name="T39" fmla="*/ 282 h 566"/>
                  <a:gd name="T40" fmla="*/ 229 w 458"/>
                  <a:gd name="T41" fmla="*/ 495 h 566"/>
                  <a:gd name="T42" fmla="*/ 388 w 458"/>
                  <a:gd name="T43" fmla="*/ 282 h 566"/>
                  <a:gd name="T44" fmla="*/ 229 w 458"/>
                  <a:gd name="T45" fmla="*/ 282 h 566"/>
                  <a:gd name="T46" fmla="*/ 229 w 458"/>
                  <a:gd name="T47" fmla="*/ 97 h 566"/>
                  <a:gd name="T48" fmla="*/ 63 w 458"/>
                  <a:gd name="T49" fmla="*/ 137 h 566"/>
                  <a:gd name="T50" fmla="*/ 63 w 458"/>
                  <a:gd name="T51" fmla="*/ 220 h 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58" h="566">
                    <a:moveTo>
                      <a:pt x="84" y="33"/>
                    </a:moveTo>
                    <a:lnTo>
                      <a:pt x="84" y="33"/>
                    </a:lnTo>
                    <a:lnTo>
                      <a:pt x="84" y="64"/>
                    </a:lnTo>
                    <a:lnTo>
                      <a:pt x="176" y="42"/>
                    </a:lnTo>
                    <a:lnTo>
                      <a:pt x="176" y="11"/>
                    </a:lnTo>
                    <a:lnTo>
                      <a:pt x="229" y="0"/>
                    </a:lnTo>
                    <a:lnTo>
                      <a:pt x="281" y="11"/>
                    </a:lnTo>
                    <a:lnTo>
                      <a:pt x="281" y="42"/>
                    </a:lnTo>
                    <a:lnTo>
                      <a:pt x="374" y="64"/>
                    </a:lnTo>
                    <a:lnTo>
                      <a:pt x="374" y="33"/>
                    </a:lnTo>
                    <a:lnTo>
                      <a:pt x="458" y="51"/>
                    </a:lnTo>
                    <a:lnTo>
                      <a:pt x="458" y="220"/>
                    </a:lnTo>
                    <a:cubicBezTo>
                      <a:pt x="458" y="377"/>
                      <a:pt x="364" y="509"/>
                      <a:pt x="229" y="566"/>
                    </a:cubicBezTo>
                    <a:cubicBezTo>
                      <a:pt x="94" y="509"/>
                      <a:pt x="0" y="377"/>
                      <a:pt x="0" y="220"/>
                    </a:cubicBezTo>
                    <a:lnTo>
                      <a:pt x="0" y="51"/>
                    </a:lnTo>
                    <a:lnTo>
                      <a:pt x="84" y="33"/>
                    </a:lnTo>
                    <a:close/>
                    <a:moveTo>
                      <a:pt x="63" y="220"/>
                    </a:moveTo>
                    <a:lnTo>
                      <a:pt x="63" y="220"/>
                    </a:lnTo>
                    <a:cubicBezTo>
                      <a:pt x="63" y="242"/>
                      <a:pt x="64" y="262"/>
                      <a:pt x="70" y="282"/>
                    </a:cubicBezTo>
                    <a:lnTo>
                      <a:pt x="229" y="282"/>
                    </a:lnTo>
                    <a:lnTo>
                      <a:pt x="229" y="495"/>
                    </a:lnTo>
                    <a:cubicBezTo>
                      <a:pt x="311" y="451"/>
                      <a:pt x="371" y="373"/>
                      <a:pt x="388" y="282"/>
                    </a:cubicBezTo>
                    <a:lnTo>
                      <a:pt x="229" y="282"/>
                    </a:lnTo>
                    <a:lnTo>
                      <a:pt x="229" y="97"/>
                    </a:lnTo>
                    <a:lnTo>
                      <a:pt x="63" y="137"/>
                    </a:lnTo>
                    <a:lnTo>
                      <a:pt x="63" y="22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CA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85" name="Freeform 18"/>
              <p:cNvSpPr>
                <a:spLocks noEditPoints="1"/>
              </p:cNvSpPr>
              <p:nvPr/>
            </p:nvSpPr>
            <p:spPr bwMode="auto">
              <a:xfrm>
                <a:off x="7084235" y="2258776"/>
                <a:ext cx="257056" cy="156865"/>
              </a:xfrm>
              <a:custGeom>
                <a:avLst/>
                <a:gdLst>
                  <a:gd name="T0" fmla="*/ 75 w 636"/>
                  <a:gd name="T1" fmla="*/ 105 h 388"/>
                  <a:gd name="T2" fmla="*/ 75 w 636"/>
                  <a:gd name="T3" fmla="*/ 105 h 388"/>
                  <a:gd name="T4" fmla="*/ 0 w 636"/>
                  <a:gd name="T5" fmla="*/ 105 h 388"/>
                  <a:gd name="T6" fmla="*/ 0 w 636"/>
                  <a:gd name="T7" fmla="*/ 179 h 388"/>
                  <a:gd name="T8" fmla="*/ 82 w 636"/>
                  <a:gd name="T9" fmla="*/ 179 h 388"/>
                  <a:gd name="T10" fmla="*/ 75 w 636"/>
                  <a:gd name="T11" fmla="*/ 105 h 388"/>
                  <a:gd name="T12" fmla="*/ 89 w 636"/>
                  <a:gd name="T13" fmla="*/ 209 h 388"/>
                  <a:gd name="T14" fmla="*/ 89 w 636"/>
                  <a:gd name="T15" fmla="*/ 209 h 388"/>
                  <a:gd name="T16" fmla="*/ 0 w 636"/>
                  <a:gd name="T17" fmla="*/ 209 h 388"/>
                  <a:gd name="T18" fmla="*/ 0 w 636"/>
                  <a:gd name="T19" fmla="*/ 282 h 388"/>
                  <a:gd name="T20" fmla="*/ 117 w 636"/>
                  <a:gd name="T21" fmla="*/ 282 h 388"/>
                  <a:gd name="T22" fmla="*/ 89 w 636"/>
                  <a:gd name="T23" fmla="*/ 209 h 388"/>
                  <a:gd name="T24" fmla="*/ 75 w 636"/>
                  <a:gd name="T25" fmla="*/ 0 h 388"/>
                  <a:gd name="T26" fmla="*/ 75 w 636"/>
                  <a:gd name="T27" fmla="*/ 0 h 388"/>
                  <a:gd name="T28" fmla="*/ 0 w 636"/>
                  <a:gd name="T29" fmla="*/ 0 h 388"/>
                  <a:gd name="T30" fmla="*/ 0 w 636"/>
                  <a:gd name="T31" fmla="*/ 73 h 388"/>
                  <a:gd name="T32" fmla="*/ 75 w 636"/>
                  <a:gd name="T33" fmla="*/ 73 h 388"/>
                  <a:gd name="T34" fmla="*/ 75 w 636"/>
                  <a:gd name="T35" fmla="*/ 0 h 388"/>
                  <a:gd name="T36" fmla="*/ 43 w 636"/>
                  <a:gd name="T37" fmla="*/ 314 h 388"/>
                  <a:gd name="T38" fmla="*/ 43 w 636"/>
                  <a:gd name="T39" fmla="*/ 314 h 388"/>
                  <a:gd name="T40" fmla="*/ 0 w 636"/>
                  <a:gd name="T41" fmla="*/ 314 h 388"/>
                  <a:gd name="T42" fmla="*/ 0 w 636"/>
                  <a:gd name="T43" fmla="*/ 388 h 388"/>
                  <a:gd name="T44" fmla="*/ 43 w 636"/>
                  <a:gd name="T45" fmla="*/ 388 h 388"/>
                  <a:gd name="T46" fmla="*/ 53 w 636"/>
                  <a:gd name="T47" fmla="*/ 388 h 388"/>
                  <a:gd name="T48" fmla="*/ 196 w 636"/>
                  <a:gd name="T49" fmla="*/ 388 h 388"/>
                  <a:gd name="T50" fmla="*/ 135 w 636"/>
                  <a:gd name="T51" fmla="*/ 314 h 388"/>
                  <a:gd name="T52" fmla="*/ 43 w 636"/>
                  <a:gd name="T53" fmla="*/ 314 h 388"/>
                  <a:gd name="T54" fmla="*/ 561 w 636"/>
                  <a:gd name="T55" fmla="*/ 73 h 388"/>
                  <a:gd name="T56" fmla="*/ 561 w 636"/>
                  <a:gd name="T57" fmla="*/ 73 h 388"/>
                  <a:gd name="T58" fmla="*/ 636 w 636"/>
                  <a:gd name="T59" fmla="*/ 73 h 388"/>
                  <a:gd name="T60" fmla="*/ 636 w 636"/>
                  <a:gd name="T61" fmla="*/ 0 h 388"/>
                  <a:gd name="T62" fmla="*/ 561 w 636"/>
                  <a:gd name="T63" fmla="*/ 0 h 388"/>
                  <a:gd name="T64" fmla="*/ 561 w 636"/>
                  <a:gd name="T65" fmla="*/ 73 h 388"/>
                  <a:gd name="T66" fmla="*/ 554 w 636"/>
                  <a:gd name="T67" fmla="*/ 179 h 388"/>
                  <a:gd name="T68" fmla="*/ 554 w 636"/>
                  <a:gd name="T69" fmla="*/ 179 h 388"/>
                  <a:gd name="T70" fmla="*/ 636 w 636"/>
                  <a:gd name="T71" fmla="*/ 179 h 388"/>
                  <a:gd name="T72" fmla="*/ 636 w 636"/>
                  <a:gd name="T73" fmla="*/ 105 h 388"/>
                  <a:gd name="T74" fmla="*/ 561 w 636"/>
                  <a:gd name="T75" fmla="*/ 105 h 388"/>
                  <a:gd name="T76" fmla="*/ 554 w 636"/>
                  <a:gd name="T77" fmla="*/ 179 h 388"/>
                  <a:gd name="T78" fmla="*/ 440 w 636"/>
                  <a:gd name="T79" fmla="*/ 388 h 388"/>
                  <a:gd name="T80" fmla="*/ 440 w 636"/>
                  <a:gd name="T81" fmla="*/ 388 h 388"/>
                  <a:gd name="T82" fmla="*/ 636 w 636"/>
                  <a:gd name="T83" fmla="*/ 388 h 388"/>
                  <a:gd name="T84" fmla="*/ 636 w 636"/>
                  <a:gd name="T85" fmla="*/ 314 h 388"/>
                  <a:gd name="T86" fmla="*/ 500 w 636"/>
                  <a:gd name="T87" fmla="*/ 314 h 388"/>
                  <a:gd name="T88" fmla="*/ 440 w 636"/>
                  <a:gd name="T89" fmla="*/ 388 h 388"/>
                  <a:gd name="T90" fmla="*/ 518 w 636"/>
                  <a:gd name="T91" fmla="*/ 282 h 388"/>
                  <a:gd name="T92" fmla="*/ 518 w 636"/>
                  <a:gd name="T93" fmla="*/ 282 h 388"/>
                  <a:gd name="T94" fmla="*/ 636 w 636"/>
                  <a:gd name="T95" fmla="*/ 282 h 388"/>
                  <a:gd name="T96" fmla="*/ 636 w 636"/>
                  <a:gd name="T97" fmla="*/ 209 h 388"/>
                  <a:gd name="T98" fmla="*/ 547 w 636"/>
                  <a:gd name="T99" fmla="*/ 209 h 388"/>
                  <a:gd name="T100" fmla="*/ 518 w 636"/>
                  <a:gd name="T101" fmla="*/ 282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36" h="388">
                    <a:moveTo>
                      <a:pt x="75" y="105"/>
                    </a:moveTo>
                    <a:lnTo>
                      <a:pt x="75" y="105"/>
                    </a:lnTo>
                    <a:lnTo>
                      <a:pt x="0" y="105"/>
                    </a:lnTo>
                    <a:lnTo>
                      <a:pt x="0" y="179"/>
                    </a:lnTo>
                    <a:lnTo>
                      <a:pt x="82" y="179"/>
                    </a:lnTo>
                    <a:cubicBezTo>
                      <a:pt x="77" y="155"/>
                      <a:pt x="75" y="131"/>
                      <a:pt x="75" y="105"/>
                    </a:cubicBezTo>
                    <a:close/>
                    <a:moveTo>
                      <a:pt x="89" y="209"/>
                    </a:moveTo>
                    <a:lnTo>
                      <a:pt x="89" y="209"/>
                    </a:lnTo>
                    <a:lnTo>
                      <a:pt x="0" y="209"/>
                    </a:lnTo>
                    <a:lnTo>
                      <a:pt x="0" y="282"/>
                    </a:lnTo>
                    <a:lnTo>
                      <a:pt x="117" y="282"/>
                    </a:lnTo>
                    <a:cubicBezTo>
                      <a:pt x="105" y="259"/>
                      <a:pt x="96" y="234"/>
                      <a:pt x="89" y="209"/>
                    </a:cubicBezTo>
                    <a:close/>
                    <a:moveTo>
                      <a:pt x="75" y="0"/>
                    </a:moveTo>
                    <a:lnTo>
                      <a:pt x="75" y="0"/>
                    </a:lnTo>
                    <a:lnTo>
                      <a:pt x="0" y="0"/>
                    </a:lnTo>
                    <a:lnTo>
                      <a:pt x="0" y="73"/>
                    </a:lnTo>
                    <a:lnTo>
                      <a:pt x="75" y="73"/>
                    </a:lnTo>
                    <a:lnTo>
                      <a:pt x="75" y="0"/>
                    </a:lnTo>
                    <a:close/>
                    <a:moveTo>
                      <a:pt x="43" y="314"/>
                    </a:moveTo>
                    <a:lnTo>
                      <a:pt x="43" y="314"/>
                    </a:lnTo>
                    <a:lnTo>
                      <a:pt x="0" y="314"/>
                    </a:lnTo>
                    <a:lnTo>
                      <a:pt x="0" y="388"/>
                    </a:lnTo>
                    <a:lnTo>
                      <a:pt x="43" y="388"/>
                    </a:lnTo>
                    <a:lnTo>
                      <a:pt x="53" y="388"/>
                    </a:lnTo>
                    <a:lnTo>
                      <a:pt x="196" y="388"/>
                    </a:lnTo>
                    <a:cubicBezTo>
                      <a:pt x="173" y="366"/>
                      <a:pt x="152" y="341"/>
                      <a:pt x="135" y="314"/>
                    </a:cubicBezTo>
                    <a:lnTo>
                      <a:pt x="43" y="314"/>
                    </a:lnTo>
                    <a:close/>
                    <a:moveTo>
                      <a:pt x="561" y="73"/>
                    </a:moveTo>
                    <a:lnTo>
                      <a:pt x="561" y="73"/>
                    </a:lnTo>
                    <a:lnTo>
                      <a:pt x="636" y="73"/>
                    </a:lnTo>
                    <a:lnTo>
                      <a:pt x="636" y="0"/>
                    </a:lnTo>
                    <a:lnTo>
                      <a:pt x="561" y="0"/>
                    </a:lnTo>
                    <a:lnTo>
                      <a:pt x="561" y="73"/>
                    </a:lnTo>
                    <a:close/>
                    <a:moveTo>
                      <a:pt x="554" y="179"/>
                    </a:moveTo>
                    <a:lnTo>
                      <a:pt x="554" y="179"/>
                    </a:lnTo>
                    <a:lnTo>
                      <a:pt x="636" y="179"/>
                    </a:lnTo>
                    <a:lnTo>
                      <a:pt x="636" y="105"/>
                    </a:lnTo>
                    <a:lnTo>
                      <a:pt x="561" y="105"/>
                    </a:lnTo>
                    <a:cubicBezTo>
                      <a:pt x="561" y="131"/>
                      <a:pt x="558" y="155"/>
                      <a:pt x="554" y="179"/>
                    </a:cubicBezTo>
                    <a:close/>
                    <a:moveTo>
                      <a:pt x="440" y="388"/>
                    </a:moveTo>
                    <a:lnTo>
                      <a:pt x="440" y="388"/>
                    </a:lnTo>
                    <a:lnTo>
                      <a:pt x="636" y="388"/>
                    </a:lnTo>
                    <a:lnTo>
                      <a:pt x="636" y="314"/>
                    </a:lnTo>
                    <a:lnTo>
                      <a:pt x="500" y="314"/>
                    </a:lnTo>
                    <a:cubicBezTo>
                      <a:pt x="483" y="341"/>
                      <a:pt x="463" y="366"/>
                      <a:pt x="440" y="388"/>
                    </a:cubicBezTo>
                    <a:close/>
                    <a:moveTo>
                      <a:pt x="518" y="282"/>
                    </a:moveTo>
                    <a:lnTo>
                      <a:pt x="518" y="282"/>
                    </a:lnTo>
                    <a:lnTo>
                      <a:pt x="636" y="282"/>
                    </a:lnTo>
                    <a:lnTo>
                      <a:pt x="636" y="209"/>
                    </a:lnTo>
                    <a:lnTo>
                      <a:pt x="547" y="209"/>
                    </a:lnTo>
                    <a:cubicBezTo>
                      <a:pt x="540" y="234"/>
                      <a:pt x="530" y="259"/>
                      <a:pt x="518" y="28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CA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86" name="Group 85"/>
            <p:cNvGrpSpPr>
              <a:grpSpLocks noChangeAspect="1"/>
            </p:cNvGrpSpPr>
            <p:nvPr userDrawn="1"/>
          </p:nvGrpSpPr>
          <p:grpSpPr>
            <a:xfrm>
              <a:off x="5874394" y="1983196"/>
              <a:ext cx="205548" cy="256032"/>
              <a:chOff x="5326487" y="1349272"/>
              <a:chExt cx="236272" cy="294302"/>
            </a:xfrm>
            <a:solidFill>
              <a:schemeClr val="bg1">
                <a:lumMod val="85000"/>
                <a:alpha val="30000"/>
              </a:schemeClr>
            </a:solidFill>
          </p:grpSpPr>
          <p:sp>
            <p:nvSpPr>
              <p:cNvPr id="87" name="Freeform 5"/>
              <p:cNvSpPr>
                <a:spLocks noEditPoints="1"/>
              </p:cNvSpPr>
              <p:nvPr/>
            </p:nvSpPr>
            <p:spPr bwMode="auto">
              <a:xfrm>
                <a:off x="5326487" y="1411759"/>
                <a:ext cx="155309" cy="231815"/>
              </a:xfrm>
              <a:custGeom>
                <a:avLst/>
                <a:gdLst>
                  <a:gd name="T0" fmla="*/ 184 w 199"/>
                  <a:gd name="T1" fmla="*/ 212 h 258"/>
                  <a:gd name="T2" fmla="*/ 15 w 199"/>
                  <a:gd name="T3" fmla="*/ 212 h 258"/>
                  <a:gd name="T4" fmla="*/ 15 w 199"/>
                  <a:gd name="T5" fmla="*/ 29 h 258"/>
                  <a:gd name="T6" fmla="*/ 184 w 199"/>
                  <a:gd name="T7" fmla="*/ 29 h 258"/>
                  <a:gd name="T8" fmla="*/ 184 w 199"/>
                  <a:gd name="T9" fmla="*/ 212 h 258"/>
                  <a:gd name="T10" fmla="*/ 100 w 199"/>
                  <a:gd name="T11" fmla="*/ 249 h 258"/>
                  <a:gd name="T12" fmla="*/ 86 w 199"/>
                  <a:gd name="T13" fmla="*/ 235 h 258"/>
                  <a:gd name="T14" fmla="*/ 100 w 199"/>
                  <a:gd name="T15" fmla="*/ 221 h 258"/>
                  <a:gd name="T16" fmla="*/ 113 w 199"/>
                  <a:gd name="T17" fmla="*/ 235 h 258"/>
                  <a:gd name="T18" fmla="*/ 100 w 199"/>
                  <a:gd name="T19" fmla="*/ 249 h 258"/>
                  <a:gd name="T20" fmla="*/ 83 w 199"/>
                  <a:gd name="T21" fmla="*/ 15 h 258"/>
                  <a:gd name="T22" fmla="*/ 116 w 199"/>
                  <a:gd name="T23" fmla="*/ 15 h 258"/>
                  <a:gd name="T24" fmla="*/ 118 w 199"/>
                  <a:gd name="T25" fmla="*/ 16 h 258"/>
                  <a:gd name="T26" fmla="*/ 116 w 199"/>
                  <a:gd name="T27" fmla="*/ 17 h 258"/>
                  <a:gd name="T28" fmla="*/ 83 w 199"/>
                  <a:gd name="T29" fmla="*/ 17 h 258"/>
                  <a:gd name="T30" fmla="*/ 81 w 199"/>
                  <a:gd name="T31" fmla="*/ 16 h 258"/>
                  <a:gd name="T32" fmla="*/ 83 w 199"/>
                  <a:gd name="T33" fmla="*/ 15 h 258"/>
                  <a:gd name="T34" fmla="*/ 190 w 199"/>
                  <a:gd name="T35" fmla="*/ 0 h 258"/>
                  <a:gd name="T36" fmla="*/ 9 w 199"/>
                  <a:gd name="T37" fmla="*/ 0 h 258"/>
                  <a:gd name="T38" fmla="*/ 0 w 199"/>
                  <a:gd name="T39" fmla="*/ 9 h 258"/>
                  <a:gd name="T40" fmla="*/ 0 w 199"/>
                  <a:gd name="T41" fmla="*/ 249 h 258"/>
                  <a:gd name="T42" fmla="*/ 9 w 199"/>
                  <a:gd name="T43" fmla="*/ 258 h 258"/>
                  <a:gd name="T44" fmla="*/ 190 w 199"/>
                  <a:gd name="T45" fmla="*/ 258 h 258"/>
                  <a:gd name="T46" fmla="*/ 199 w 199"/>
                  <a:gd name="T47" fmla="*/ 249 h 258"/>
                  <a:gd name="T48" fmla="*/ 199 w 199"/>
                  <a:gd name="T49" fmla="*/ 9 h 258"/>
                  <a:gd name="T50" fmla="*/ 190 w 199"/>
                  <a:gd name="T51" fmla="*/ 0 h 258"/>
                  <a:gd name="T52" fmla="*/ 100 w 199"/>
                  <a:gd name="T53" fmla="*/ 224 h 258"/>
                  <a:gd name="T54" fmla="*/ 89 w 199"/>
                  <a:gd name="T55" fmla="*/ 235 h 258"/>
                  <a:gd name="T56" fmla="*/ 100 w 199"/>
                  <a:gd name="T57" fmla="*/ 246 h 258"/>
                  <a:gd name="T58" fmla="*/ 110 w 199"/>
                  <a:gd name="T59" fmla="*/ 235 h 258"/>
                  <a:gd name="T60" fmla="*/ 100 w 199"/>
                  <a:gd name="T61" fmla="*/ 224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9" h="258">
                    <a:moveTo>
                      <a:pt x="184" y="212"/>
                    </a:moveTo>
                    <a:cubicBezTo>
                      <a:pt x="15" y="212"/>
                      <a:pt x="15" y="212"/>
                      <a:pt x="15" y="212"/>
                    </a:cubicBezTo>
                    <a:cubicBezTo>
                      <a:pt x="15" y="29"/>
                      <a:pt x="15" y="29"/>
                      <a:pt x="15" y="29"/>
                    </a:cubicBezTo>
                    <a:cubicBezTo>
                      <a:pt x="184" y="29"/>
                      <a:pt x="184" y="29"/>
                      <a:pt x="184" y="29"/>
                    </a:cubicBezTo>
                    <a:lnTo>
                      <a:pt x="184" y="212"/>
                    </a:lnTo>
                    <a:close/>
                    <a:moveTo>
                      <a:pt x="100" y="249"/>
                    </a:moveTo>
                    <a:cubicBezTo>
                      <a:pt x="92" y="249"/>
                      <a:pt x="86" y="243"/>
                      <a:pt x="86" y="235"/>
                    </a:cubicBezTo>
                    <a:cubicBezTo>
                      <a:pt x="86" y="227"/>
                      <a:pt x="92" y="221"/>
                      <a:pt x="100" y="221"/>
                    </a:cubicBezTo>
                    <a:cubicBezTo>
                      <a:pt x="107" y="221"/>
                      <a:pt x="113" y="227"/>
                      <a:pt x="113" y="235"/>
                    </a:cubicBezTo>
                    <a:cubicBezTo>
                      <a:pt x="113" y="243"/>
                      <a:pt x="107" y="249"/>
                      <a:pt x="100" y="249"/>
                    </a:cubicBezTo>
                    <a:close/>
                    <a:moveTo>
                      <a:pt x="83" y="15"/>
                    </a:moveTo>
                    <a:cubicBezTo>
                      <a:pt x="116" y="15"/>
                      <a:pt x="116" y="15"/>
                      <a:pt x="116" y="15"/>
                    </a:cubicBezTo>
                    <a:cubicBezTo>
                      <a:pt x="117" y="15"/>
                      <a:pt x="118" y="15"/>
                      <a:pt x="118" y="16"/>
                    </a:cubicBezTo>
                    <a:cubicBezTo>
                      <a:pt x="118" y="17"/>
                      <a:pt x="117" y="17"/>
                      <a:pt x="116" y="17"/>
                    </a:cubicBezTo>
                    <a:cubicBezTo>
                      <a:pt x="83" y="17"/>
                      <a:pt x="83" y="17"/>
                      <a:pt x="83" y="17"/>
                    </a:cubicBezTo>
                    <a:cubicBezTo>
                      <a:pt x="82" y="17"/>
                      <a:pt x="81" y="17"/>
                      <a:pt x="81" y="16"/>
                    </a:cubicBezTo>
                    <a:cubicBezTo>
                      <a:pt x="81" y="15"/>
                      <a:pt x="82" y="15"/>
                      <a:pt x="83" y="15"/>
                    </a:cubicBezTo>
                    <a:close/>
                    <a:moveTo>
                      <a:pt x="190" y="0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249"/>
                      <a:pt x="0" y="249"/>
                      <a:pt x="0" y="249"/>
                    </a:cubicBezTo>
                    <a:cubicBezTo>
                      <a:pt x="0" y="254"/>
                      <a:pt x="4" y="258"/>
                      <a:pt x="9" y="258"/>
                    </a:cubicBezTo>
                    <a:cubicBezTo>
                      <a:pt x="190" y="258"/>
                      <a:pt x="190" y="258"/>
                      <a:pt x="190" y="258"/>
                    </a:cubicBezTo>
                    <a:cubicBezTo>
                      <a:pt x="195" y="258"/>
                      <a:pt x="199" y="254"/>
                      <a:pt x="199" y="249"/>
                    </a:cubicBezTo>
                    <a:cubicBezTo>
                      <a:pt x="199" y="9"/>
                      <a:pt x="199" y="9"/>
                      <a:pt x="199" y="9"/>
                    </a:cubicBezTo>
                    <a:cubicBezTo>
                      <a:pt x="199" y="4"/>
                      <a:pt x="195" y="0"/>
                      <a:pt x="190" y="0"/>
                    </a:cubicBezTo>
                    <a:close/>
                    <a:moveTo>
                      <a:pt x="100" y="224"/>
                    </a:moveTo>
                    <a:cubicBezTo>
                      <a:pt x="93" y="224"/>
                      <a:pt x="89" y="229"/>
                      <a:pt x="89" y="235"/>
                    </a:cubicBezTo>
                    <a:cubicBezTo>
                      <a:pt x="89" y="241"/>
                      <a:pt x="93" y="246"/>
                      <a:pt x="100" y="246"/>
                    </a:cubicBezTo>
                    <a:cubicBezTo>
                      <a:pt x="106" y="246"/>
                      <a:pt x="110" y="241"/>
                      <a:pt x="110" y="235"/>
                    </a:cubicBezTo>
                    <a:cubicBezTo>
                      <a:pt x="110" y="229"/>
                      <a:pt x="106" y="224"/>
                      <a:pt x="100" y="2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CA" sz="700" dirty="0">
                  <a:solidFill>
                    <a:srgbClr val="44546A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88" name="Freeform 6"/>
              <p:cNvSpPr>
                <a:spLocks noEditPoints="1"/>
              </p:cNvSpPr>
              <p:nvPr/>
            </p:nvSpPr>
            <p:spPr bwMode="auto">
              <a:xfrm>
                <a:off x="5353970" y="1458646"/>
                <a:ext cx="106807" cy="111922"/>
              </a:xfrm>
              <a:custGeom>
                <a:avLst/>
                <a:gdLst>
                  <a:gd name="T0" fmla="*/ 741 w 791"/>
                  <a:gd name="T1" fmla="*/ 583 h 669"/>
                  <a:gd name="T2" fmla="*/ 734 w 791"/>
                  <a:gd name="T3" fmla="*/ 604 h 669"/>
                  <a:gd name="T4" fmla="*/ 712 w 791"/>
                  <a:gd name="T5" fmla="*/ 619 h 669"/>
                  <a:gd name="T6" fmla="*/ 71 w 791"/>
                  <a:gd name="T7" fmla="*/ 619 h 669"/>
                  <a:gd name="T8" fmla="*/ 57 w 791"/>
                  <a:gd name="T9" fmla="*/ 604 h 669"/>
                  <a:gd name="T10" fmla="*/ 42 w 791"/>
                  <a:gd name="T11" fmla="*/ 583 h 669"/>
                  <a:gd name="T12" fmla="*/ 42 w 791"/>
                  <a:gd name="T13" fmla="*/ 206 h 669"/>
                  <a:gd name="T14" fmla="*/ 57 w 791"/>
                  <a:gd name="T15" fmla="*/ 185 h 669"/>
                  <a:gd name="T16" fmla="*/ 71 w 791"/>
                  <a:gd name="T17" fmla="*/ 177 h 669"/>
                  <a:gd name="T18" fmla="*/ 712 w 791"/>
                  <a:gd name="T19" fmla="*/ 177 h 669"/>
                  <a:gd name="T20" fmla="*/ 734 w 791"/>
                  <a:gd name="T21" fmla="*/ 185 h 669"/>
                  <a:gd name="T22" fmla="*/ 741 w 791"/>
                  <a:gd name="T23" fmla="*/ 206 h 669"/>
                  <a:gd name="T24" fmla="*/ 78 w 791"/>
                  <a:gd name="T25" fmla="*/ 42 h 669"/>
                  <a:gd name="T26" fmla="*/ 85 w 791"/>
                  <a:gd name="T27" fmla="*/ 49 h 669"/>
                  <a:gd name="T28" fmla="*/ 99 w 791"/>
                  <a:gd name="T29" fmla="*/ 56 h 669"/>
                  <a:gd name="T30" fmla="*/ 106 w 791"/>
                  <a:gd name="T31" fmla="*/ 71 h 669"/>
                  <a:gd name="T32" fmla="*/ 99 w 791"/>
                  <a:gd name="T33" fmla="*/ 92 h 669"/>
                  <a:gd name="T34" fmla="*/ 85 w 791"/>
                  <a:gd name="T35" fmla="*/ 99 h 669"/>
                  <a:gd name="T36" fmla="*/ 71 w 791"/>
                  <a:gd name="T37" fmla="*/ 99 h 669"/>
                  <a:gd name="T38" fmla="*/ 57 w 791"/>
                  <a:gd name="T39" fmla="*/ 92 h 669"/>
                  <a:gd name="T40" fmla="*/ 49 w 791"/>
                  <a:gd name="T41" fmla="*/ 78 h 669"/>
                  <a:gd name="T42" fmla="*/ 49 w 791"/>
                  <a:gd name="T43" fmla="*/ 64 h 669"/>
                  <a:gd name="T44" fmla="*/ 64 w 791"/>
                  <a:gd name="T45" fmla="*/ 49 h 669"/>
                  <a:gd name="T46" fmla="*/ 78 w 791"/>
                  <a:gd name="T47" fmla="*/ 42 h 669"/>
                  <a:gd name="T48" fmla="*/ 178 w 791"/>
                  <a:gd name="T49" fmla="*/ 49 h 669"/>
                  <a:gd name="T50" fmla="*/ 192 w 791"/>
                  <a:gd name="T51" fmla="*/ 56 h 669"/>
                  <a:gd name="T52" fmla="*/ 199 w 791"/>
                  <a:gd name="T53" fmla="*/ 64 h 669"/>
                  <a:gd name="T54" fmla="*/ 199 w 791"/>
                  <a:gd name="T55" fmla="*/ 85 h 669"/>
                  <a:gd name="T56" fmla="*/ 185 w 791"/>
                  <a:gd name="T57" fmla="*/ 99 h 669"/>
                  <a:gd name="T58" fmla="*/ 171 w 791"/>
                  <a:gd name="T59" fmla="*/ 99 h 669"/>
                  <a:gd name="T60" fmla="*/ 156 w 791"/>
                  <a:gd name="T61" fmla="*/ 99 h 669"/>
                  <a:gd name="T62" fmla="*/ 142 w 791"/>
                  <a:gd name="T63" fmla="*/ 85 h 669"/>
                  <a:gd name="T64" fmla="*/ 142 w 791"/>
                  <a:gd name="T65" fmla="*/ 64 h 669"/>
                  <a:gd name="T66" fmla="*/ 149 w 791"/>
                  <a:gd name="T67" fmla="*/ 56 h 669"/>
                  <a:gd name="T68" fmla="*/ 163 w 791"/>
                  <a:gd name="T69" fmla="*/ 49 h 669"/>
                  <a:gd name="T70" fmla="*/ 263 w 791"/>
                  <a:gd name="T71" fmla="*/ 42 h 669"/>
                  <a:gd name="T72" fmla="*/ 277 w 791"/>
                  <a:gd name="T73" fmla="*/ 49 h 669"/>
                  <a:gd name="T74" fmla="*/ 292 w 791"/>
                  <a:gd name="T75" fmla="*/ 64 h 669"/>
                  <a:gd name="T76" fmla="*/ 292 w 791"/>
                  <a:gd name="T77" fmla="*/ 78 h 669"/>
                  <a:gd name="T78" fmla="*/ 285 w 791"/>
                  <a:gd name="T79" fmla="*/ 92 h 669"/>
                  <a:gd name="T80" fmla="*/ 270 w 791"/>
                  <a:gd name="T81" fmla="*/ 99 h 669"/>
                  <a:gd name="T82" fmla="*/ 256 w 791"/>
                  <a:gd name="T83" fmla="*/ 99 h 669"/>
                  <a:gd name="T84" fmla="*/ 242 w 791"/>
                  <a:gd name="T85" fmla="*/ 92 h 669"/>
                  <a:gd name="T86" fmla="*/ 235 w 791"/>
                  <a:gd name="T87" fmla="*/ 71 h 669"/>
                  <a:gd name="T88" fmla="*/ 242 w 791"/>
                  <a:gd name="T89" fmla="*/ 56 h 669"/>
                  <a:gd name="T90" fmla="*/ 256 w 791"/>
                  <a:gd name="T91" fmla="*/ 49 h 669"/>
                  <a:gd name="T92" fmla="*/ 755 w 791"/>
                  <a:gd name="T93" fmla="*/ 0 h 669"/>
                  <a:gd name="T94" fmla="*/ 21 w 791"/>
                  <a:gd name="T95" fmla="*/ 0 h 669"/>
                  <a:gd name="T96" fmla="*/ 7 w 791"/>
                  <a:gd name="T97" fmla="*/ 14 h 669"/>
                  <a:gd name="T98" fmla="*/ 0 w 791"/>
                  <a:gd name="T99" fmla="*/ 35 h 669"/>
                  <a:gd name="T100" fmla="*/ 0 w 791"/>
                  <a:gd name="T101" fmla="*/ 647 h 669"/>
                  <a:gd name="T102" fmla="*/ 14 w 791"/>
                  <a:gd name="T103" fmla="*/ 661 h 669"/>
                  <a:gd name="T104" fmla="*/ 35 w 791"/>
                  <a:gd name="T105" fmla="*/ 669 h 669"/>
                  <a:gd name="T106" fmla="*/ 769 w 791"/>
                  <a:gd name="T107" fmla="*/ 669 h 669"/>
                  <a:gd name="T108" fmla="*/ 783 w 791"/>
                  <a:gd name="T109" fmla="*/ 654 h 669"/>
                  <a:gd name="T110" fmla="*/ 791 w 791"/>
                  <a:gd name="T111" fmla="*/ 633 h 669"/>
                  <a:gd name="T112" fmla="*/ 791 w 791"/>
                  <a:gd name="T113" fmla="*/ 21 h 669"/>
                  <a:gd name="T114" fmla="*/ 776 w 791"/>
                  <a:gd name="T115" fmla="*/ 7 h 669"/>
                  <a:gd name="T116" fmla="*/ 755 w 791"/>
                  <a:gd name="T117" fmla="*/ 0 h 6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91" h="669">
                    <a:moveTo>
                      <a:pt x="741" y="583"/>
                    </a:moveTo>
                    <a:lnTo>
                      <a:pt x="741" y="583"/>
                    </a:lnTo>
                    <a:lnTo>
                      <a:pt x="741" y="583"/>
                    </a:lnTo>
                    <a:lnTo>
                      <a:pt x="741" y="597"/>
                    </a:lnTo>
                    <a:lnTo>
                      <a:pt x="734" y="597"/>
                    </a:lnTo>
                    <a:lnTo>
                      <a:pt x="734" y="604"/>
                    </a:lnTo>
                    <a:lnTo>
                      <a:pt x="726" y="612"/>
                    </a:lnTo>
                    <a:lnTo>
                      <a:pt x="719" y="612"/>
                    </a:lnTo>
                    <a:lnTo>
                      <a:pt x="712" y="619"/>
                    </a:lnTo>
                    <a:lnTo>
                      <a:pt x="705" y="619"/>
                    </a:lnTo>
                    <a:lnTo>
                      <a:pt x="85" y="619"/>
                    </a:lnTo>
                    <a:lnTo>
                      <a:pt x="71" y="619"/>
                    </a:lnTo>
                    <a:lnTo>
                      <a:pt x="71" y="612"/>
                    </a:lnTo>
                    <a:lnTo>
                      <a:pt x="64" y="612"/>
                    </a:lnTo>
                    <a:lnTo>
                      <a:pt x="57" y="604"/>
                    </a:lnTo>
                    <a:lnTo>
                      <a:pt x="49" y="597"/>
                    </a:lnTo>
                    <a:lnTo>
                      <a:pt x="49" y="597"/>
                    </a:lnTo>
                    <a:lnTo>
                      <a:pt x="42" y="583"/>
                    </a:lnTo>
                    <a:lnTo>
                      <a:pt x="42" y="583"/>
                    </a:lnTo>
                    <a:lnTo>
                      <a:pt x="42" y="213"/>
                    </a:lnTo>
                    <a:lnTo>
                      <a:pt x="42" y="206"/>
                    </a:lnTo>
                    <a:lnTo>
                      <a:pt x="49" y="199"/>
                    </a:lnTo>
                    <a:lnTo>
                      <a:pt x="49" y="192"/>
                    </a:lnTo>
                    <a:lnTo>
                      <a:pt x="57" y="185"/>
                    </a:lnTo>
                    <a:lnTo>
                      <a:pt x="64" y="177"/>
                    </a:lnTo>
                    <a:lnTo>
                      <a:pt x="71" y="177"/>
                    </a:lnTo>
                    <a:lnTo>
                      <a:pt x="71" y="177"/>
                    </a:lnTo>
                    <a:lnTo>
                      <a:pt x="85" y="170"/>
                    </a:lnTo>
                    <a:lnTo>
                      <a:pt x="705" y="170"/>
                    </a:lnTo>
                    <a:lnTo>
                      <a:pt x="712" y="177"/>
                    </a:lnTo>
                    <a:lnTo>
                      <a:pt x="719" y="177"/>
                    </a:lnTo>
                    <a:lnTo>
                      <a:pt x="726" y="177"/>
                    </a:lnTo>
                    <a:lnTo>
                      <a:pt x="734" y="185"/>
                    </a:lnTo>
                    <a:lnTo>
                      <a:pt x="734" y="192"/>
                    </a:lnTo>
                    <a:lnTo>
                      <a:pt x="741" y="199"/>
                    </a:lnTo>
                    <a:lnTo>
                      <a:pt x="741" y="206"/>
                    </a:lnTo>
                    <a:lnTo>
                      <a:pt x="741" y="213"/>
                    </a:lnTo>
                    <a:lnTo>
                      <a:pt x="741" y="583"/>
                    </a:lnTo>
                    <a:close/>
                    <a:moveTo>
                      <a:pt x="78" y="42"/>
                    </a:moveTo>
                    <a:lnTo>
                      <a:pt x="78" y="42"/>
                    </a:lnTo>
                    <a:lnTo>
                      <a:pt x="85" y="49"/>
                    </a:lnTo>
                    <a:lnTo>
                      <a:pt x="85" y="49"/>
                    </a:lnTo>
                    <a:lnTo>
                      <a:pt x="92" y="49"/>
                    </a:lnTo>
                    <a:lnTo>
                      <a:pt x="99" y="56"/>
                    </a:lnTo>
                    <a:lnTo>
                      <a:pt x="99" y="56"/>
                    </a:lnTo>
                    <a:lnTo>
                      <a:pt x="106" y="64"/>
                    </a:lnTo>
                    <a:lnTo>
                      <a:pt x="106" y="64"/>
                    </a:lnTo>
                    <a:lnTo>
                      <a:pt x="106" y="71"/>
                    </a:lnTo>
                    <a:lnTo>
                      <a:pt x="106" y="78"/>
                    </a:lnTo>
                    <a:lnTo>
                      <a:pt x="106" y="85"/>
                    </a:lnTo>
                    <a:lnTo>
                      <a:pt x="99" y="92"/>
                    </a:lnTo>
                    <a:lnTo>
                      <a:pt x="99" y="92"/>
                    </a:lnTo>
                    <a:lnTo>
                      <a:pt x="92" y="99"/>
                    </a:lnTo>
                    <a:lnTo>
                      <a:pt x="85" y="99"/>
                    </a:lnTo>
                    <a:lnTo>
                      <a:pt x="85" y="99"/>
                    </a:lnTo>
                    <a:lnTo>
                      <a:pt x="78" y="99"/>
                    </a:lnTo>
                    <a:lnTo>
                      <a:pt x="71" y="99"/>
                    </a:lnTo>
                    <a:lnTo>
                      <a:pt x="64" y="99"/>
                    </a:lnTo>
                    <a:lnTo>
                      <a:pt x="64" y="99"/>
                    </a:lnTo>
                    <a:lnTo>
                      <a:pt x="57" y="92"/>
                    </a:lnTo>
                    <a:lnTo>
                      <a:pt x="57" y="92"/>
                    </a:lnTo>
                    <a:lnTo>
                      <a:pt x="49" y="85"/>
                    </a:lnTo>
                    <a:lnTo>
                      <a:pt x="49" y="78"/>
                    </a:lnTo>
                    <a:lnTo>
                      <a:pt x="49" y="71"/>
                    </a:lnTo>
                    <a:lnTo>
                      <a:pt x="49" y="64"/>
                    </a:lnTo>
                    <a:lnTo>
                      <a:pt x="49" y="64"/>
                    </a:lnTo>
                    <a:lnTo>
                      <a:pt x="57" y="56"/>
                    </a:lnTo>
                    <a:lnTo>
                      <a:pt x="57" y="56"/>
                    </a:lnTo>
                    <a:lnTo>
                      <a:pt x="64" y="49"/>
                    </a:lnTo>
                    <a:lnTo>
                      <a:pt x="64" y="49"/>
                    </a:lnTo>
                    <a:lnTo>
                      <a:pt x="71" y="49"/>
                    </a:lnTo>
                    <a:lnTo>
                      <a:pt x="78" y="42"/>
                    </a:lnTo>
                    <a:close/>
                    <a:moveTo>
                      <a:pt x="171" y="42"/>
                    </a:moveTo>
                    <a:lnTo>
                      <a:pt x="171" y="42"/>
                    </a:lnTo>
                    <a:lnTo>
                      <a:pt x="178" y="49"/>
                    </a:lnTo>
                    <a:lnTo>
                      <a:pt x="178" y="49"/>
                    </a:lnTo>
                    <a:lnTo>
                      <a:pt x="185" y="49"/>
                    </a:lnTo>
                    <a:lnTo>
                      <a:pt x="192" y="56"/>
                    </a:lnTo>
                    <a:lnTo>
                      <a:pt x="192" y="56"/>
                    </a:lnTo>
                    <a:lnTo>
                      <a:pt x="199" y="64"/>
                    </a:lnTo>
                    <a:lnTo>
                      <a:pt x="199" y="64"/>
                    </a:lnTo>
                    <a:lnTo>
                      <a:pt x="199" y="71"/>
                    </a:lnTo>
                    <a:lnTo>
                      <a:pt x="199" y="78"/>
                    </a:lnTo>
                    <a:lnTo>
                      <a:pt x="199" y="85"/>
                    </a:lnTo>
                    <a:lnTo>
                      <a:pt x="192" y="92"/>
                    </a:lnTo>
                    <a:lnTo>
                      <a:pt x="192" y="92"/>
                    </a:lnTo>
                    <a:lnTo>
                      <a:pt x="185" y="99"/>
                    </a:lnTo>
                    <a:lnTo>
                      <a:pt x="178" y="99"/>
                    </a:lnTo>
                    <a:lnTo>
                      <a:pt x="178" y="99"/>
                    </a:lnTo>
                    <a:lnTo>
                      <a:pt x="171" y="99"/>
                    </a:lnTo>
                    <a:lnTo>
                      <a:pt x="163" y="99"/>
                    </a:lnTo>
                    <a:lnTo>
                      <a:pt x="156" y="99"/>
                    </a:lnTo>
                    <a:lnTo>
                      <a:pt x="156" y="99"/>
                    </a:lnTo>
                    <a:lnTo>
                      <a:pt x="149" y="92"/>
                    </a:lnTo>
                    <a:lnTo>
                      <a:pt x="142" y="92"/>
                    </a:lnTo>
                    <a:lnTo>
                      <a:pt x="142" y="85"/>
                    </a:lnTo>
                    <a:lnTo>
                      <a:pt x="142" y="78"/>
                    </a:lnTo>
                    <a:lnTo>
                      <a:pt x="142" y="71"/>
                    </a:lnTo>
                    <a:lnTo>
                      <a:pt x="142" y="64"/>
                    </a:lnTo>
                    <a:lnTo>
                      <a:pt x="142" y="64"/>
                    </a:lnTo>
                    <a:lnTo>
                      <a:pt x="142" y="56"/>
                    </a:lnTo>
                    <a:lnTo>
                      <a:pt x="149" y="56"/>
                    </a:lnTo>
                    <a:lnTo>
                      <a:pt x="156" y="49"/>
                    </a:lnTo>
                    <a:lnTo>
                      <a:pt x="156" y="49"/>
                    </a:lnTo>
                    <a:lnTo>
                      <a:pt x="163" y="49"/>
                    </a:lnTo>
                    <a:lnTo>
                      <a:pt x="171" y="42"/>
                    </a:lnTo>
                    <a:close/>
                    <a:moveTo>
                      <a:pt x="263" y="42"/>
                    </a:moveTo>
                    <a:lnTo>
                      <a:pt x="263" y="42"/>
                    </a:lnTo>
                    <a:lnTo>
                      <a:pt x="270" y="49"/>
                    </a:lnTo>
                    <a:lnTo>
                      <a:pt x="277" y="49"/>
                    </a:lnTo>
                    <a:lnTo>
                      <a:pt x="277" y="49"/>
                    </a:lnTo>
                    <a:lnTo>
                      <a:pt x="285" y="56"/>
                    </a:lnTo>
                    <a:lnTo>
                      <a:pt x="285" y="56"/>
                    </a:lnTo>
                    <a:lnTo>
                      <a:pt x="292" y="64"/>
                    </a:lnTo>
                    <a:lnTo>
                      <a:pt x="292" y="64"/>
                    </a:lnTo>
                    <a:lnTo>
                      <a:pt x="292" y="71"/>
                    </a:lnTo>
                    <a:lnTo>
                      <a:pt x="292" y="78"/>
                    </a:lnTo>
                    <a:lnTo>
                      <a:pt x="292" y="85"/>
                    </a:lnTo>
                    <a:lnTo>
                      <a:pt x="285" y="92"/>
                    </a:lnTo>
                    <a:lnTo>
                      <a:pt x="285" y="92"/>
                    </a:lnTo>
                    <a:lnTo>
                      <a:pt x="277" y="99"/>
                    </a:lnTo>
                    <a:lnTo>
                      <a:pt x="277" y="99"/>
                    </a:lnTo>
                    <a:lnTo>
                      <a:pt x="270" y="99"/>
                    </a:lnTo>
                    <a:lnTo>
                      <a:pt x="263" y="99"/>
                    </a:lnTo>
                    <a:lnTo>
                      <a:pt x="256" y="99"/>
                    </a:lnTo>
                    <a:lnTo>
                      <a:pt x="256" y="99"/>
                    </a:lnTo>
                    <a:lnTo>
                      <a:pt x="249" y="99"/>
                    </a:lnTo>
                    <a:lnTo>
                      <a:pt x="242" y="92"/>
                    </a:lnTo>
                    <a:lnTo>
                      <a:pt x="242" y="92"/>
                    </a:lnTo>
                    <a:lnTo>
                      <a:pt x="235" y="85"/>
                    </a:lnTo>
                    <a:lnTo>
                      <a:pt x="235" y="78"/>
                    </a:lnTo>
                    <a:lnTo>
                      <a:pt x="235" y="71"/>
                    </a:lnTo>
                    <a:lnTo>
                      <a:pt x="235" y="64"/>
                    </a:lnTo>
                    <a:lnTo>
                      <a:pt x="235" y="64"/>
                    </a:lnTo>
                    <a:lnTo>
                      <a:pt x="242" y="56"/>
                    </a:lnTo>
                    <a:lnTo>
                      <a:pt x="242" y="56"/>
                    </a:lnTo>
                    <a:lnTo>
                      <a:pt x="249" y="49"/>
                    </a:lnTo>
                    <a:lnTo>
                      <a:pt x="256" y="49"/>
                    </a:lnTo>
                    <a:lnTo>
                      <a:pt x="256" y="49"/>
                    </a:lnTo>
                    <a:lnTo>
                      <a:pt x="263" y="42"/>
                    </a:lnTo>
                    <a:close/>
                    <a:moveTo>
                      <a:pt x="755" y="0"/>
                    </a:moveTo>
                    <a:lnTo>
                      <a:pt x="35" y="0"/>
                    </a:lnTo>
                    <a:lnTo>
                      <a:pt x="28" y="0"/>
                    </a:lnTo>
                    <a:lnTo>
                      <a:pt x="21" y="0"/>
                    </a:lnTo>
                    <a:lnTo>
                      <a:pt x="14" y="7"/>
                    </a:lnTo>
                    <a:lnTo>
                      <a:pt x="7" y="7"/>
                    </a:lnTo>
                    <a:lnTo>
                      <a:pt x="7" y="14"/>
                    </a:lnTo>
                    <a:lnTo>
                      <a:pt x="0" y="21"/>
                    </a:lnTo>
                    <a:lnTo>
                      <a:pt x="0" y="28"/>
                    </a:lnTo>
                    <a:lnTo>
                      <a:pt x="0" y="35"/>
                    </a:lnTo>
                    <a:lnTo>
                      <a:pt x="0" y="633"/>
                    </a:lnTo>
                    <a:lnTo>
                      <a:pt x="0" y="640"/>
                    </a:lnTo>
                    <a:lnTo>
                      <a:pt x="0" y="647"/>
                    </a:lnTo>
                    <a:lnTo>
                      <a:pt x="7" y="654"/>
                    </a:lnTo>
                    <a:lnTo>
                      <a:pt x="7" y="661"/>
                    </a:lnTo>
                    <a:lnTo>
                      <a:pt x="14" y="661"/>
                    </a:lnTo>
                    <a:lnTo>
                      <a:pt x="21" y="669"/>
                    </a:lnTo>
                    <a:lnTo>
                      <a:pt x="28" y="669"/>
                    </a:lnTo>
                    <a:lnTo>
                      <a:pt x="35" y="669"/>
                    </a:lnTo>
                    <a:lnTo>
                      <a:pt x="755" y="669"/>
                    </a:lnTo>
                    <a:lnTo>
                      <a:pt x="762" y="669"/>
                    </a:lnTo>
                    <a:lnTo>
                      <a:pt x="769" y="669"/>
                    </a:lnTo>
                    <a:lnTo>
                      <a:pt x="776" y="661"/>
                    </a:lnTo>
                    <a:lnTo>
                      <a:pt x="783" y="661"/>
                    </a:lnTo>
                    <a:lnTo>
                      <a:pt x="783" y="654"/>
                    </a:lnTo>
                    <a:lnTo>
                      <a:pt x="791" y="647"/>
                    </a:lnTo>
                    <a:lnTo>
                      <a:pt x="791" y="640"/>
                    </a:lnTo>
                    <a:lnTo>
                      <a:pt x="791" y="633"/>
                    </a:lnTo>
                    <a:lnTo>
                      <a:pt x="791" y="35"/>
                    </a:lnTo>
                    <a:lnTo>
                      <a:pt x="791" y="28"/>
                    </a:lnTo>
                    <a:lnTo>
                      <a:pt x="791" y="21"/>
                    </a:lnTo>
                    <a:lnTo>
                      <a:pt x="783" y="14"/>
                    </a:lnTo>
                    <a:lnTo>
                      <a:pt x="783" y="7"/>
                    </a:lnTo>
                    <a:lnTo>
                      <a:pt x="776" y="7"/>
                    </a:lnTo>
                    <a:lnTo>
                      <a:pt x="769" y="0"/>
                    </a:lnTo>
                    <a:lnTo>
                      <a:pt x="762" y="0"/>
                    </a:lnTo>
                    <a:lnTo>
                      <a:pt x="75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CA" sz="700" dirty="0">
                  <a:solidFill>
                    <a:srgbClr val="44546A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89" name="Freeform 7"/>
              <p:cNvSpPr>
                <a:spLocks noEditPoints="1"/>
              </p:cNvSpPr>
              <p:nvPr/>
            </p:nvSpPr>
            <p:spPr bwMode="auto">
              <a:xfrm>
                <a:off x="5368450" y="1507393"/>
                <a:ext cx="47766" cy="48911"/>
              </a:xfrm>
              <a:custGeom>
                <a:avLst/>
                <a:gdLst>
                  <a:gd name="T0" fmla="*/ 128 w 292"/>
                  <a:gd name="T1" fmla="*/ 221 h 299"/>
                  <a:gd name="T2" fmla="*/ 92 w 292"/>
                  <a:gd name="T3" fmla="*/ 200 h 299"/>
                  <a:gd name="T4" fmla="*/ 78 w 292"/>
                  <a:gd name="T5" fmla="*/ 164 h 299"/>
                  <a:gd name="T6" fmla="*/ 78 w 292"/>
                  <a:gd name="T7" fmla="*/ 121 h 299"/>
                  <a:gd name="T8" fmla="*/ 106 w 292"/>
                  <a:gd name="T9" fmla="*/ 93 h 299"/>
                  <a:gd name="T10" fmla="*/ 142 w 292"/>
                  <a:gd name="T11" fmla="*/ 79 h 299"/>
                  <a:gd name="T12" fmla="*/ 185 w 292"/>
                  <a:gd name="T13" fmla="*/ 93 h 299"/>
                  <a:gd name="T14" fmla="*/ 213 w 292"/>
                  <a:gd name="T15" fmla="*/ 121 h 299"/>
                  <a:gd name="T16" fmla="*/ 213 w 292"/>
                  <a:gd name="T17" fmla="*/ 164 h 299"/>
                  <a:gd name="T18" fmla="*/ 192 w 292"/>
                  <a:gd name="T19" fmla="*/ 200 h 299"/>
                  <a:gd name="T20" fmla="*/ 156 w 292"/>
                  <a:gd name="T21" fmla="*/ 221 h 299"/>
                  <a:gd name="T22" fmla="*/ 285 w 292"/>
                  <a:gd name="T23" fmla="*/ 121 h 299"/>
                  <a:gd name="T24" fmla="*/ 292 w 292"/>
                  <a:gd name="T25" fmla="*/ 114 h 299"/>
                  <a:gd name="T26" fmla="*/ 278 w 292"/>
                  <a:gd name="T27" fmla="*/ 79 h 299"/>
                  <a:gd name="T28" fmla="*/ 249 w 292"/>
                  <a:gd name="T29" fmla="*/ 43 h 299"/>
                  <a:gd name="T30" fmla="*/ 242 w 292"/>
                  <a:gd name="T31" fmla="*/ 43 h 299"/>
                  <a:gd name="T32" fmla="*/ 221 w 292"/>
                  <a:gd name="T33" fmla="*/ 43 h 299"/>
                  <a:gd name="T34" fmla="*/ 185 w 292"/>
                  <a:gd name="T35" fmla="*/ 29 h 299"/>
                  <a:gd name="T36" fmla="*/ 192 w 292"/>
                  <a:gd name="T37" fmla="*/ 15 h 299"/>
                  <a:gd name="T38" fmla="*/ 185 w 292"/>
                  <a:gd name="T39" fmla="*/ 8 h 299"/>
                  <a:gd name="T40" fmla="*/ 128 w 292"/>
                  <a:gd name="T41" fmla="*/ 0 h 299"/>
                  <a:gd name="T42" fmla="*/ 99 w 292"/>
                  <a:gd name="T43" fmla="*/ 8 h 299"/>
                  <a:gd name="T44" fmla="*/ 99 w 292"/>
                  <a:gd name="T45" fmla="*/ 22 h 299"/>
                  <a:gd name="T46" fmla="*/ 78 w 292"/>
                  <a:gd name="T47" fmla="*/ 43 h 299"/>
                  <a:gd name="T48" fmla="*/ 57 w 292"/>
                  <a:gd name="T49" fmla="*/ 43 h 299"/>
                  <a:gd name="T50" fmla="*/ 42 w 292"/>
                  <a:gd name="T51" fmla="*/ 43 h 299"/>
                  <a:gd name="T52" fmla="*/ 28 w 292"/>
                  <a:gd name="T53" fmla="*/ 57 h 299"/>
                  <a:gd name="T54" fmla="*/ 0 w 292"/>
                  <a:gd name="T55" fmla="*/ 114 h 299"/>
                  <a:gd name="T56" fmla="*/ 0 w 292"/>
                  <a:gd name="T57" fmla="*/ 121 h 299"/>
                  <a:gd name="T58" fmla="*/ 21 w 292"/>
                  <a:gd name="T59" fmla="*/ 121 h 299"/>
                  <a:gd name="T60" fmla="*/ 14 w 292"/>
                  <a:gd name="T61" fmla="*/ 164 h 299"/>
                  <a:gd name="T62" fmla="*/ 7 w 292"/>
                  <a:gd name="T63" fmla="*/ 178 h 299"/>
                  <a:gd name="T64" fmla="*/ 0 w 292"/>
                  <a:gd name="T65" fmla="*/ 185 h 299"/>
                  <a:gd name="T66" fmla="*/ 14 w 292"/>
                  <a:gd name="T67" fmla="*/ 228 h 299"/>
                  <a:gd name="T68" fmla="*/ 42 w 292"/>
                  <a:gd name="T69" fmla="*/ 257 h 299"/>
                  <a:gd name="T70" fmla="*/ 49 w 292"/>
                  <a:gd name="T71" fmla="*/ 257 h 299"/>
                  <a:gd name="T72" fmla="*/ 71 w 292"/>
                  <a:gd name="T73" fmla="*/ 250 h 299"/>
                  <a:gd name="T74" fmla="*/ 106 w 292"/>
                  <a:gd name="T75" fmla="*/ 271 h 299"/>
                  <a:gd name="T76" fmla="*/ 99 w 292"/>
                  <a:gd name="T77" fmla="*/ 285 h 299"/>
                  <a:gd name="T78" fmla="*/ 106 w 292"/>
                  <a:gd name="T79" fmla="*/ 292 h 299"/>
                  <a:gd name="T80" fmla="*/ 164 w 292"/>
                  <a:gd name="T81" fmla="*/ 299 h 299"/>
                  <a:gd name="T82" fmla="*/ 185 w 292"/>
                  <a:gd name="T83" fmla="*/ 292 h 299"/>
                  <a:gd name="T84" fmla="*/ 192 w 292"/>
                  <a:gd name="T85" fmla="*/ 278 h 299"/>
                  <a:gd name="T86" fmla="*/ 206 w 292"/>
                  <a:gd name="T87" fmla="*/ 257 h 299"/>
                  <a:gd name="T88" fmla="*/ 235 w 292"/>
                  <a:gd name="T89" fmla="*/ 250 h 299"/>
                  <a:gd name="T90" fmla="*/ 249 w 292"/>
                  <a:gd name="T91" fmla="*/ 257 h 299"/>
                  <a:gd name="T92" fmla="*/ 263 w 292"/>
                  <a:gd name="T93" fmla="*/ 242 h 299"/>
                  <a:gd name="T94" fmla="*/ 292 w 292"/>
                  <a:gd name="T95" fmla="*/ 193 h 299"/>
                  <a:gd name="T96" fmla="*/ 285 w 292"/>
                  <a:gd name="T97" fmla="*/ 178 h 299"/>
                  <a:gd name="T98" fmla="*/ 270 w 292"/>
                  <a:gd name="T99" fmla="*/ 171 h 299"/>
                  <a:gd name="T100" fmla="*/ 270 w 292"/>
                  <a:gd name="T101" fmla="*/ 136 h 299"/>
                  <a:gd name="T102" fmla="*/ 285 w 292"/>
                  <a:gd name="T103" fmla="*/ 121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92" h="299">
                    <a:moveTo>
                      <a:pt x="142" y="221"/>
                    </a:moveTo>
                    <a:lnTo>
                      <a:pt x="142" y="221"/>
                    </a:lnTo>
                    <a:lnTo>
                      <a:pt x="128" y="221"/>
                    </a:lnTo>
                    <a:lnTo>
                      <a:pt x="114" y="214"/>
                    </a:lnTo>
                    <a:lnTo>
                      <a:pt x="106" y="207"/>
                    </a:lnTo>
                    <a:lnTo>
                      <a:pt x="92" y="200"/>
                    </a:lnTo>
                    <a:lnTo>
                      <a:pt x="85" y="193"/>
                    </a:lnTo>
                    <a:lnTo>
                      <a:pt x="78" y="178"/>
                    </a:lnTo>
                    <a:lnTo>
                      <a:pt x="78" y="164"/>
                    </a:lnTo>
                    <a:lnTo>
                      <a:pt x="71" y="150"/>
                    </a:lnTo>
                    <a:lnTo>
                      <a:pt x="78" y="136"/>
                    </a:lnTo>
                    <a:lnTo>
                      <a:pt x="78" y="121"/>
                    </a:lnTo>
                    <a:lnTo>
                      <a:pt x="85" y="114"/>
                    </a:lnTo>
                    <a:lnTo>
                      <a:pt x="92" y="100"/>
                    </a:lnTo>
                    <a:lnTo>
                      <a:pt x="106" y="93"/>
                    </a:lnTo>
                    <a:lnTo>
                      <a:pt x="114" y="86"/>
                    </a:lnTo>
                    <a:lnTo>
                      <a:pt x="128" y="79"/>
                    </a:lnTo>
                    <a:lnTo>
                      <a:pt x="142" y="79"/>
                    </a:lnTo>
                    <a:lnTo>
                      <a:pt x="156" y="79"/>
                    </a:lnTo>
                    <a:lnTo>
                      <a:pt x="171" y="86"/>
                    </a:lnTo>
                    <a:lnTo>
                      <a:pt x="185" y="93"/>
                    </a:lnTo>
                    <a:lnTo>
                      <a:pt x="192" y="100"/>
                    </a:lnTo>
                    <a:lnTo>
                      <a:pt x="206" y="114"/>
                    </a:lnTo>
                    <a:lnTo>
                      <a:pt x="213" y="121"/>
                    </a:lnTo>
                    <a:lnTo>
                      <a:pt x="213" y="136"/>
                    </a:lnTo>
                    <a:lnTo>
                      <a:pt x="213" y="150"/>
                    </a:lnTo>
                    <a:lnTo>
                      <a:pt x="213" y="164"/>
                    </a:lnTo>
                    <a:lnTo>
                      <a:pt x="213" y="178"/>
                    </a:lnTo>
                    <a:lnTo>
                      <a:pt x="206" y="193"/>
                    </a:lnTo>
                    <a:lnTo>
                      <a:pt x="192" y="200"/>
                    </a:lnTo>
                    <a:lnTo>
                      <a:pt x="185" y="207"/>
                    </a:lnTo>
                    <a:lnTo>
                      <a:pt x="171" y="214"/>
                    </a:lnTo>
                    <a:lnTo>
                      <a:pt x="156" y="221"/>
                    </a:lnTo>
                    <a:lnTo>
                      <a:pt x="142" y="221"/>
                    </a:lnTo>
                    <a:close/>
                    <a:moveTo>
                      <a:pt x="285" y="121"/>
                    </a:moveTo>
                    <a:lnTo>
                      <a:pt x="285" y="121"/>
                    </a:lnTo>
                    <a:lnTo>
                      <a:pt x="285" y="121"/>
                    </a:lnTo>
                    <a:lnTo>
                      <a:pt x="292" y="121"/>
                    </a:lnTo>
                    <a:lnTo>
                      <a:pt x="292" y="114"/>
                    </a:lnTo>
                    <a:lnTo>
                      <a:pt x="292" y="114"/>
                    </a:lnTo>
                    <a:lnTo>
                      <a:pt x="285" y="93"/>
                    </a:lnTo>
                    <a:lnTo>
                      <a:pt x="278" y="79"/>
                    </a:lnTo>
                    <a:lnTo>
                      <a:pt x="263" y="57"/>
                    </a:lnTo>
                    <a:lnTo>
                      <a:pt x="249" y="43"/>
                    </a:lnTo>
                    <a:lnTo>
                      <a:pt x="249" y="43"/>
                    </a:lnTo>
                    <a:lnTo>
                      <a:pt x="249" y="43"/>
                    </a:lnTo>
                    <a:lnTo>
                      <a:pt x="242" y="43"/>
                    </a:lnTo>
                    <a:lnTo>
                      <a:pt x="242" y="43"/>
                    </a:lnTo>
                    <a:lnTo>
                      <a:pt x="235" y="43"/>
                    </a:lnTo>
                    <a:lnTo>
                      <a:pt x="228" y="57"/>
                    </a:lnTo>
                    <a:lnTo>
                      <a:pt x="221" y="43"/>
                    </a:lnTo>
                    <a:lnTo>
                      <a:pt x="206" y="43"/>
                    </a:lnTo>
                    <a:lnTo>
                      <a:pt x="199" y="36"/>
                    </a:lnTo>
                    <a:lnTo>
                      <a:pt x="185" y="29"/>
                    </a:lnTo>
                    <a:lnTo>
                      <a:pt x="192" y="22"/>
                    </a:lnTo>
                    <a:lnTo>
                      <a:pt x="192" y="15"/>
                    </a:lnTo>
                    <a:lnTo>
                      <a:pt x="192" y="15"/>
                    </a:lnTo>
                    <a:lnTo>
                      <a:pt x="185" y="8"/>
                    </a:lnTo>
                    <a:lnTo>
                      <a:pt x="185" y="8"/>
                    </a:lnTo>
                    <a:lnTo>
                      <a:pt x="185" y="8"/>
                    </a:lnTo>
                    <a:lnTo>
                      <a:pt x="164" y="0"/>
                    </a:lnTo>
                    <a:lnTo>
                      <a:pt x="142" y="0"/>
                    </a:lnTo>
                    <a:lnTo>
                      <a:pt x="128" y="0"/>
                    </a:lnTo>
                    <a:lnTo>
                      <a:pt x="106" y="8"/>
                    </a:lnTo>
                    <a:lnTo>
                      <a:pt x="106" y="8"/>
                    </a:lnTo>
                    <a:lnTo>
                      <a:pt x="99" y="8"/>
                    </a:lnTo>
                    <a:lnTo>
                      <a:pt x="99" y="15"/>
                    </a:lnTo>
                    <a:lnTo>
                      <a:pt x="99" y="15"/>
                    </a:lnTo>
                    <a:lnTo>
                      <a:pt x="99" y="22"/>
                    </a:lnTo>
                    <a:lnTo>
                      <a:pt x="106" y="29"/>
                    </a:lnTo>
                    <a:lnTo>
                      <a:pt x="92" y="36"/>
                    </a:lnTo>
                    <a:lnTo>
                      <a:pt x="78" y="43"/>
                    </a:lnTo>
                    <a:lnTo>
                      <a:pt x="71" y="43"/>
                    </a:lnTo>
                    <a:lnTo>
                      <a:pt x="64" y="57"/>
                    </a:lnTo>
                    <a:lnTo>
                      <a:pt x="57" y="43"/>
                    </a:lnTo>
                    <a:lnTo>
                      <a:pt x="49" y="43"/>
                    </a:lnTo>
                    <a:lnTo>
                      <a:pt x="49" y="43"/>
                    </a:lnTo>
                    <a:lnTo>
                      <a:pt x="42" y="43"/>
                    </a:lnTo>
                    <a:lnTo>
                      <a:pt x="42" y="43"/>
                    </a:lnTo>
                    <a:lnTo>
                      <a:pt x="35" y="43"/>
                    </a:lnTo>
                    <a:lnTo>
                      <a:pt x="28" y="57"/>
                    </a:lnTo>
                    <a:lnTo>
                      <a:pt x="14" y="79"/>
                    </a:lnTo>
                    <a:lnTo>
                      <a:pt x="7" y="93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0" y="121"/>
                    </a:lnTo>
                    <a:lnTo>
                      <a:pt x="0" y="121"/>
                    </a:lnTo>
                    <a:lnTo>
                      <a:pt x="7" y="121"/>
                    </a:lnTo>
                    <a:lnTo>
                      <a:pt x="7" y="121"/>
                    </a:lnTo>
                    <a:lnTo>
                      <a:pt x="21" y="121"/>
                    </a:lnTo>
                    <a:lnTo>
                      <a:pt x="14" y="136"/>
                    </a:lnTo>
                    <a:lnTo>
                      <a:pt x="14" y="150"/>
                    </a:lnTo>
                    <a:lnTo>
                      <a:pt x="14" y="164"/>
                    </a:lnTo>
                    <a:lnTo>
                      <a:pt x="21" y="171"/>
                    </a:lnTo>
                    <a:lnTo>
                      <a:pt x="7" y="178"/>
                    </a:lnTo>
                    <a:lnTo>
                      <a:pt x="7" y="178"/>
                    </a:lnTo>
                    <a:lnTo>
                      <a:pt x="0" y="178"/>
                    </a:lnTo>
                    <a:lnTo>
                      <a:pt x="0" y="185"/>
                    </a:lnTo>
                    <a:lnTo>
                      <a:pt x="0" y="185"/>
                    </a:lnTo>
                    <a:lnTo>
                      <a:pt x="0" y="193"/>
                    </a:lnTo>
                    <a:lnTo>
                      <a:pt x="7" y="207"/>
                    </a:lnTo>
                    <a:lnTo>
                      <a:pt x="14" y="228"/>
                    </a:lnTo>
                    <a:lnTo>
                      <a:pt x="28" y="242"/>
                    </a:lnTo>
                    <a:lnTo>
                      <a:pt x="35" y="257"/>
                    </a:lnTo>
                    <a:lnTo>
                      <a:pt x="42" y="257"/>
                    </a:lnTo>
                    <a:lnTo>
                      <a:pt x="42" y="257"/>
                    </a:lnTo>
                    <a:lnTo>
                      <a:pt x="49" y="257"/>
                    </a:lnTo>
                    <a:lnTo>
                      <a:pt x="49" y="257"/>
                    </a:lnTo>
                    <a:lnTo>
                      <a:pt x="57" y="250"/>
                    </a:lnTo>
                    <a:lnTo>
                      <a:pt x="64" y="242"/>
                    </a:lnTo>
                    <a:lnTo>
                      <a:pt x="71" y="250"/>
                    </a:lnTo>
                    <a:lnTo>
                      <a:pt x="78" y="257"/>
                    </a:lnTo>
                    <a:lnTo>
                      <a:pt x="92" y="264"/>
                    </a:lnTo>
                    <a:lnTo>
                      <a:pt x="106" y="271"/>
                    </a:lnTo>
                    <a:lnTo>
                      <a:pt x="99" y="278"/>
                    </a:lnTo>
                    <a:lnTo>
                      <a:pt x="99" y="285"/>
                    </a:lnTo>
                    <a:lnTo>
                      <a:pt x="99" y="285"/>
                    </a:lnTo>
                    <a:lnTo>
                      <a:pt x="99" y="292"/>
                    </a:lnTo>
                    <a:lnTo>
                      <a:pt x="106" y="292"/>
                    </a:lnTo>
                    <a:lnTo>
                      <a:pt x="106" y="292"/>
                    </a:lnTo>
                    <a:lnTo>
                      <a:pt x="128" y="299"/>
                    </a:lnTo>
                    <a:lnTo>
                      <a:pt x="142" y="299"/>
                    </a:lnTo>
                    <a:lnTo>
                      <a:pt x="164" y="299"/>
                    </a:lnTo>
                    <a:lnTo>
                      <a:pt x="185" y="292"/>
                    </a:lnTo>
                    <a:lnTo>
                      <a:pt x="185" y="292"/>
                    </a:lnTo>
                    <a:lnTo>
                      <a:pt x="185" y="292"/>
                    </a:lnTo>
                    <a:lnTo>
                      <a:pt x="192" y="285"/>
                    </a:lnTo>
                    <a:lnTo>
                      <a:pt x="192" y="285"/>
                    </a:lnTo>
                    <a:lnTo>
                      <a:pt x="192" y="278"/>
                    </a:lnTo>
                    <a:lnTo>
                      <a:pt x="185" y="271"/>
                    </a:lnTo>
                    <a:lnTo>
                      <a:pt x="199" y="264"/>
                    </a:lnTo>
                    <a:lnTo>
                      <a:pt x="206" y="257"/>
                    </a:lnTo>
                    <a:lnTo>
                      <a:pt x="221" y="250"/>
                    </a:lnTo>
                    <a:lnTo>
                      <a:pt x="228" y="242"/>
                    </a:lnTo>
                    <a:lnTo>
                      <a:pt x="235" y="250"/>
                    </a:lnTo>
                    <a:lnTo>
                      <a:pt x="242" y="257"/>
                    </a:lnTo>
                    <a:lnTo>
                      <a:pt x="242" y="257"/>
                    </a:lnTo>
                    <a:lnTo>
                      <a:pt x="249" y="257"/>
                    </a:lnTo>
                    <a:lnTo>
                      <a:pt x="249" y="257"/>
                    </a:lnTo>
                    <a:lnTo>
                      <a:pt x="249" y="257"/>
                    </a:lnTo>
                    <a:lnTo>
                      <a:pt x="263" y="242"/>
                    </a:lnTo>
                    <a:lnTo>
                      <a:pt x="278" y="228"/>
                    </a:lnTo>
                    <a:lnTo>
                      <a:pt x="285" y="207"/>
                    </a:lnTo>
                    <a:lnTo>
                      <a:pt x="292" y="193"/>
                    </a:lnTo>
                    <a:lnTo>
                      <a:pt x="292" y="185"/>
                    </a:lnTo>
                    <a:lnTo>
                      <a:pt x="292" y="185"/>
                    </a:lnTo>
                    <a:lnTo>
                      <a:pt x="285" y="178"/>
                    </a:lnTo>
                    <a:lnTo>
                      <a:pt x="285" y="178"/>
                    </a:lnTo>
                    <a:lnTo>
                      <a:pt x="285" y="178"/>
                    </a:lnTo>
                    <a:lnTo>
                      <a:pt x="270" y="171"/>
                    </a:lnTo>
                    <a:lnTo>
                      <a:pt x="270" y="164"/>
                    </a:lnTo>
                    <a:lnTo>
                      <a:pt x="270" y="150"/>
                    </a:lnTo>
                    <a:lnTo>
                      <a:pt x="270" y="136"/>
                    </a:lnTo>
                    <a:lnTo>
                      <a:pt x="270" y="121"/>
                    </a:lnTo>
                    <a:lnTo>
                      <a:pt x="285" y="121"/>
                    </a:lnTo>
                    <a:lnTo>
                      <a:pt x="285" y="1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CA" sz="700" dirty="0">
                  <a:solidFill>
                    <a:srgbClr val="44546A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90" name="Freeform 11"/>
              <p:cNvSpPr>
                <a:spLocks/>
              </p:cNvSpPr>
              <p:nvPr/>
            </p:nvSpPr>
            <p:spPr bwMode="auto">
              <a:xfrm>
                <a:off x="5385790" y="1524897"/>
                <a:ext cx="12923" cy="12760"/>
              </a:xfrm>
              <a:custGeom>
                <a:avLst/>
                <a:gdLst>
                  <a:gd name="T0" fmla="*/ 36 w 79"/>
                  <a:gd name="T1" fmla="*/ 0 h 78"/>
                  <a:gd name="T2" fmla="*/ 50 w 79"/>
                  <a:gd name="T3" fmla="*/ 0 h 78"/>
                  <a:gd name="T4" fmla="*/ 58 w 79"/>
                  <a:gd name="T5" fmla="*/ 7 h 78"/>
                  <a:gd name="T6" fmla="*/ 58 w 79"/>
                  <a:gd name="T7" fmla="*/ 7 h 78"/>
                  <a:gd name="T8" fmla="*/ 65 w 79"/>
                  <a:gd name="T9" fmla="*/ 14 h 78"/>
                  <a:gd name="T10" fmla="*/ 72 w 79"/>
                  <a:gd name="T11" fmla="*/ 22 h 78"/>
                  <a:gd name="T12" fmla="*/ 79 w 79"/>
                  <a:gd name="T13" fmla="*/ 29 h 78"/>
                  <a:gd name="T14" fmla="*/ 79 w 79"/>
                  <a:gd name="T15" fmla="*/ 36 h 78"/>
                  <a:gd name="T16" fmla="*/ 79 w 79"/>
                  <a:gd name="T17" fmla="*/ 43 h 78"/>
                  <a:gd name="T18" fmla="*/ 79 w 79"/>
                  <a:gd name="T19" fmla="*/ 50 h 78"/>
                  <a:gd name="T20" fmla="*/ 79 w 79"/>
                  <a:gd name="T21" fmla="*/ 57 h 78"/>
                  <a:gd name="T22" fmla="*/ 72 w 79"/>
                  <a:gd name="T23" fmla="*/ 64 h 78"/>
                  <a:gd name="T24" fmla="*/ 65 w 79"/>
                  <a:gd name="T25" fmla="*/ 71 h 78"/>
                  <a:gd name="T26" fmla="*/ 58 w 79"/>
                  <a:gd name="T27" fmla="*/ 78 h 78"/>
                  <a:gd name="T28" fmla="*/ 58 w 79"/>
                  <a:gd name="T29" fmla="*/ 78 h 78"/>
                  <a:gd name="T30" fmla="*/ 50 w 79"/>
                  <a:gd name="T31" fmla="*/ 78 h 78"/>
                  <a:gd name="T32" fmla="*/ 36 w 79"/>
                  <a:gd name="T33" fmla="*/ 78 h 78"/>
                  <a:gd name="T34" fmla="*/ 29 w 79"/>
                  <a:gd name="T35" fmla="*/ 78 h 78"/>
                  <a:gd name="T36" fmla="*/ 22 w 79"/>
                  <a:gd name="T37" fmla="*/ 78 h 78"/>
                  <a:gd name="T38" fmla="*/ 15 w 79"/>
                  <a:gd name="T39" fmla="*/ 78 h 78"/>
                  <a:gd name="T40" fmla="*/ 15 w 79"/>
                  <a:gd name="T41" fmla="*/ 71 h 78"/>
                  <a:gd name="T42" fmla="*/ 8 w 79"/>
                  <a:gd name="T43" fmla="*/ 64 h 78"/>
                  <a:gd name="T44" fmla="*/ 0 w 79"/>
                  <a:gd name="T45" fmla="*/ 57 h 78"/>
                  <a:gd name="T46" fmla="*/ 0 w 79"/>
                  <a:gd name="T47" fmla="*/ 50 h 78"/>
                  <a:gd name="T48" fmla="*/ 0 w 79"/>
                  <a:gd name="T49" fmla="*/ 43 h 78"/>
                  <a:gd name="T50" fmla="*/ 0 w 79"/>
                  <a:gd name="T51" fmla="*/ 36 h 78"/>
                  <a:gd name="T52" fmla="*/ 0 w 79"/>
                  <a:gd name="T53" fmla="*/ 29 h 78"/>
                  <a:gd name="T54" fmla="*/ 8 w 79"/>
                  <a:gd name="T55" fmla="*/ 22 h 78"/>
                  <a:gd name="T56" fmla="*/ 15 w 79"/>
                  <a:gd name="T57" fmla="*/ 14 h 78"/>
                  <a:gd name="T58" fmla="*/ 15 w 79"/>
                  <a:gd name="T59" fmla="*/ 7 h 78"/>
                  <a:gd name="T60" fmla="*/ 22 w 79"/>
                  <a:gd name="T61" fmla="*/ 7 h 78"/>
                  <a:gd name="T62" fmla="*/ 29 w 79"/>
                  <a:gd name="T63" fmla="*/ 0 h 78"/>
                  <a:gd name="T64" fmla="*/ 36 w 79"/>
                  <a:gd name="T65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9" h="78">
                    <a:moveTo>
                      <a:pt x="36" y="0"/>
                    </a:moveTo>
                    <a:lnTo>
                      <a:pt x="50" y="0"/>
                    </a:lnTo>
                    <a:lnTo>
                      <a:pt x="58" y="7"/>
                    </a:lnTo>
                    <a:lnTo>
                      <a:pt x="58" y="7"/>
                    </a:lnTo>
                    <a:lnTo>
                      <a:pt x="65" y="14"/>
                    </a:lnTo>
                    <a:lnTo>
                      <a:pt x="72" y="22"/>
                    </a:lnTo>
                    <a:lnTo>
                      <a:pt x="79" y="29"/>
                    </a:lnTo>
                    <a:lnTo>
                      <a:pt x="79" y="36"/>
                    </a:lnTo>
                    <a:lnTo>
                      <a:pt x="79" y="43"/>
                    </a:lnTo>
                    <a:lnTo>
                      <a:pt x="79" y="50"/>
                    </a:lnTo>
                    <a:lnTo>
                      <a:pt x="79" y="57"/>
                    </a:lnTo>
                    <a:lnTo>
                      <a:pt x="72" y="64"/>
                    </a:lnTo>
                    <a:lnTo>
                      <a:pt x="65" y="71"/>
                    </a:lnTo>
                    <a:lnTo>
                      <a:pt x="58" y="78"/>
                    </a:lnTo>
                    <a:lnTo>
                      <a:pt x="58" y="78"/>
                    </a:lnTo>
                    <a:lnTo>
                      <a:pt x="50" y="78"/>
                    </a:lnTo>
                    <a:lnTo>
                      <a:pt x="36" y="78"/>
                    </a:lnTo>
                    <a:lnTo>
                      <a:pt x="29" y="78"/>
                    </a:lnTo>
                    <a:lnTo>
                      <a:pt x="22" y="78"/>
                    </a:lnTo>
                    <a:lnTo>
                      <a:pt x="15" y="78"/>
                    </a:lnTo>
                    <a:lnTo>
                      <a:pt x="15" y="71"/>
                    </a:lnTo>
                    <a:lnTo>
                      <a:pt x="8" y="64"/>
                    </a:lnTo>
                    <a:lnTo>
                      <a:pt x="0" y="57"/>
                    </a:lnTo>
                    <a:lnTo>
                      <a:pt x="0" y="50"/>
                    </a:lnTo>
                    <a:lnTo>
                      <a:pt x="0" y="43"/>
                    </a:lnTo>
                    <a:lnTo>
                      <a:pt x="0" y="36"/>
                    </a:lnTo>
                    <a:lnTo>
                      <a:pt x="0" y="29"/>
                    </a:lnTo>
                    <a:lnTo>
                      <a:pt x="8" y="22"/>
                    </a:lnTo>
                    <a:lnTo>
                      <a:pt x="15" y="14"/>
                    </a:lnTo>
                    <a:lnTo>
                      <a:pt x="15" y="7"/>
                    </a:lnTo>
                    <a:lnTo>
                      <a:pt x="22" y="7"/>
                    </a:lnTo>
                    <a:lnTo>
                      <a:pt x="29" y="0"/>
                    </a:lnTo>
                    <a:lnTo>
                      <a:pt x="36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CA" sz="700" dirty="0">
                  <a:solidFill>
                    <a:srgbClr val="44546A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91" name="Freeform 14"/>
              <p:cNvSpPr>
                <a:spLocks/>
              </p:cNvSpPr>
              <p:nvPr/>
            </p:nvSpPr>
            <p:spPr bwMode="auto">
              <a:xfrm>
                <a:off x="5423250" y="1506249"/>
                <a:ext cx="6870" cy="7034"/>
              </a:xfrm>
              <a:custGeom>
                <a:avLst/>
                <a:gdLst>
                  <a:gd name="T0" fmla="*/ 21 w 42"/>
                  <a:gd name="T1" fmla="*/ 0 h 43"/>
                  <a:gd name="T2" fmla="*/ 28 w 42"/>
                  <a:gd name="T3" fmla="*/ 0 h 43"/>
                  <a:gd name="T4" fmla="*/ 35 w 42"/>
                  <a:gd name="T5" fmla="*/ 7 h 43"/>
                  <a:gd name="T6" fmla="*/ 42 w 42"/>
                  <a:gd name="T7" fmla="*/ 15 h 43"/>
                  <a:gd name="T8" fmla="*/ 42 w 42"/>
                  <a:gd name="T9" fmla="*/ 22 h 43"/>
                  <a:gd name="T10" fmla="*/ 42 w 42"/>
                  <a:gd name="T11" fmla="*/ 29 h 43"/>
                  <a:gd name="T12" fmla="*/ 35 w 42"/>
                  <a:gd name="T13" fmla="*/ 36 h 43"/>
                  <a:gd name="T14" fmla="*/ 28 w 42"/>
                  <a:gd name="T15" fmla="*/ 36 h 43"/>
                  <a:gd name="T16" fmla="*/ 21 w 42"/>
                  <a:gd name="T17" fmla="*/ 43 h 43"/>
                  <a:gd name="T18" fmla="*/ 14 w 42"/>
                  <a:gd name="T19" fmla="*/ 36 h 43"/>
                  <a:gd name="T20" fmla="*/ 7 w 42"/>
                  <a:gd name="T21" fmla="*/ 36 h 43"/>
                  <a:gd name="T22" fmla="*/ 0 w 42"/>
                  <a:gd name="T23" fmla="*/ 29 h 43"/>
                  <a:gd name="T24" fmla="*/ 0 w 42"/>
                  <a:gd name="T25" fmla="*/ 22 h 43"/>
                  <a:gd name="T26" fmla="*/ 0 w 42"/>
                  <a:gd name="T27" fmla="*/ 15 h 43"/>
                  <a:gd name="T28" fmla="*/ 7 w 42"/>
                  <a:gd name="T29" fmla="*/ 7 h 43"/>
                  <a:gd name="T30" fmla="*/ 14 w 42"/>
                  <a:gd name="T31" fmla="*/ 0 h 43"/>
                  <a:gd name="T32" fmla="*/ 21 w 42"/>
                  <a:gd name="T33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2" h="43">
                    <a:moveTo>
                      <a:pt x="21" y="0"/>
                    </a:moveTo>
                    <a:lnTo>
                      <a:pt x="28" y="0"/>
                    </a:lnTo>
                    <a:lnTo>
                      <a:pt x="35" y="7"/>
                    </a:lnTo>
                    <a:lnTo>
                      <a:pt x="42" y="15"/>
                    </a:lnTo>
                    <a:lnTo>
                      <a:pt x="42" y="22"/>
                    </a:lnTo>
                    <a:lnTo>
                      <a:pt x="42" y="29"/>
                    </a:lnTo>
                    <a:lnTo>
                      <a:pt x="35" y="36"/>
                    </a:lnTo>
                    <a:lnTo>
                      <a:pt x="28" y="36"/>
                    </a:lnTo>
                    <a:lnTo>
                      <a:pt x="21" y="43"/>
                    </a:lnTo>
                    <a:lnTo>
                      <a:pt x="14" y="36"/>
                    </a:lnTo>
                    <a:lnTo>
                      <a:pt x="7" y="36"/>
                    </a:lnTo>
                    <a:lnTo>
                      <a:pt x="0" y="29"/>
                    </a:lnTo>
                    <a:lnTo>
                      <a:pt x="0" y="22"/>
                    </a:lnTo>
                    <a:lnTo>
                      <a:pt x="0" y="15"/>
                    </a:lnTo>
                    <a:lnTo>
                      <a:pt x="7" y="7"/>
                    </a:lnTo>
                    <a:lnTo>
                      <a:pt x="14" y="0"/>
                    </a:lnTo>
                    <a:lnTo>
                      <a:pt x="21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CA" sz="700" dirty="0">
                  <a:solidFill>
                    <a:srgbClr val="44546A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92" name="Freeform 15"/>
              <p:cNvSpPr>
                <a:spLocks noEditPoints="1"/>
              </p:cNvSpPr>
              <p:nvPr/>
            </p:nvSpPr>
            <p:spPr bwMode="auto">
              <a:xfrm>
                <a:off x="5418973" y="1349272"/>
                <a:ext cx="143786" cy="117849"/>
              </a:xfrm>
              <a:custGeom>
                <a:avLst/>
                <a:gdLst>
                  <a:gd name="T0" fmla="*/ 15 w 83"/>
                  <a:gd name="T1" fmla="*/ 16 h 59"/>
                  <a:gd name="T2" fmla="*/ 39 w 83"/>
                  <a:gd name="T3" fmla="*/ 27 h 59"/>
                  <a:gd name="T4" fmla="*/ 25 w 83"/>
                  <a:gd name="T5" fmla="*/ 0 h 59"/>
                  <a:gd name="T6" fmla="*/ 0 w 83"/>
                  <a:gd name="T7" fmla="*/ 11 h 59"/>
                  <a:gd name="T8" fmla="*/ 25 w 83"/>
                  <a:gd name="T9" fmla="*/ 0 h 59"/>
                  <a:gd name="T10" fmla="*/ 29 w 83"/>
                  <a:gd name="T11" fmla="*/ 32 h 59"/>
                  <a:gd name="T12" fmla="*/ 54 w 83"/>
                  <a:gd name="T13" fmla="*/ 43 h 59"/>
                  <a:gd name="T14" fmla="*/ 68 w 83"/>
                  <a:gd name="T15" fmla="*/ 16 h 59"/>
                  <a:gd name="T16" fmla="*/ 44 w 83"/>
                  <a:gd name="T17" fmla="*/ 27 h 59"/>
                  <a:gd name="T18" fmla="*/ 68 w 83"/>
                  <a:gd name="T19" fmla="*/ 16 h 59"/>
                  <a:gd name="T20" fmla="*/ 39 w 83"/>
                  <a:gd name="T21" fmla="*/ 59 h 59"/>
                  <a:gd name="T22" fmla="*/ 15 w 83"/>
                  <a:gd name="T23" fmla="*/ 56 h 59"/>
                  <a:gd name="T24" fmla="*/ 54 w 83"/>
                  <a:gd name="T25" fmla="*/ 0 h 59"/>
                  <a:gd name="T26" fmla="*/ 29 w 83"/>
                  <a:gd name="T27" fmla="*/ 11 h 59"/>
                  <a:gd name="T28" fmla="*/ 54 w 83"/>
                  <a:gd name="T29" fmla="*/ 0 h 59"/>
                  <a:gd name="T30" fmla="*/ 51 w 83"/>
                  <a:gd name="T31" fmla="*/ 57 h 59"/>
                  <a:gd name="T32" fmla="*/ 49 w 83"/>
                  <a:gd name="T33" fmla="*/ 56 h 59"/>
                  <a:gd name="T34" fmla="*/ 44 w 83"/>
                  <a:gd name="T35" fmla="*/ 59 h 59"/>
                  <a:gd name="T36" fmla="*/ 52 w 83"/>
                  <a:gd name="T37" fmla="*/ 58 h 59"/>
                  <a:gd name="T38" fmla="*/ 0 w 83"/>
                  <a:gd name="T39" fmla="*/ 59 h 59"/>
                  <a:gd name="T40" fmla="*/ 10 w 83"/>
                  <a:gd name="T41" fmla="*/ 56 h 59"/>
                  <a:gd name="T42" fmla="*/ 0 w 83"/>
                  <a:gd name="T43" fmla="*/ 59 h 59"/>
                  <a:gd name="T44" fmla="*/ 39 w 83"/>
                  <a:gd name="T45" fmla="*/ 53 h 59"/>
                  <a:gd name="T46" fmla="*/ 15 w 83"/>
                  <a:gd name="T47" fmla="*/ 48 h 59"/>
                  <a:gd name="T48" fmla="*/ 73 w 83"/>
                  <a:gd name="T49" fmla="*/ 59 h 59"/>
                  <a:gd name="T50" fmla="*/ 83 w 83"/>
                  <a:gd name="T51" fmla="*/ 48 h 59"/>
                  <a:gd name="T52" fmla="*/ 73 w 83"/>
                  <a:gd name="T53" fmla="*/ 59 h 59"/>
                  <a:gd name="T54" fmla="*/ 83 w 83"/>
                  <a:gd name="T55" fmla="*/ 27 h 59"/>
                  <a:gd name="T56" fmla="*/ 73 w 83"/>
                  <a:gd name="T57" fmla="*/ 16 h 59"/>
                  <a:gd name="T58" fmla="*/ 58 w 83"/>
                  <a:gd name="T59" fmla="*/ 43 h 59"/>
                  <a:gd name="T60" fmla="*/ 83 w 83"/>
                  <a:gd name="T61" fmla="*/ 32 h 59"/>
                  <a:gd name="T62" fmla="*/ 58 w 83"/>
                  <a:gd name="T63" fmla="*/ 43 h 59"/>
                  <a:gd name="T64" fmla="*/ 58 w 83"/>
                  <a:gd name="T65" fmla="*/ 11 h 59"/>
                  <a:gd name="T66" fmla="*/ 83 w 83"/>
                  <a:gd name="T67" fmla="*/ 0 h 59"/>
                  <a:gd name="T68" fmla="*/ 10 w 83"/>
                  <a:gd name="T69" fmla="*/ 16 h 59"/>
                  <a:gd name="T70" fmla="*/ 0 w 83"/>
                  <a:gd name="T71" fmla="*/ 27 h 59"/>
                  <a:gd name="T72" fmla="*/ 10 w 83"/>
                  <a:gd name="T73" fmla="*/ 16 h 59"/>
                  <a:gd name="T74" fmla="*/ 0 w 83"/>
                  <a:gd name="T75" fmla="*/ 32 h 59"/>
                  <a:gd name="T76" fmla="*/ 25 w 83"/>
                  <a:gd name="T77" fmla="*/ 43 h 59"/>
                  <a:gd name="T78" fmla="*/ 0 w 83"/>
                  <a:gd name="T79" fmla="*/ 53 h 59"/>
                  <a:gd name="T80" fmla="*/ 10 w 83"/>
                  <a:gd name="T81" fmla="*/ 48 h 59"/>
                  <a:gd name="T82" fmla="*/ 0 w 83"/>
                  <a:gd name="T83" fmla="*/ 53 h 59"/>
                  <a:gd name="T84" fmla="*/ 49 w 83"/>
                  <a:gd name="T85" fmla="*/ 53 h 59"/>
                  <a:gd name="T86" fmla="*/ 51 w 83"/>
                  <a:gd name="T87" fmla="*/ 54 h 59"/>
                  <a:gd name="T88" fmla="*/ 52 w 83"/>
                  <a:gd name="T89" fmla="*/ 54 h 59"/>
                  <a:gd name="T90" fmla="*/ 53 w 83"/>
                  <a:gd name="T91" fmla="*/ 55 h 59"/>
                  <a:gd name="T92" fmla="*/ 54 w 83"/>
                  <a:gd name="T93" fmla="*/ 56 h 59"/>
                  <a:gd name="T94" fmla="*/ 54 w 83"/>
                  <a:gd name="T95" fmla="*/ 57 h 59"/>
                  <a:gd name="T96" fmla="*/ 55 w 83"/>
                  <a:gd name="T97" fmla="*/ 58 h 59"/>
                  <a:gd name="T98" fmla="*/ 55 w 83"/>
                  <a:gd name="T99" fmla="*/ 58 h 59"/>
                  <a:gd name="T100" fmla="*/ 68 w 83"/>
                  <a:gd name="T101" fmla="*/ 59 h 59"/>
                  <a:gd name="T102" fmla="*/ 44 w 83"/>
                  <a:gd name="T103" fmla="*/ 48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83" h="59">
                    <a:moveTo>
                      <a:pt x="39" y="16"/>
                    </a:moveTo>
                    <a:cubicBezTo>
                      <a:pt x="15" y="16"/>
                      <a:pt x="15" y="16"/>
                      <a:pt x="15" y="16"/>
                    </a:cubicBezTo>
                    <a:cubicBezTo>
                      <a:pt x="15" y="27"/>
                      <a:pt x="15" y="27"/>
                      <a:pt x="15" y="27"/>
                    </a:cubicBezTo>
                    <a:cubicBezTo>
                      <a:pt x="39" y="27"/>
                      <a:pt x="39" y="27"/>
                      <a:pt x="39" y="27"/>
                    </a:cubicBezTo>
                    <a:lnTo>
                      <a:pt x="39" y="16"/>
                    </a:lnTo>
                    <a:close/>
                    <a:moveTo>
                      <a:pt x="2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25" y="11"/>
                      <a:pt x="25" y="11"/>
                      <a:pt x="25" y="11"/>
                    </a:cubicBezTo>
                    <a:lnTo>
                      <a:pt x="25" y="0"/>
                    </a:lnTo>
                    <a:close/>
                    <a:moveTo>
                      <a:pt x="54" y="32"/>
                    </a:moveTo>
                    <a:cubicBezTo>
                      <a:pt x="29" y="32"/>
                      <a:pt x="29" y="32"/>
                      <a:pt x="29" y="32"/>
                    </a:cubicBezTo>
                    <a:cubicBezTo>
                      <a:pt x="29" y="43"/>
                      <a:pt x="29" y="43"/>
                      <a:pt x="29" y="43"/>
                    </a:cubicBezTo>
                    <a:cubicBezTo>
                      <a:pt x="54" y="43"/>
                      <a:pt x="54" y="43"/>
                      <a:pt x="54" y="43"/>
                    </a:cubicBezTo>
                    <a:lnTo>
                      <a:pt x="54" y="32"/>
                    </a:lnTo>
                    <a:close/>
                    <a:moveTo>
                      <a:pt x="68" y="16"/>
                    </a:moveTo>
                    <a:cubicBezTo>
                      <a:pt x="44" y="16"/>
                      <a:pt x="44" y="16"/>
                      <a:pt x="44" y="16"/>
                    </a:cubicBezTo>
                    <a:cubicBezTo>
                      <a:pt x="44" y="27"/>
                      <a:pt x="44" y="27"/>
                      <a:pt x="44" y="27"/>
                    </a:cubicBezTo>
                    <a:cubicBezTo>
                      <a:pt x="68" y="27"/>
                      <a:pt x="68" y="27"/>
                      <a:pt x="68" y="27"/>
                    </a:cubicBezTo>
                    <a:lnTo>
                      <a:pt x="68" y="16"/>
                    </a:lnTo>
                    <a:close/>
                    <a:moveTo>
                      <a:pt x="15" y="59"/>
                    </a:moveTo>
                    <a:cubicBezTo>
                      <a:pt x="39" y="59"/>
                      <a:pt x="39" y="59"/>
                      <a:pt x="39" y="59"/>
                    </a:cubicBezTo>
                    <a:cubicBezTo>
                      <a:pt x="39" y="56"/>
                      <a:pt x="39" y="56"/>
                      <a:pt x="39" y="56"/>
                    </a:cubicBezTo>
                    <a:cubicBezTo>
                      <a:pt x="15" y="56"/>
                      <a:pt x="15" y="56"/>
                      <a:pt x="15" y="56"/>
                    </a:cubicBezTo>
                    <a:lnTo>
                      <a:pt x="15" y="59"/>
                    </a:lnTo>
                    <a:close/>
                    <a:moveTo>
                      <a:pt x="54" y="0"/>
                    </a:moveTo>
                    <a:cubicBezTo>
                      <a:pt x="29" y="0"/>
                      <a:pt x="29" y="0"/>
                      <a:pt x="29" y="0"/>
                    </a:cubicBezTo>
                    <a:cubicBezTo>
                      <a:pt x="29" y="11"/>
                      <a:pt x="29" y="11"/>
                      <a:pt x="29" y="11"/>
                    </a:cubicBezTo>
                    <a:cubicBezTo>
                      <a:pt x="54" y="11"/>
                      <a:pt x="54" y="11"/>
                      <a:pt x="54" y="11"/>
                    </a:cubicBezTo>
                    <a:lnTo>
                      <a:pt x="54" y="0"/>
                    </a:lnTo>
                    <a:close/>
                    <a:moveTo>
                      <a:pt x="52" y="57"/>
                    </a:moveTo>
                    <a:cubicBezTo>
                      <a:pt x="51" y="57"/>
                      <a:pt x="51" y="57"/>
                      <a:pt x="51" y="57"/>
                    </a:cubicBezTo>
                    <a:cubicBezTo>
                      <a:pt x="50" y="56"/>
                      <a:pt x="50" y="56"/>
                      <a:pt x="50" y="56"/>
                    </a:cubicBezTo>
                    <a:cubicBezTo>
                      <a:pt x="49" y="56"/>
                      <a:pt x="49" y="56"/>
                      <a:pt x="49" y="56"/>
                    </a:cubicBezTo>
                    <a:cubicBezTo>
                      <a:pt x="44" y="56"/>
                      <a:pt x="44" y="56"/>
                      <a:pt x="44" y="56"/>
                    </a:cubicBezTo>
                    <a:cubicBezTo>
                      <a:pt x="44" y="59"/>
                      <a:pt x="44" y="59"/>
                      <a:pt x="44" y="59"/>
                    </a:cubicBezTo>
                    <a:cubicBezTo>
                      <a:pt x="52" y="59"/>
                      <a:pt x="52" y="59"/>
                      <a:pt x="52" y="59"/>
                    </a:cubicBezTo>
                    <a:cubicBezTo>
                      <a:pt x="52" y="58"/>
                      <a:pt x="52" y="58"/>
                      <a:pt x="52" y="58"/>
                    </a:cubicBezTo>
                    <a:lnTo>
                      <a:pt x="52" y="57"/>
                    </a:lnTo>
                    <a:close/>
                    <a:moveTo>
                      <a:pt x="0" y="59"/>
                    </a:moveTo>
                    <a:cubicBezTo>
                      <a:pt x="10" y="59"/>
                      <a:pt x="10" y="59"/>
                      <a:pt x="10" y="59"/>
                    </a:cubicBezTo>
                    <a:cubicBezTo>
                      <a:pt x="10" y="56"/>
                      <a:pt x="10" y="56"/>
                      <a:pt x="10" y="56"/>
                    </a:cubicBezTo>
                    <a:cubicBezTo>
                      <a:pt x="0" y="56"/>
                      <a:pt x="0" y="56"/>
                      <a:pt x="0" y="56"/>
                    </a:cubicBezTo>
                    <a:lnTo>
                      <a:pt x="0" y="59"/>
                    </a:lnTo>
                    <a:close/>
                    <a:moveTo>
                      <a:pt x="15" y="53"/>
                    </a:move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48"/>
                      <a:pt x="39" y="48"/>
                      <a:pt x="39" y="48"/>
                    </a:cubicBezTo>
                    <a:cubicBezTo>
                      <a:pt x="15" y="48"/>
                      <a:pt x="15" y="48"/>
                      <a:pt x="15" y="48"/>
                    </a:cubicBezTo>
                    <a:lnTo>
                      <a:pt x="15" y="53"/>
                    </a:lnTo>
                    <a:close/>
                    <a:moveTo>
                      <a:pt x="73" y="59"/>
                    </a:moveTo>
                    <a:cubicBezTo>
                      <a:pt x="83" y="59"/>
                      <a:pt x="83" y="59"/>
                      <a:pt x="83" y="59"/>
                    </a:cubicBezTo>
                    <a:cubicBezTo>
                      <a:pt x="83" y="48"/>
                      <a:pt x="83" y="48"/>
                      <a:pt x="83" y="48"/>
                    </a:cubicBezTo>
                    <a:cubicBezTo>
                      <a:pt x="73" y="48"/>
                      <a:pt x="73" y="48"/>
                      <a:pt x="73" y="48"/>
                    </a:cubicBezTo>
                    <a:lnTo>
                      <a:pt x="73" y="59"/>
                    </a:lnTo>
                    <a:close/>
                    <a:moveTo>
                      <a:pt x="73" y="27"/>
                    </a:moveTo>
                    <a:cubicBezTo>
                      <a:pt x="83" y="27"/>
                      <a:pt x="83" y="27"/>
                      <a:pt x="83" y="27"/>
                    </a:cubicBezTo>
                    <a:cubicBezTo>
                      <a:pt x="83" y="16"/>
                      <a:pt x="83" y="16"/>
                      <a:pt x="83" y="16"/>
                    </a:cubicBezTo>
                    <a:cubicBezTo>
                      <a:pt x="73" y="16"/>
                      <a:pt x="73" y="16"/>
                      <a:pt x="73" y="16"/>
                    </a:cubicBezTo>
                    <a:lnTo>
                      <a:pt x="73" y="27"/>
                    </a:lnTo>
                    <a:close/>
                    <a:moveTo>
                      <a:pt x="58" y="43"/>
                    </a:moveTo>
                    <a:cubicBezTo>
                      <a:pt x="83" y="43"/>
                      <a:pt x="83" y="43"/>
                      <a:pt x="83" y="43"/>
                    </a:cubicBezTo>
                    <a:cubicBezTo>
                      <a:pt x="83" y="32"/>
                      <a:pt x="83" y="32"/>
                      <a:pt x="83" y="32"/>
                    </a:cubicBezTo>
                    <a:cubicBezTo>
                      <a:pt x="58" y="32"/>
                      <a:pt x="58" y="32"/>
                      <a:pt x="58" y="32"/>
                    </a:cubicBezTo>
                    <a:lnTo>
                      <a:pt x="58" y="43"/>
                    </a:lnTo>
                    <a:close/>
                    <a:moveTo>
                      <a:pt x="58" y="0"/>
                    </a:moveTo>
                    <a:cubicBezTo>
                      <a:pt x="58" y="11"/>
                      <a:pt x="58" y="11"/>
                      <a:pt x="58" y="11"/>
                    </a:cubicBezTo>
                    <a:cubicBezTo>
                      <a:pt x="83" y="11"/>
                      <a:pt x="83" y="11"/>
                      <a:pt x="83" y="11"/>
                    </a:cubicBezTo>
                    <a:cubicBezTo>
                      <a:pt x="83" y="0"/>
                      <a:pt x="83" y="0"/>
                      <a:pt x="83" y="0"/>
                    </a:cubicBezTo>
                    <a:lnTo>
                      <a:pt x="58" y="0"/>
                    </a:lnTo>
                    <a:close/>
                    <a:moveTo>
                      <a:pt x="10" y="16"/>
                    </a:moveTo>
                    <a:cubicBezTo>
                      <a:pt x="0" y="16"/>
                      <a:pt x="0" y="16"/>
                      <a:pt x="0" y="16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10" y="27"/>
                      <a:pt x="10" y="27"/>
                      <a:pt x="10" y="27"/>
                    </a:cubicBezTo>
                    <a:lnTo>
                      <a:pt x="10" y="16"/>
                    </a:lnTo>
                    <a:close/>
                    <a:moveTo>
                      <a:pt x="25" y="32"/>
                    </a:moveTo>
                    <a:cubicBezTo>
                      <a:pt x="0" y="32"/>
                      <a:pt x="0" y="32"/>
                      <a:pt x="0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25" y="43"/>
                      <a:pt x="25" y="43"/>
                      <a:pt x="25" y="43"/>
                    </a:cubicBezTo>
                    <a:lnTo>
                      <a:pt x="25" y="32"/>
                    </a:lnTo>
                    <a:close/>
                    <a:moveTo>
                      <a:pt x="0" y="53"/>
                    </a:moveTo>
                    <a:cubicBezTo>
                      <a:pt x="10" y="53"/>
                      <a:pt x="10" y="53"/>
                      <a:pt x="10" y="53"/>
                    </a:cubicBezTo>
                    <a:cubicBezTo>
                      <a:pt x="10" y="48"/>
                      <a:pt x="10" y="48"/>
                      <a:pt x="10" y="48"/>
                    </a:cubicBezTo>
                    <a:cubicBezTo>
                      <a:pt x="0" y="48"/>
                      <a:pt x="0" y="48"/>
                      <a:pt x="0" y="48"/>
                    </a:cubicBezTo>
                    <a:lnTo>
                      <a:pt x="0" y="53"/>
                    </a:lnTo>
                    <a:close/>
                    <a:moveTo>
                      <a:pt x="44" y="53"/>
                    </a:moveTo>
                    <a:cubicBezTo>
                      <a:pt x="49" y="53"/>
                      <a:pt x="49" y="53"/>
                      <a:pt x="49" y="53"/>
                    </a:cubicBezTo>
                    <a:cubicBezTo>
                      <a:pt x="50" y="53"/>
                      <a:pt x="50" y="53"/>
                      <a:pt x="50" y="53"/>
                    </a:cubicBezTo>
                    <a:cubicBezTo>
                      <a:pt x="51" y="54"/>
                      <a:pt x="51" y="54"/>
                      <a:pt x="51" y="54"/>
                    </a:cubicBezTo>
                    <a:cubicBezTo>
                      <a:pt x="52" y="54"/>
                      <a:pt x="52" y="54"/>
                      <a:pt x="52" y="54"/>
                    </a:cubicBezTo>
                    <a:cubicBezTo>
                      <a:pt x="52" y="54"/>
                      <a:pt x="52" y="54"/>
                      <a:pt x="52" y="54"/>
                    </a:cubicBezTo>
                    <a:cubicBezTo>
                      <a:pt x="52" y="54"/>
                      <a:pt x="52" y="54"/>
                      <a:pt x="52" y="54"/>
                    </a:cubicBezTo>
                    <a:cubicBezTo>
                      <a:pt x="53" y="55"/>
                      <a:pt x="53" y="55"/>
                      <a:pt x="53" y="55"/>
                    </a:cubicBezTo>
                    <a:cubicBezTo>
                      <a:pt x="54" y="55"/>
                      <a:pt x="54" y="55"/>
                      <a:pt x="54" y="55"/>
                    </a:cubicBezTo>
                    <a:cubicBezTo>
                      <a:pt x="54" y="56"/>
                      <a:pt x="54" y="56"/>
                      <a:pt x="54" y="56"/>
                    </a:cubicBezTo>
                    <a:cubicBezTo>
                      <a:pt x="54" y="57"/>
                      <a:pt x="54" y="57"/>
                      <a:pt x="54" y="57"/>
                    </a:cubicBezTo>
                    <a:cubicBezTo>
                      <a:pt x="54" y="57"/>
                      <a:pt x="54" y="57"/>
                      <a:pt x="54" y="57"/>
                    </a:cubicBezTo>
                    <a:cubicBezTo>
                      <a:pt x="54" y="57"/>
                      <a:pt x="54" y="57"/>
                      <a:pt x="54" y="57"/>
                    </a:cubicBezTo>
                    <a:cubicBezTo>
                      <a:pt x="55" y="58"/>
                      <a:pt x="55" y="58"/>
                      <a:pt x="55" y="58"/>
                    </a:cubicBezTo>
                    <a:cubicBezTo>
                      <a:pt x="55" y="58"/>
                      <a:pt x="55" y="58"/>
                      <a:pt x="55" y="58"/>
                    </a:cubicBezTo>
                    <a:cubicBezTo>
                      <a:pt x="55" y="58"/>
                      <a:pt x="55" y="58"/>
                      <a:pt x="55" y="58"/>
                    </a:cubicBezTo>
                    <a:cubicBezTo>
                      <a:pt x="55" y="59"/>
                      <a:pt x="55" y="59"/>
                      <a:pt x="55" y="59"/>
                    </a:cubicBezTo>
                    <a:cubicBezTo>
                      <a:pt x="68" y="59"/>
                      <a:pt x="68" y="59"/>
                      <a:pt x="68" y="59"/>
                    </a:cubicBezTo>
                    <a:cubicBezTo>
                      <a:pt x="68" y="48"/>
                      <a:pt x="68" y="48"/>
                      <a:pt x="68" y="48"/>
                    </a:cubicBezTo>
                    <a:cubicBezTo>
                      <a:pt x="44" y="48"/>
                      <a:pt x="44" y="48"/>
                      <a:pt x="44" y="48"/>
                    </a:cubicBezTo>
                    <a:lnTo>
                      <a:pt x="44" y="5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CA" sz="700" dirty="0">
                  <a:solidFill>
                    <a:srgbClr val="44546A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93" name="Freeform 8"/>
              <p:cNvSpPr>
                <a:spLocks noEditPoints="1"/>
              </p:cNvSpPr>
              <p:nvPr/>
            </p:nvSpPr>
            <p:spPr bwMode="auto">
              <a:xfrm>
                <a:off x="5413852" y="1495813"/>
                <a:ext cx="26664" cy="27973"/>
              </a:xfrm>
              <a:custGeom>
                <a:avLst/>
                <a:gdLst>
                  <a:gd name="T0" fmla="*/ 78 w 163"/>
                  <a:gd name="T1" fmla="*/ 128 h 171"/>
                  <a:gd name="T2" fmla="*/ 64 w 163"/>
                  <a:gd name="T3" fmla="*/ 121 h 171"/>
                  <a:gd name="T4" fmla="*/ 49 w 163"/>
                  <a:gd name="T5" fmla="*/ 114 h 171"/>
                  <a:gd name="T6" fmla="*/ 42 w 163"/>
                  <a:gd name="T7" fmla="*/ 100 h 171"/>
                  <a:gd name="T8" fmla="*/ 35 w 163"/>
                  <a:gd name="T9" fmla="*/ 86 h 171"/>
                  <a:gd name="T10" fmla="*/ 42 w 163"/>
                  <a:gd name="T11" fmla="*/ 71 h 171"/>
                  <a:gd name="T12" fmla="*/ 49 w 163"/>
                  <a:gd name="T13" fmla="*/ 57 h 171"/>
                  <a:gd name="T14" fmla="*/ 64 w 163"/>
                  <a:gd name="T15" fmla="*/ 50 h 171"/>
                  <a:gd name="T16" fmla="*/ 78 w 163"/>
                  <a:gd name="T17" fmla="*/ 43 h 171"/>
                  <a:gd name="T18" fmla="*/ 92 w 163"/>
                  <a:gd name="T19" fmla="*/ 50 h 171"/>
                  <a:gd name="T20" fmla="*/ 106 w 163"/>
                  <a:gd name="T21" fmla="*/ 57 h 171"/>
                  <a:gd name="T22" fmla="*/ 121 w 163"/>
                  <a:gd name="T23" fmla="*/ 71 h 171"/>
                  <a:gd name="T24" fmla="*/ 121 w 163"/>
                  <a:gd name="T25" fmla="*/ 86 h 171"/>
                  <a:gd name="T26" fmla="*/ 121 w 163"/>
                  <a:gd name="T27" fmla="*/ 100 h 171"/>
                  <a:gd name="T28" fmla="*/ 106 w 163"/>
                  <a:gd name="T29" fmla="*/ 114 h 171"/>
                  <a:gd name="T30" fmla="*/ 92 w 163"/>
                  <a:gd name="T31" fmla="*/ 121 h 171"/>
                  <a:gd name="T32" fmla="*/ 78 w 163"/>
                  <a:gd name="T33" fmla="*/ 128 h 171"/>
                  <a:gd name="T34" fmla="*/ 149 w 163"/>
                  <a:gd name="T35" fmla="*/ 100 h 171"/>
                  <a:gd name="T36" fmla="*/ 149 w 163"/>
                  <a:gd name="T37" fmla="*/ 71 h 171"/>
                  <a:gd name="T38" fmla="*/ 156 w 163"/>
                  <a:gd name="T39" fmla="*/ 71 h 171"/>
                  <a:gd name="T40" fmla="*/ 163 w 163"/>
                  <a:gd name="T41" fmla="*/ 64 h 171"/>
                  <a:gd name="T42" fmla="*/ 156 w 163"/>
                  <a:gd name="T43" fmla="*/ 43 h 171"/>
                  <a:gd name="T44" fmla="*/ 135 w 163"/>
                  <a:gd name="T45" fmla="*/ 29 h 171"/>
                  <a:gd name="T46" fmla="*/ 135 w 163"/>
                  <a:gd name="T47" fmla="*/ 29 h 171"/>
                  <a:gd name="T48" fmla="*/ 121 w 163"/>
                  <a:gd name="T49" fmla="*/ 36 h 171"/>
                  <a:gd name="T50" fmla="*/ 99 w 163"/>
                  <a:gd name="T51" fmla="*/ 22 h 171"/>
                  <a:gd name="T52" fmla="*/ 106 w 163"/>
                  <a:gd name="T53" fmla="*/ 7 h 171"/>
                  <a:gd name="T54" fmla="*/ 99 w 163"/>
                  <a:gd name="T55" fmla="*/ 7 h 171"/>
                  <a:gd name="T56" fmla="*/ 78 w 163"/>
                  <a:gd name="T57" fmla="*/ 0 h 171"/>
                  <a:gd name="T58" fmla="*/ 57 w 163"/>
                  <a:gd name="T59" fmla="*/ 7 h 171"/>
                  <a:gd name="T60" fmla="*/ 49 w 163"/>
                  <a:gd name="T61" fmla="*/ 7 h 171"/>
                  <a:gd name="T62" fmla="*/ 57 w 163"/>
                  <a:gd name="T63" fmla="*/ 22 h 171"/>
                  <a:gd name="T64" fmla="*/ 35 w 163"/>
                  <a:gd name="T65" fmla="*/ 36 h 171"/>
                  <a:gd name="T66" fmla="*/ 28 w 163"/>
                  <a:gd name="T67" fmla="*/ 29 h 171"/>
                  <a:gd name="T68" fmla="*/ 21 w 163"/>
                  <a:gd name="T69" fmla="*/ 29 h 171"/>
                  <a:gd name="T70" fmla="*/ 7 w 163"/>
                  <a:gd name="T71" fmla="*/ 43 h 171"/>
                  <a:gd name="T72" fmla="*/ 0 w 163"/>
                  <a:gd name="T73" fmla="*/ 64 h 171"/>
                  <a:gd name="T74" fmla="*/ 0 w 163"/>
                  <a:gd name="T75" fmla="*/ 71 h 171"/>
                  <a:gd name="T76" fmla="*/ 14 w 163"/>
                  <a:gd name="T77" fmla="*/ 71 h 171"/>
                  <a:gd name="T78" fmla="*/ 14 w 163"/>
                  <a:gd name="T79" fmla="*/ 100 h 171"/>
                  <a:gd name="T80" fmla="*/ 0 w 163"/>
                  <a:gd name="T81" fmla="*/ 100 h 171"/>
                  <a:gd name="T82" fmla="*/ 0 w 163"/>
                  <a:gd name="T83" fmla="*/ 107 h 171"/>
                  <a:gd name="T84" fmla="*/ 7 w 163"/>
                  <a:gd name="T85" fmla="*/ 128 h 171"/>
                  <a:gd name="T86" fmla="*/ 21 w 163"/>
                  <a:gd name="T87" fmla="*/ 143 h 171"/>
                  <a:gd name="T88" fmla="*/ 28 w 163"/>
                  <a:gd name="T89" fmla="*/ 143 h 171"/>
                  <a:gd name="T90" fmla="*/ 35 w 163"/>
                  <a:gd name="T91" fmla="*/ 135 h 171"/>
                  <a:gd name="T92" fmla="*/ 57 w 163"/>
                  <a:gd name="T93" fmla="*/ 150 h 171"/>
                  <a:gd name="T94" fmla="*/ 49 w 163"/>
                  <a:gd name="T95" fmla="*/ 157 h 171"/>
                  <a:gd name="T96" fmla="*/ 57 w 163"/>
                  <a:gd name="T97" fmla="*/ 164 h 171"/>
                  <a:gd name="T98" fmla="*/ 78 w 163"/>
                  <a:gd name="T99" fmla="*/ 171 h 171"/>
                  <a:gd name="T100" fmla="*/ 99 w 163"/>
                  <a:gd name="T101" fmla="*/ 164 h 171"/>
                  <a:gd name="T102" fmla="*/ 106 w 163"/>
                  <a:gd name="T103" fmla="*/ 157 h 171"/>
                  <a:gd name="T104" fmla="*/ 99 w 163"/>
                  <a:gd name="T105" fmla="*/ 150 h 171"/>
                  <a:gd name="T106" fmla="*/ 121 w 163"/>
                  <a:gd name="T107" fmla="*/ 135 h 171"/>
                  <a:gd name="T108" fmla="*/ 135 w 163"/>
                  <a:gd name="T109" fmla="*/ 143 h 171"/>
                  <a:gd name="T110" fmla="*/ 135 w 163"/>
                  <a:gd name="T111" fmla="*/ 143 h 171"/>
                  <a:gd name="T112" fmla="*/ 156 w 163"/>
                  <a:gd name="T113" fmla="*/ 128 h 171"/>
                  <a:gd name="T114" fmla="*/ 163 w 163"/>
                  <a:gd name="T115" fmla="*/ 107 h 171"/>
                  <a:gd name="T116" fmla="*/ 156 w 163"/>
                  <a:gd name="T117" fmla="*/ 100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63" h="171">
                    <a:moveTo>
                      <a:pt x="78" y="128"/>
                    </a:moveTo>
                    <a:lnTo>
                      <a:pt x="78" y="128"/>
                    </a:lnTo>
                    <a:lnTo>
                      <a:pt x="71" y="121"/>
                    </a:lnTo>
                    <a:lnTo>
                      <a:pt x="64" y="121"/>
                    </a:lnTo>
                    <a:lnTo>
                      <a:pt x="57" y="121"/>
                    </a:lnTo>
                    <a:lnTo>
                      <a:pt x="49" y="114"/>
                    </a:lnTo>
                    <a:lnTo>
                      <a:pt x="42" y="107"/>
                    </a:lnTo>
                    <a:lnTo>
                      <a:pt x="42" y="100"/>
                    </a:lnTo>
                    <a:lnTo>
                      <a:pt x="35" y="93"/>
                    </a:lnTo>
                    <a:lnTo>
                      <a:pt x="35" y="86"/>
                    </a:lnTo>
                    <a:lnTo>
                      <a:pt x="35" y="79"/>
                    </a:lnTo>
                    <a:lnTo>
                      <a:pt x="42" y="71"/>
                    </a:lnTo>
                    <a:lnTo>
                      <a:pt x="42" y="64"/>
                    </a:lnTo>
                    <a:lnTo>
                      <a:pt x="49" y="57"/>
                    </a:lnTo>
                    <a:lnTo>
                      <a:pt x="57" y="50"/>
                    </a:lnTo>
                    <a:lnTo>
                      <a:pt x="64" y="50"/>
                    </a:lnTo>
                    <a:lnTo>
                      <a:pt x="71" y="43"/>
                    </a:lnTo>
                    <a:lnTo>
                      <a:pt x="78" y="43"/>
                    </a:lnTo>
                    <a:lnTo>
                      <a:pt x="85" y="43"/>
                    </a:lnTo>
                    <a:lnTo>
                      <a:pt x="92" y="50"/>
                    </a:lnTo>
                    <a:lnTo>
                      <a:pt x="99" y="50"/>
                    </a:lnTo>
                    <a:lnTo>
                      <a:pt x="106" y="57"/>
                    </a:lnTo>
                    <a:lnTo>
                      <a:pt x="114" y="64"/>
                    </a:lnTo>
                    <a:lnTo>
                      <a:pt x="121" y="71"/>
                    </a:lnTo>
                    <a:lnTo>
                      <a:pt x="121" y="79"/>
                    </a:lnTo>
                    <a:lnTo>
                      <a:pt x="121" y="86"/>
                    </a:lnTo>
                    <a:lnTo>
                      <a:pt x="121" y="93"/>
                    </a:lnTo>
                    <a:lnTo>
                      <a:pt x="121" y="100"/>
                    </a:lnTo>
                    <a:lnTo>
                      <a:pt x="114" y="107"/>
                    </a:lnTo>
                    <a:lnTo>
                      <a:pt x="106" y="114"/>
                    </a:lnTo>
                    <a:lnTo>
                      <a:pt x="99" y="121"/>
                    </a:lnTo>
                    <a:lnTo>
                      <a:pt x="92" y="121"/>
                    </a:lnTo>
                    <a:lnTo>
                      <a:pt x="85" y="121"/>
                    </a:lnTo>
                    <a:lnTo>
                      <a:pt x="78" y="128"/>
                    </a:lnTo>
                    <a:close/>
                    <a:moveTo>
                      <a:pt x="156" y="100"/>
                    </a:moveTo>
                    <a:lnTo>
                      <a:pt x="149" y="100"/>
                    </a:lnTo>
                    <a:lnTo>
                      <a:pt x="149" y="86"/>
                    </a:lnTo>
                    <a:lnTo>
                      <a:pt x="149" y="71"/>
                    </a:lnTo>
                    <a:lnTo>
                      <a:pt x="156" y="71"/>
                    </a:lnTo>
                    <a:lnTo>
                      <a:pt x="156" y="71"/>
                    </a:lnTo>
                    <a:lnTo>
                      <a:pt x="163" y="64"/>
                    </a:lnTo>
                    <a:lnTo>
                      <a:pt x="163" y="64"/>
                    </a:lnTo>
                    <a:lnTo>
                      <a:pt x="156" y="50"/>
                    </a:lnTo>
                    <a:lnTo>
                      <a:pt x="156" y="43"/>
                    </a:lnTo>
                    <a:lnTo>
                      <a:pt x="149" y="36"/>
                    </a:lnTo>
                    <a:lnTo>
                      <a:pt x="135" y="29"/>
                    </a:lnTo>
                    <a:lnTo>
                      <a:pt x="135" y="22"/>
                    </a:lnTo>
                    <a:lnTo>
                      <a:pt x="135" y="29"/>
                    </a:lnTo>
                    <a:lnTo>
                      <a:pt x="128" y="29"/>
                    </a:lnTo>
                    <a:lnTo>
                      <a:pt x="121" y="36"/>
                    </a:lnTo>
                    <a:lnTo>
                      <a:pt x="114" y="29"/>
                    </a:lnTo>
                    <a:lnTo>
                      <a:pt x="99" y="22"/>
                    </a:lnTo>
                    <a:lnTo>
                      <a:pt x="106" y="15"/>
                    </a:lnTo>
                    <a:lnTo>
                      <a:pt x="106" y="7"/>
                    </a:lnTo>
                    <a:lnTo>
                      <a:pt x="99" y="7"/>
                    </a:lnTo>
                    <a:lnTo>
                      <a:pt x="99" y="7"/>
                    </a:lnTo>
                    <a:lnTo>
                      <a:pt x="92" y="0"/>
                    </a:lnTo>
                    <a:lnTo>
                      <a:pt x="78" y="0"/>
                    </a:lnTo>
                    <a:lnTo>
                      <a:pt x="71" y="0"/>
                    </a:lnTo>
                    <a:lnTo>
                      <a:pt x="57" y="7"/>
                    </a:lnTo>
                    <a:lnTo>
                      <a:pt x="57" y="7"/>
                    </a:lnTo>
                    <a:lnTo>
                      <a:pt x="49" y="7"/>
                    </a:lnTo>
                    <a:lnTo>
                      <a:pt x="57" y="15"/>
                    </a:lnTo>
                    <a:lnTo>
                      <a:pt x="57" y="22"/>
                    </a:lnTo>
                    <a:lnTo>
                      <a:pt x="42" y="29"/>
                    </a:lnTo>
                    <a:lnTo>
                      <a:pt x="35" y="36"/>
                    </a:lnTo>
                    <a:lnTo>
                      <a:pt x="28" y="29"/>
                    </a:lnTo>
                    <a:lnTo>
                      <a:pt x="28" y="29"/>
                    </a:lnTo>
                    <a:lnTo>
                      <a:pt x="21" y="22"/>
                    </a:lnTo>
                    <a:lnTo>
                      <a:pt x="21" y="29"/>
                    </a:lnTo>
                    <a:lnTo>
                      <a:pt x="14" y="36"/>
                    </a:lnTo>
                    <a:lnTo>
                      <a:pt x="7" y="43"/>
                    </a:lnTo>
                    <a:lnTo>
                      <a:pt x="0" y="50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71"/>
                    </a:lnTo>
                    <a:lnTo>
                      <a:pt x="0" y="71"/>
                    </a:lnTo>
                    <a:lnTo>
                      <a:pt x="14" y="71"/>
                    </a:lnTo>
                    <a:lnTo>
                      <a:pt x="14" y="86"/>
                    </a:lnTo>
                    <a:lnTo>
                      <a:pt x="14" y="100"/>
                    </a:lnTo>
                    <a:lnTo>
                      <a:pt x="0" y="100"/>
                    </a:lnTo>
                    <a:lnTo>
                      <a:pt x="0" y="100"/>
                    </a:lnTo>
                    <a:lnTo>
                      <a:pt x="0" y="100"/>
                    </a:lnTo>
                    <a:lnTo>
                      <a:pt x="0" y="107"/>
                    </a:lnTo>
                    <a:lnTo>
                      <a:pt x="0" y="114"/>
                    </a:lnTo>
                    <a:lnTo>
                      <a:pt x="7" y="128"/>
                    </a:lnTo>
                    <a:lnTo>
                      <a:pt x="14" y="135"/>
                    </a:lnTo>
                    <a:lnTo>
                      <a:pt x="21" y="143"/>
                    </a:lnTo>
                    <a:lnTo>
                      <a:pt x="21" y="143"/>
                    </a:lnTo>
                    <a:lnTo>
                      <a:pt x="28" y="143"/>
                    </a:lnTo>
                    <a:lnTo>
                      <a:pt x="28" y="143"/>
                    </a:lnTo>
                    <a:lnTo>
                      <a:pt x="35" y="135"/>
                    </a:lnTo>
                    <a:lnTo>
                      <a:pt x="42" y="143"/>
                    </a:lnTo>
                    <a:lnTo>
                      <a:pt x="57" y="150"/>
                    </a:lnTo>
                    <a:lnTo>
                      <a:pt x="57" y="157"/>
                    </a:lnTo>
                    <a:lnTo>
                      <a:pt x="49" y="157"/>
                    </a:lnTo>
                    <a:lnTo>
                      <a:pt x="57" y="164"/>
                    </a:lnTo>
                    <a:lnTo>
                      <a:pt x="57" y="164"/>
                    </a:lnTo>
                    <a:lnTo>
                      <a:pt x="71" y="171"/>
                    </a:lnTo>
                    <a:lnTo>
                      <a:pt x="78" y="171"/>
                    </a:lnTo>
                    <a:lnTo>
                      <a:pt x="92" y="171"/>
                    </a:lnTo>
                    <a:lnTo>
                      <a:pt x="99" y="164"/>
                    </a:lnTo>
                    <a:lnTo>
                      <a:pt x="99" y="164"/>
                    </a:lnTo>
                    <a:lnTo>
                      <a:pt x="106" y="157"/>
                    </a:lnTo>
                    <a:lnTo>
                      <a:pt x="106" y="157"/>
                    </a:lnTo>
                    <a:lnTo>
                      <a:pt x="99" y="150"/>
                    </a:lnTo>
                    <a:lnTo>
                      <a:pt x="114" y="143"/>
                    </a:lnTo>
                    <a:lnTo>
                      <a:pt x="121" y="135"/>
                    </a:lnTo>
                    <a:lnTo>
                      <a:pt x="128" y="143"/>
                    </a:lnTo>
                    <a:lnTo>
                      <a:pt x="135" y="143"/>
                    </a:lnTo>
                    <a:lnTo>
                      <a:pt x="135" y="143"/>
                    </a:lnTo>
                    <a:lnTo>
                      <a:pt x="135" y="143"/>
                    </a:lnTo>
                    <a:lnTo>
                      <a:pt x="149" y="135"/>
                    </a:lnTo>
                    <a:lnTo>
                      <a:pt x="156" y="128"/>
                    </a:lnTo>
                    <a:lnTo>
                      <a:pt x="156" y="114"/>
                    </a:lnTo>
                    <a:lnTo>
                      <a:pt x="163" y="107"/>
                    </a:lnTo>
                    <a:lnTo>
                      <a:pt x="163" y="100"/>
                    </a:lnTo>
                    <a:lnTo>
                      <a:pt x="156" y="100"/>
                    </a:lnTo>
                    <a:lnTo>
                      <a:pt x="156" y="1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CA" sz="700" dirty="0">
                  <a:solidFill>
                    <a:srgbClr val="44546A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94" name="Freeform 10"/>
              <p:cNvSpPr>
                <a:spLocks/>
              </p:cNvSpPr>
              <p:nvPr/>
            </p:nvSpPr>
            <p:spPr bwMode="auto">
              <a:xfrm>
                <a:off x="5385716" y="1524931"/>
                <a:ext cx="12923" cy="12760"/>
              </a:xfrm>
              <a:custGeom>
                <a:avLst/>
                <a:gdLst>
                  <a:gd name="T0" fmla="*/ 36 w 79"/>
                  <a:gd name="T1" fmla="*/ 0 h 78"/>
                  <a:gd name="T2" fmla="*/ 50 w 79"/>
                  <a:gd name="T3" fmla="*/ 0 h 78"/>
                  <a:gd name="T4" fmla="*/ 58 w 79"/>
                  <a:gd name="T5" fmla="*/ 7 h 78"/>
                  <a:gd name="T6" fmla="*/ 58 w 79"/>
                  <a:gd name="T7" fmla="*/ 7 h 78"/>
                  <a:gd name="T8" fmla="*/ 65 w 79"/>
                  <a:gd name="T9" fmla="*/ 14 h 78"/>
                  <a:gd name="T10" fmla="*/ 72 w 79"/>
                  <a:gd name="T11" fmla="*/ 22 h 78"/>
                  <a:gd name="T12" fmla="*/ 79 w 79"/>
                  <a:gd name="T13" fmla="*/ 29 h 78"/>
                  <a:gd name="T14" fmla="*/ 79 w 79"/>
                  <a:gd name="T15" fmla="*/ 36 h 78"/>
                  <a:gd name="T16" fmla="*/ 79 w 79"/>
                  <a:gd name="T17" fmla="*/ 43 h 78"/>
                  <a:gd name="T18" fmla="*/ 79 w 79"/>
                  <a:gd name="T19" fmla="*/ 50 h 78"/>
                  <a:gd name="T20" fmla="*/ 79 w 79"/>
                  <a:gd name="T21" fmla="*/ 57 h 78"/>
                  <a:gd name="T22" fmla="*/ 72 w 79"/>
                  <a:gd name="T23" fmla="*/ 64 h 78"/>
                  <a:gd name="T24" fmla="*/ 65 w 79"/>
                  <a:gd name="T25" fmla="*/ 71 h 78"/>
                  <a:gd name="T26" fmla="*/ 58 w 79"/>
                  <a:gd name="T27" fmla="*/ 78 h 78"/>
                  <a:gd name="T28" fmla="*/ 58 w 79"/>
                  <a:gd name="T29" fmla="*/ 78 h 78"/>
                  <a:gd name="T30" fmla="*/ 50 w 79"/>
                  <a:gd name="T31" fmla="*/ 78 h 78"/>
                  <a:gd name="T32" fmla="*/ 36 w 79"/>
                  <a:gd name="T33" fmla="*/ 78 h 78"/>
                  <a:gd name="T34" fmla="*/ 29 w 79"/>
                  <a:gd name="T35" fmla="*/ 78 h 78"/>
                  <a:gd name="T36" fmla="*/ 22 w 79"/>
                  <a:gd name="T37" fmla="*/ 78 h 78"/>
                  <a:gd name="T38" fmla="*/ 15 w 79"/>
                  <a:gd name="T39" fmla="*/ 78 h 78"/>
                  <a:gd name="T40" fmla="*/ 15 w 79"/>
                  <a:gd name="T41" fmla="*/ 71 h 78"/>
                  <a:gd name="T42" fmla="*/ 8 w 79"/>
                  <a:gd name="T43" fmla="*/ 64 h 78"/>
                  <a:gd name="T44" fmla="*/ 0 w 79"/>
                  <a:gd name="T45" fmla="*/ 57 h 78"/>
                  <a:gd name="T46" fmla="*/ 0 w 79"/>
                  <a:gd name="T47" fmla="*/ 50 h 78"/>
                  <a:gd name="T48" fmla="*/ 0 w 79"/>
                  <a:gd name="T49" fmla="*/ 43 h 78"/>
                  <a:gd name="T50" fmla="*/ 0 w 79"/>
                  <a:gd name="T51" fmla="*/ 36 h 78"/>
                  <a:gd name="T52" fmla="*/ 0 w 79"/>
                  <a:gd name="T53" fmla="*/ 29 h 78"/>
                  <a:gd name="T54" fmla="*/ 8 w 79"/>
                  <a:gd name="T55" fmla="*/ 22 h 78"/>
                  <a:gd name="T56" fmla="*/ 15 w 79"/>
                  <a:gd name="T57" fmla="*/ 14 h 78"/>
                  <a:gd name="T58" fmla="*/ 15 w 79"/>
                  <a:gd name="T59" fmla="*/ 7 h 78"/>
                  <a:gd name="T60" fmla="*/ 22 w 79"/>
                  <a:gd name="T61" fmla="*/ 7 h 78"/>
                  <a:gd name="T62" fmla="*/ 29 w 79"/>
                  <a:gd name="T63" fmla="*/ 0 h 78"/>
                  <a:gd name="T64" fmla="*/ 36 w 79"/>
                  <a:gd name="T65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9" h="78">
                    <a:moveTo>
                      <a:pt x="36" y="0"/>
                    </a:moveTo>
                    <a:lnTo>
                      <a:pt x="50" y="0"/>
                    </a:lnTo>
                    <a:lnTo>
                      <a:pt x="58" y="7"/>
                    </a:lnTo>
                    <a:lnTo>
                      <a:pt x="58" y="7"/>
                    </a:lnTo>
                    <a:lnTo>
                      <a:pt x="65" y="14"/>
                    </a:lnTo>
                    <a:lnTo>
                      <a:pt x="72" y="22"/>
                    </a:lnTo>
                    <a:lnTo>
                      <a:pt x="79" y="29"/>
                    </a:lnTo>
                    <a:lnTo>
                      <a:pt x="79" y="36"/>
                    </a:lnTo>
                    <a:lnTo>
                      <a:pt x="79" y="43"/>
                    </a:lnTo>
                    <a:lnTo>
                      <a:pt x="79" y="50"/>
                    </a:lnTo>
                    <a:lnTo>
                      <a:pt x="79" y="57"/>
                    </a:lnTo>
                    <a:lnTo>
                      <a:pt x="72" y="64"/>
                    </a:lnTo>
                    <a:lnTo>
                      <a:pt x="65" y="71"/>
                    </a:lnTo>
                    <a:lnTo>
                      <a:pt x="58" y="78"/>
                    </a:lnTo>
                    <a:lnTo>
                      <a:pt x="58" y="78"/>
                    </a:lnTo>
                    <a:lnTo>
                      <a:pt x="50" y="78"/>
                    </a:lnTo>
                    <a:lnTo>
                      <a:pt x="36" y="78"/>
                    </a:lnTo>
                    <a:lnTo>
                      <a:pt x="29" y="78"/>
                    </a:lnTo>
                    <a:lnTo>
                      <a:pt x="22" y="78"/>
                    </a:lnTo>
                    <a:lnTo>
                      <a:pt x="15" y="78"/>
                    </a:lnTo>
                    <a:lnTo>
                      <a:pt x="15" y="71"/>
                    </a:lnTo>
                    <a:lnTo>
                      <a:pt x="8" y="64"/>
                    </a:lnTo>
                    <a:lnTo>
                      <a:pt x="0" y="57"/>
                    </a:lnTo>
                    <a:lnTo>
                      <a:pt x="0" y="50"/>
                    </a:lnTo>
                    <a:lnTo>
                      <a:pt x="0" y="43"/>
                    </a:lnTo>
                    <a:lnTo>
                      <a:pt x="0" y="36"/>
                    </a:lnTo>
                    <a:lnTo>
                      <a:pt x="0" y="29"/>
                    </a:lnTo>
                    <a:lnTo>
                      <a:pt x="8" y="22"/>
                    </a:lnTo>
                    <a:lnTo>
                      <a:pt x="15" y="14"/>
                    </a:lnTo>
                    <a:lnTo>
                      <a:pt x="15" y="7"/>
                    </a:lnTo>
                    <a:lnTo>
                      <a:pt x="22" y="7"/>
                    </a:lnTo>
                    <a:lnTo>
                      <a:pt x="29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CA" sz="700" dirty="0">
                  <a:solidFill>
                    <a:srgbClr val="44546A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95" name="Group 94"/>
            <p:cNvGrpSpPr>
              <a:grpSpLocks noChangeAspect="1"/>
            </p:cNvGrpSpPr>
            <p:nvPr userDrawn="1"/>
          </p:nvGrpSpPr>
          <p:grpSpPr>
            <a:xfrm>
              <a:off x="3097305" y="4558022"/>
              <a:ext cx="228600" cy="228600"/>
              <a:chOff x="6484382" y="1810174"/>
              <a:chExt cx="278397" cy="278397"/>
            </a:xfrm>
            <a:solidFill>
              <a:schemeClr val="bg1">
                <a:lumMod val="85000"/>
                <a:alpha val="30000"/>
              </a:schemeClr>
            </a:solidFill>
          </p:grpSpPr>
          <p:sp>
            <p:nvSpPr>
              <p:cNvPr id="96" name="Freeform 122"/>
              <p:cNvSpPr>
                <a:spLocks noEditPoints="1"/>
              </p:cNvSpPr>
              <p:nvPr/>
            </p:nvSpPr>
            <p:spPr bwMode="auto">
              <a:xfrm>
                <a:off x="6574695" y="1975886"/>
                <a:ext cx="99428" cy="23200"/>
              </a:xfrm>
              <a:custGeom>
                <a:avLst/>
                <a:gdLst>
                  <a:gd name="T0" fmla="*/ 241 w 241"/>
                  <a:gd name="T1" fmla="*/ 19 h 55"/>
                  <a:gd name="T2" fmla="*/ 241 w 241"/>
                  <a:gd name="T3" fmla="*/ 19 h 55"/>
                  <a:gd name="T4" fmla="*/ 239 w 241"/>
                  <a:gd name="T5" fmla="*/ 12 h 55"/>
                  <a:gd name="T6" fmla="*/ 235 w 241"/>
                  <a:gd name="T7" fmla="*/ 6 h 55"/>
                  <a:gd name="T8" fmla="*/ 229 w 241"/>
                  <a:gd name="T9" fmla="*/ 1 h 55"/>
                  <a:gd name="T10" fmla="*/ 221 w 241"/>
                  <a:gd name="T11" fmla="*/ 0 h 55"/>
                  <a:gd name="T12" fmla="*/ 19 w 241"/>
                  <a:gd name="T13" fmla="*/ 0 h 55"/>
                  <a:gd name="T14" fmla="*/ 19 w 241"/>
                  <a:gd name="T15" fmla="*/ 0 h 55"/>
                  <a:gd name="T16" fmla="*/ 12 w 241"/>
                  <a:gd name="T17" fmla="*/ 1 h 55"/>
                  <a:gd name="T18" fmla="*/ 5 w 241"/>
                  <a:gd name="T19" fmla="*/ 6 h 55"/>
                  <a:gd name="T20" fmla="*/ 1 w 241"/>
                  <a:gd name="T21" fmla="*/ 12 h 55"/>
                  <a:gd name="T22" fmla="*/ 0 w 241"/>
                  <a:gd name="T23" fmla="*/ 19 h 55"/>
                  <a:gd name="T24" fmla="*/ 0 w 241"/>
                  <a:gd name="T25" fmla="*/ 35 h 55"/>
                  <a:gd name="T26" fmla="*/ 0 w 241"/>
                  <a:gd name="T27" fmla="*/ 35 h 55"/>
                  <a:gd name="T28" fmla="*/ 1 w 241"/>
                  <a:gd name="T29" fmla="*/ 43 h 55"/>
                  <a:gd name="T30" fmla="*/ 5 w 241"/>
                  <a:gd name="T31" fmla="*/ 49 h 55"/>
                  <a:gd name="T32" fmla="*/ 12 w 241"/>
                  <a:gd name="T33" fmla="*/ 54 h 55"/>
                  <a:gd name="T34" fmla="*/ 19 w 241"/>
                  <a:gd name="T35" fmla="*/ 55 h 55"/>
                  <a:gd name="T36" fmla="*/ 221 w 241"/>
                  <a:gd name="T37" fmla="*/ 55 h 55"/>
                  <a:gd name="T38" fmla="*/ 221 w 241"/>
                  <a:gd name="T39" fmla="*/ 55 h 55"/>
                  <a:gd name="T40" fmla="*/ 229 w 241"/>
                  <a:gd name="T41" fmla="*/ 54 h 55"/>
                  <a:gd name="T42" fmla="*/ 235 w 241"/>
                  <a:gd name="T43" fmla="*/ 49 h 55"/>
                  <a:gd name="T44" fmla="*/ 239 w 241"/>
                  <a:gd name="T45" fmla="*/ 43 h 55"/>
                  <a:gd name="T46" fmla="*/ 241 w 241"/>
                  <a:gd name="T47" fmla="*/ 35 h 55"/>
                  <a:gd name="T48" fmla="*/ 241 w 241"/>
                  <a:gd name="T49" fmla="*/ 19 h 55"/>
                  <a:gd name="T50" fmla="*/ 213 w 241"/>
                  <a:gd name="T51" fmla="*/ 38 h 55"/>
                  <a:gd name="T52" fmla="*/ 119 w 241"/>
                  <a:gd name="T53" fmla="*/ 38 h 55"/>
                  <a:gd name="T54" fmla="*/ 119 w 241"/>
                  <a:gd name="T55" fmla="*/ 38 h 55"/>
                  <a:gd name="T56" fmla="*/ 115 w 241"/>
                  <a:gd name="T57" fmla="*/ 37 h 55"/>
                  <a:gd name="T58" fmla="*/ 111 w 241"/>
                  <a:gd name="T59" fmla="*/ 35 h 55"/>
                  <a:gd name="T60" fmla="*/ 109 w 241"/>
                  <a:gd name="T61" fmla="*/ 31 h 55"/>
                  <a:gd name="T62" fmla="*/ 108 w 241"/>
                  <a:gd name="T63" fmla="*/ 27 h 55"/>
                  <a:gd name="T64" fmla="*/ 108 w 241"/>
                  <a:gd name="T65" fmla="*/ 27 h 55"/>
                  <a:gd name="T66" fmla="*/ 109 w 241"/>
                  <a:gd name="T67" fmla="*/ 23 h 55"/>
                  <a:gd name="T68" fmla="*/ 111 w 241"/>
                  <a:gd name="T69" fmla="*/ 20 h 55"/>
                  <a:gd name="T70" fmla="*/ 115 w 241"/>
                  <a:gd name="T71" fmla="*/ 18 h 55"/>
                  <a:gd name="T72" fmla="*/ 119 w 241"/>
                  <a:gd name="T73" fmla="*/ 18 h 55"/>
                  <a:gd name="T74" fmla="*/ 213 w 241"/>
                  <a:gd name="T75" fmla="*/ 18 h 55"/>
                  <a:gd name="T76" fmla="*/ 213 w 241"/>
                  <a:gd name="T77" fmla="*/ 18 h 55"/>
                  <a:gd name="T78" fmla="*/ 217 w 241"/>
                  <a:gd name="T79" fmla="*/ 18 h 55"/>
                  <a:gd name="T80" fmla="*/ 220 w 241"/>
                  <a:gd name="T81" fmla="*/ 20 h 55"/>
                  <a:gd name="T82" fmla="*/ 223 w 241"/>
                  <a:gd name="T83" fmla="*/ 23 h 55"/>
                  <a:gd name="T84" fmla="*/ 223 w 241"/>
                  <a:gd name="T85" fmla="*/ 27 h 55"/>
                  <a:gd name="T86" fmla="*/ 223 w 241"/>
                  <a:gd name="T87" fmla="*/ 27 h 55"/>
                  <a:gd name="T88" fmla="*/ 223 w 241"/>
                  <a:gd name="T89" fmla="*/ 31 h 55"/>
                  <a:gd name="T90" fmla="*/ 220 w 241"/>
                  <a:gd name="T91" fmla="*/ 35 h 55"/>
                  <a:gd name="T92" fmla="*/ 217 w 241"/>
                  <a:gd name="T93" fmla="*/ 37 h 55"/>
                  <a:gd name="T94" fmla="*/ 213 w 241"/>
                  <a:gd name="T95" fmla="*/ 38 h 55"/>
                  <a:gd name="T96" fmla="*/ 213 w 241"/>
                  <a:gd name="T97" fmla="*/ 38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41" h="55">
                    <a:moveTo>
                      <a:pt x="241" y="19"/>
                    </a:moveTo>
                    <a:lnTo>
                      <a:pt x="241" y="19"/>
                    </a:lnTo>
                    <a:lnTo>
                      <a:pt x="239" y="12"/>
                    </a:lnTo>
                    <a:lnTo>
                      <a:pt x="235" y="6"/>
                    </a:lnTo>
                    <a:lnTo>
                      <a:pt x="229" y="1"/>
                    </a:lnTo>
                    <a:lnTo>
                      <a:pt x="221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2" y="1"/>
                    </a:lnTo>
                    <a:lnTo>
                      <a:pt x="5" y="6"/>
                    </a:lnTo>
                    <a:lnTo>
                      <a:pt x="1" y="12"/>
                    </a:lnTo>
                    <a:lnTo>
                      <a:pt x="0" y="19"/>
                    </a:lnTo>
                    <a:lnTo>
                      <a:pt x="0" y="35"/>
                    </a:lnTo>
                    <a:lnTo>
                      <a:pt x="0" y="35"/>
                    </a:lnTo>
                    <a:lnTo>
                      <a:pt x="1" y="43"/>
                    </a:lnTo>
                    <a:lnTo>
                      <a:pt x="5" y="49"/>
                    </a:lnTo>
                    <a:lnTo>
                      <a:pt x="12" y="54"/>
                    </a:lnTo>
                    <a:lnTo>
                      <a:pt x="19" y="55"/>
                    </a:lnTo>
                    <a:lnTo>
                      <a:pt x="221" y="55"/>
                    </a:lnTo>
                    <a:lnTo>
                      <a:pt x="221" y="55"/>
                    </a:lnTo>
                    <a:lnTo>
                      <a:pt x="229" y="54"/>
                    </a:lnTo>
                    <a:lnTo>
                      <a:pt x="235" y="49"/>
                    </a:lnTo>
                    <a:lnTo>
                      <a:pt x="239" y="43"/>
                    </a:lnTo>
                    <a:lnTo>
                      <a:pt x="241" y="35"/>
                    </a:lnTo>
                    <a:lnTo>
                      <a:pt x="241" y="19"/>
                    </a:lnTo>
                    <a:close/>
                    <a:moveTo>
                      <a:pt x="213" y="38"/>
                    </a:moveTo>
                    <a:lnTo>
                      <a:pt x="119" y="38"/>
                    </a:lnTo>
                    <a:lnTo>
                      <a:pt x="119" y="38"/>
                    </a:lnTo>
                    <a:lnTo>
                      <a:pt x="115" y="37"/>
                    </a:lnTo>
                    <a:lnTo>
                      <a:pt x="111" y="35"/>
                    </a:lnTo>
                    <a:lnTo>
                      <a:pt x="109" y="31"/>
                    </a:lnTo>
                    <a:lnTo>
                      <a:pt x="108" y="27"/>
                    </a:lnTo>
                    <a:lnTo>
                      <a:pt x="108" y="27"/>
                    </a:lnTo>
                    <a:lnTo>
                      <a:pt x="109" y="23"/>
                    </a:lnTo>
                    <a:lnTo>
                      <a:pt x="111" y="20"/>
                    </a:lnTo>
                    <a:lnTo>
                      <a:pt x="115" y="18"/>
                    </a:lnTo>
                    <a:lnTo>
                      <a:pt x="119" y="18"/>
                    </a:lnTo>
                    <a:lnTo>
                      <a:pt x="213" y="18"/>
                    </a:lnTo>
                    <a:lnTo>
                      <a:pt x="213" y="18"/>
                    </a:lnTo>
                    <a:lnTo>
                      <a:pt x="217" y="18"/>
                    </a:lnTo>
                    <a:lnTo>
                      <a:pt x="220" y="20"/>
                    </a:lnTo>
                    <a:lnTo>
                      <a:pt x="223" y="23"/>
                    </a:lnTo>
                    <a:lnTo>
                      <a:pt x="223" y="27"/>
                    </a:lnTo>
                    <a:lnTo>
                      <a:pt x="223" y="27"/>
                    </a:lnTo>
                    <a:lnTo>
                      <a:pt x="223" y="31"/>
                    </a:lnTo>
                    <a:lnTo>
                      <a:pt x="220" y="35"/>
                    </a:lnTo>
                    <a:lnTo>
                      <a:pt x="217" y="37"/>
                    </a:lnTo>
                    <a:lnTo>
                      <a:pt x="213" y="38"/>
                    </a:lnTo>
                    <a:lnTo>
                      <a:pt x="213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BF0E11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97" name="Freeform 123"/>
              <p:cNvSpPr>
                <a:spLocks noEditPoints="1"/>
              </p:cNvSpPr>
              <p:nvPr/>
            </p:nvSpPr>
            <p:spPr bwMode="auto">
              <a:xfrm>
                <a:off x="6574695" y="1898830"/>
                <a:ext cx="99428" cy="70428"/>
              </a:xfrm>
              <a:custGeom>
                <a:avLst/>
                <a:gdLst>
                  <a:gd name="T0" fmla="*/ 210 w 240"/>
                  <a:gd name="T1" fmla="*/ 170 h 170"/>
                  <a:gd name="T2" fmla="*/ 217 w 240"/>
                  <a:gd name="T3" fmla="*/ 170 h 170"/>
                  <a:gd name="T4" fmla="*/ 228 w 240"/>
                  <a:gd name="T5" fmla="*/ 165 h 170"/>
                  <a:gd name="T6" fmla="*/ 235 w 240"/>
                  <a:gd name="T7" fmla="*/ 156 h 170"/>
                  <a:gd name="T8" fmla="*/ 240 w 240"/>
                  <a:gd name="T9" fmla="*/ 147 h 170"/>
                  <a:gd name="T10" fmla="*/ 240 w 240"/>
                  <a:gd name="T11" fmla="*/ 30 h 170"/>
                  <a:gd name="T12" fmla="*/ 240 w 240"/>
                  <a:gd name="T13" fmla="*/ 23 h 170"/>
                  <a:gd name="T14" fmla="*/ 235 w 240"/>
                  <a:gd name="T15" fmla="*/ 14 h 170"/>
                  <a:gd name="T16" fmla="*/ 228 w 240"/>
                  <a:gd name="T17" fmla="*/ 5 h 170"/>
                  <a:gd name="T18" fmla="*/ 217 w 240"/>
                  <a:gd name="T19" fmla="*/ 0 h 170"/>
                  <a:gd name="T20" fmla="*/ 30 w 240"/>
                  <a:gd name="T21" fmla="*/ 0 h 170"/>
                  <a:gd name="T22" fmla="*/ 24 w 240"/>
                  <a:gd name="T23" fmla="*/ 0 h 170"/>
                  <a:gd name="T24" fmla="*/ 14 w 240"/>
                  <a:gd name="T25" fmla="*/ 5 h 170"/>
                  <a:gd name="T26" fmla="*/ 5 w 240"/>
                  <a:gd name="T27" fmla="*/ 14 h 170"/>
                  <a:gd name="T28" fmla="*/ 0 w 240"/>
                  <a:gd name="T29" fmla="*/ 23 h 170"/>
                  <a:gd name="T30" fmla="*/ 0 w 240"/>
                  <a:gd name="T31" fmla="*/ 140 h 170"/>
                  <a:gd name="T32" fmla="*/ 0 w 240"/>
                  <a:gd name="T33" fmla="*/ 147 h 170"/>
                  <a:gd name="T34" fmla="*/ 5 w 240"/>
                  <a:gd name="T35" fmla="*/ 156 h 170"/>
                  <a:gd name="T36" fmla="*/ 14 w 240"/>
                  <a:gd name="T37" fmla="*/ 165 h 170"/>
                  <a:gd name="T38" fmla="*/ 24 w 240"/>
                  <a:gd name="T39" fmla="*/ 170 h 170"/>
                  <a:gd name="T40" fmla="*/ 30 w 240"/>
                  <a:gd name="T41" fmla="*/ 170 h 170"/>
                  <a:gd name="T42" fmla="*/ 20 w 240"/>
                  <a:gd name="T43" fmla="*/ 30 h 170"/>
                  <a:gd name="T44" fmla="*/ 23 w 240"/>
                  <a:gd name="T45" fmla="*/ 23 h 170"/>
                  <a:gd name="T46" fmla="*/ 30 w 240"/>
                  <a:gd name="T47" fmla="*/ 20 h 170"/>
                  <a:gd name="T48" fmla="*/ 210 w 240"/>
                  <a:gd name="T49" fmla="*/ 20 h 170"/>
                  <a:gd name="T50" fmla="*/ 217 w 240"/>
                  <a:gd name="T51" fmla="*/ 23 h 170"/>
                  <a:gd name="T52" fmla="*/ 220 w 240"/>
                  <a:gd name="T53" fmla="*/ 30 h 170"/>
                  <a:gd name="T54" fmla="*/ 220 w 240"/>
                  <a:gd name="T55" fmla="*/ 140 h 170"/>
                  <a:gd name="T56" fmla="*/ 217 w 240"/>
                  <a:gd name="T57" fmla="*/ 147 h 170"/>
                  <a:gd name="T58" fmla="*/ 210 w 240"/>
                  <a:gd name="T59" fmla="*/ 150 h 170"/>
                  <a:gd name="T60" fmla="*/ 30 w 240"/>
                  <a:gd name="T61" fmla="*/ 150 h 170"/>
                  <a:gd name="T62" fmla="*/ 23 w 240"/>
                  <a:gd name="T63" fmla="*/ 147 h 170"/>
                  <a:gd name="T64" fmla="*/ 20 w 240"/>
                  <a:gd name="T65" fmla="*/ 14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40" h="170">
                    <a:moveTo>
                      <a:pt x="30" y="170"/>
                    </a:moveTo>
                    <a:lnTo>
                      <a:pt x="210" y="170"/>
                    </a:lnTo>
                    <a:lnTo>
                      <a:pt x="210" y="170"/>
                    </a:lnTo>
                    <a:lnTo>
                      <a:pt x="217" y="170"/>
                    </a:lnTo>
                    <a:lnTo>
                      <a:pt x="223" y="167"/>
                    </a:lnTo>
                    <a:lnTo>
                      <a:pt x="228" y="165"/>
                    </a:lnTo>
                    <a:lnTo>
                      <a:pt x="232" y="162"/>
                    </a:lnTo>
                    <a:lnTo>
                      <a:pt x="235" y="156"/>
                    </a:lnTo>
                    <a:lnTo>
                      <a:pt x="237" y="152"/>
                    </a:lnTo>
                    <a:lnTo>
                      <a:pt x="240" y="147"/>
                    </a:lnTo>
                    <a:lnTo>
                      <a:pt x="240" y="140"/>
                    </a:lnTo>
                    <a:lnTo>
                      <a:pt x="240" y="30"/>
                    </a:lnTo>
                    <a:lnTo>
                      <a:pt x="240" y="30"/>
                    </a:lnTo>
                    <a:lnTo>
                      <a:pt x="240" y="23"/>
                    </a:lnTo>
                    <a:lnTo>
                      <a:pt x="237" y="18"/>
                    </a:lnTo>
                    <a:lnTo>
                      <a:pt x="235" y="14"/>
                    </a:lnTo>
                    <a:lnTo>
                      <a:pt x="232" y="8"/>
                    </a:lnTo>
                    <a:lnTo>
                      <a:pt x="228" y="5"/>
                    </a:lnTo>
                    <a:lnTo>
                      <a:pt x="223" y="3"/>
                    </a:lnTo>
                    <a:lnTo>
                      <a:pt x="217" y="0"/>
                    </a:lnTo>
                    <a:lnTo>
                      <a:pt x="21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4" y="0"/>
                    </a:lnTo>
                    <a:lnTo>
                      <a:pt x="18" y="3"/>
                    </a:lnTo>
                    <a:lnTo>
                      <a:pt x="14" y="5"/>
                    </a:lnTo>
                    <a:lnTo>
                      <a:pt x="8" y="8"/>
                    </a:lnTo>
                    <a:lnTo>
                      <a:pt x="5" y="14"/>
                    </a:lnTo>
                    <a:lnTo>
                      <a:pt x="3" y="18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0" y="140"/>
                    </a:lnTo>
                    <a:lnTo>
                      <a:pt x="0" y="140"/>
                    </a:lnTo>
                    <a:lnTo>
                      <a:pt x="0" y="147"/>
                    </a:lnTo>
                    <a:lnTo>
                      <a:pt x="3" y="152"/>
                    </a:lnTo>
                    <a:lnTo>
                      <a:pt x="5" y="156"/>
                    </a:lnTo>
                    <a:lnTo>
                      <a:pt x="8" y="162"/>
                    </a:lnTo>
                    <a:lnTo>
                      <a:pt x="14" y="165"/>
                    </a:lnTo>
                    <a:lnTo>
                      <a:pt x="18" y="167"/>
                    </a:lnTo>
                    <a:lnTo>
                      <a:pt x="24" y="170"/>
                    </a:lnTo>
                    <a:lnTo>
                      <a:pt x="30" y="170"/>
                    </a:lnTo>
                    <a:lnTo>
                      <a:pt x="30" y="170"/>
                    </a:lnTo>
                    <a:close/>
                    <a:moveTo>
                      <a:pt x="20" y="30"/>
                    </a:moveTo>
                    <a:lnTo>
                      <a:pt x="20" y="30"/>
                    </a:lnTo>
                    <a:lnTo>
                      <a:pt x="22" y="26"/>
                    </a:lnTo>
                    <a:lnTo>
                      <a:pt x="23" y="23"/>
                    </a:lnTo>
                    <a:lnTo>
                      <a:pt x="26" y="22"/>
                    </a:lnTo>
                    <a:lnTo>
                      <a:pt x="30" y="20"/>
                    </a:lnTo>
                    <a:lnTo>
                      <a:pt x="210" y="20"/>
                    </a:lnTo>
                    <a:lnTo>
                      <a:pt x="210" y="20"/>
                    </a:lnTo>
                    <a:lnTo>
                      <a:pt x="214" y="22"/>
                    </a:lnTo>
                    <a:lnTo>
                      <a:pt x="217" y="23"/>
                    </a:lnTo>
                    <a:lnTo>
                      <a:pt x="219" y="26"/>
                    </a:lnTo>
                    <a:lnTo>
                      <a:pt x="220" y="30"/>
                    </a:lnTo>
                    <a:lnTo>
                      <a:pt x="220" y="140"/>
                    </a:lnTo>
                    <a:lnTo>
                      <a:pt x="220" y="140"/>
                    </a:lnTo>
                    <a:lnTo>
                      <a:pt x="219" y="144"/>
                    </a:lnTo>
                    <a:lnTo>
                      <a:pt x="217" y="147"/>
                    </a:lnTo>
                    <a:lnTo>
                      <a:pt x="214" y="148"/>
                    </a:lnTo>
                    <a:lnTo>
                      <a:pt x="210" y="150"/>
                    </a:lnTo>
                    <a:lnTo>
                      <a:pt x="30" y="150"/>
                    </a:lnTo>
                    <a:lnTo>
                      <a:pt x="30" y="150"/>
                    </a:lnTo>
                    <a:lnTo>
                      <a:pt x="26" y="148"/>
                    </a:lnTo>
                    <a:lnTo>
                      <a:pt x="23" y="147"/>
                    </a:lnTo>
                    <a:lnTo>
                      <a:pt x="22" y="144"/>
                    </a:lnTo>
                    <a:lnTo>
                      <a:pt x="20" y="140"/>
                    </a:lnTo>
                    <a:lnTo>
                      <a:pt x="20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BF0E11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98" name="Freeform 124"/>
              <p:cNvSpPr>
                <a:spLocks/>
              </p:cNvSpPr>
              <p:nvPr/>
            </p:nvSpPr>
            <p:spPr bwMode="auto">
              <a:xfrm>
                <a:off x="6519182" y="1844145"/>
                <a:ext cx="53857" cy="55514"/>
              </a:xfrm>
              <a:custGeom>
                <a:avLst/>
                <a:gdLst>
                  <a:gd name="T0" fmla="*/ 79 w 130"/>
                  <a:gd name="T1" fmla="*/ 100 h 135"/>
                  <a:gd name="T2" fmla="*/ 116 w 130"/>
                  <a:gd name="T3" fmla="*/ 135 h 135"/>
                  <a:gd name="T4" fmla="*/ 116 w 130"/>
                  <a:gd name="T5" fmla="*/ 135 h 135"/>
                  <a:gd name="T6" fmla="*/ 118 w 130"/>
                  <a:gd name="T7" fmla="*/ 129 h 135"/>
                  <a:gd name="T8" fmla="*/ 121 w 130"/>
                  <a:gd name="T9" fmla="*/ 124 h 135"/>
                  <a:gd name="T10" fmla="*/ 125 w 130"/>
                  <a:gd name="T11" fmla="*/ 120 h 135"/>
                  <a:gd name="T12" fmla="*/ 130 w 130"/>
                  <a:gd name="T13" fmla="*/ 117 h 135"/>
                  <a:gd name="T14" fmla="*/ 97 w 130"/>
                  <a:gd name="T15" fmla="*/ 84 h 135"/>
                  <a:gd name="T16" fmla="*/ 97 w 130"/>
                  <a:gd name="T17" fmla="*/ 84 h 135"/>
                  <a:gd name="T18" fmla="*/ 101 w 130"/>
                  <a:gd name="T19" fmla="*/ 75 h 135"/>
                  <a:gd name="T20" fmla="*/ 103 w 130"/>
                  <a:gd name="T21" fmla="*/ 66 h 135"/>
                  <a:gd name="T22" fmla="*/ 105 w 130"/>
                  <a:gd name="T23" fmla="*/ 58 h 135"/>
                  <a:gd name="T24" fmla="*/ 105 w 130"/>
                  <a:gd name="T25" fmla="*/ 48 h 135"/>
                  <a:gd name="T26" fmla="*/ 103 w 130"/>
                  <a:gd name="T27" fmla="*/ 39 h 135"/>
                  <a:gd name="T28" fmla="*/ 101 w 130"/>
                  <a:gd name="T29" fmla="*/ 31 h 135"/>
                  <a:gd name="T30" fmla="*/ 97 w 130"/>
                  <a:gd name="T31" fmla="*/ 23 h 135"/>
                  <a:gd name="T32" fmla="*/ 90 w 130"/>
                  <a:gd name="T33" fmla="*/ 16 h 135"/>
                  <a:gd name="T34" fmla="*/ 90 w 130"/>
                  <a:gd name="T35" fmla="*/ 16 h 135"/>
                  <a:gd name="T36" fmla="*/ 82 w 130"/>
                  <a:gd name="T37" fmla="*/ 9 h 135"/>
                  <a:gd name="T38" fmla="*/ 72 w 130"/>
                  <a:gd name="T39" fmla="*/ 4 h 135"/>
                  <a:gd name="T40" fmla="*/ 63 w 130"/>
                  <a:gd name="T41" fmla="*/ 1 h 135"/>
                  <a:gd name="T42" fmla="*/ 52 w 130"/>
                  <a:gd name="T43" fmla="*/ 0 h 135"/>
                  <a:gd name="T44" fmla="*/ 43 w 130"/>
                  <a:gd name="T45" fmla="*/ 1 h 135"/>
                  <a:gd name="T46" fmla="*/ 32 w 130"/>
                  <a:gd name="T47" fmla="*/ 4 h 135"/>
                  <a:gd name="T48" fmla="*/ 24 w 130"/>
                  <a:gd name="T49" fmla="*/ 9 h 135"/>
                  <a:gd name="T50" fmla="*/ 14 w 130"/>
                  <a:gd name="T51" fmla="*/ 16 h 135"/>
                  <a:gd name="T52" fmla="*/ 14 w 130"/>
                  <a:gd name="T53" fmla="*/ 16 h 135"/>
                  <a:gd name="T54" fmla="*/ 8 w 130"/>
                  <a:gd name="T55" fmla="*/ 24 h 135"/>
                  <a:gd name="T56" fmla="*/ 4 w 130"/>
                  <a:gd name="T57" fmla="*/ 34 h 135"/>
                  <a:gd name="T58" fmla="*/ 1 w 130"/>
                  <a:gd name="T59" fmla="*/ 43 h 135"/>
                  <a:gd name="T60" fmla="*/ 0 w 130"/>
                  <a:gd name="T61" fmla="*/ 54 h 135"/>
                  <a:gd name="T62" fmla="*/ 1 w 130"/>
                  <a:gd name="T63" fmla="*/ 63 h 135"/>
                  <a:gd name="T64" fmla="*/ 4 w 130"/>
                  <a:gd name="T65" fmla="*/ 74 h 135"/>
                  <a:gd name="T66" fmla="*/ 8 w 130"/>
                  <a:gd name="T67" fmla="*/ 82 h 135"/>
                  <a:gd name="T68" fmla="*/ 14 w 130"/>
                  <a:gd name="T69" fmla="*/ 92 h 135"/>
                  <a:gd name="T70" fmla="*/ 14 w 130"/>
                  <a:gd name="T71" fmla="*/ 92 h 135"/>
                  <a:gd name="T72" fmla="*/ 23 w 130"/>
                  <a:gd name="T73" fmla="*/ 97 h 135"/>
                  <a:gd name="T74" fmla="*/ 29 w 130"/>
                  <a:gd name="T75" fmla="*/ 101 h 135"/>
                  <a:gd name="T76" fmla="*/ 37 w 130"/>
                  <a:gd name="T77" fmla="*/ 105 h 135"/>
                  <a:gd name="T78" fmla="*/ 47 w 130"/>
                  <a:gd name="T79" fmla="*/ 106 h 135"/>
                  <a:gd name="T80" fmla="*/ 55 w 130"/>
                  <a:gd name="T81" fmla="*/ 106 h 135"/>
                  <a:gd name="T82" fmla="*/ 63 w 130"/>
                  <a:gd name="T83" fmla="*/ 105 h 135"/>
                  <a:gd name="T84" fmla="*/ 71 w 130"/>
                  <a:gd name="T85" fmla="*/ 102 h 135"/>
                  <a:gd name="T86" fmla="*/ 79 w 130"/>
                  <a:gd name="T87" fmla="*/ 100 h 135"/>
                  <a:gd name="T88" fmla="*/ 79 w 130"/>
                  <a:gd name="T89" fmla="*/ 10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30" h="135">
                    <a:moveTo>
                      <a:pt x="79" y="100"/>
                    </a:moveTo>
                    <a:lnTo>
                      <a:pt x="116" y="135"/>
                    </a:lnTo>
                    <a:lnTo>
                      <a:pt x="116" y="135"/>
                    </a:lnTo>
                    <a:lnTo>
                      <a:pt x="118" y="129"/>
                    </a:lnTo>
                    <a:lnTo>
                      <a:pt x="121" y="124"/>
                    </a:lnTo>
                    <a:lnTo>
                      <a:pt x="125" y="120"/>
                    </a:lnTo>
                    <a:lnTo>
                      <a:pt x="130" y="117"/>
                    </a:lnTo>
                    <a:lnTo>
                      <a:pt x="97" y="84"/>
                    </a:lnTo>
                    <a:lnTo>
                      <a:pt x="97" y="84"/>
                    </a:lnTo>
                    <a:lnTo>
                      <a:pt x="101" y="75"/>
                    </a:lnTo>
                    <a:lnTo>
                      <a:pt x="103" y="66"/>
                    </a:lnTo>
                    <a:lnTo>
                      <a:pt x="105" y="58"/>
                    </a:lnTo>
                    <a:lnTo>
                      <a:pt x="105" y="48"/>
                    </a:lnTo>
                    <a:lnTo>
                      <a:pt x="103" y="39"/>
                    </a:lnTo>
                    <a:lnTo>
                      <a:pt x="101" y="31"/>
                    </a:lnTo>
                    <a:lnTo>
                      <a:pt x="97" y="23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82" y="9"/>
                    </a:lnTo>
                    <a:lnTo>
                      <a:pt x="72" y="4"/>
                    </a:lnTo>
                    <a:lnTo>
                      <a:pt x="63" y="1"/>
                    </a:lnTo>
                    <a:lnTo>
                      <a:pt x="52" y="0"/>
                    </a:lnTo>
                    <a:lnTo>
                      <a:pt x="43" y="1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8" y="24"/>
                    </a:lnTo>
                    <a:lnTo>
                      <a:pt x="4" y="34"/>
                    </a:lnTo>
                    <a:lnTo>
                      <a:pt x="1" y="43"/>
                    </a:lnTo>
                    <a:lnTo>
                      <a:pt x="0" y="54"/>
                    </a:lnTo>
                    <a:lnTo>
                      <a:pt x="1" y="63"/>
                    </a:lnTo>
                    <a:lnTo>
                      <a:pt x="4" y="74"/>
                    </a:lnTo>
                    <a:lnTo>
                      <a:pt x="8" y="82"/>
                    </a:lnTo>
                    <a:lnTo>
                      <a:pt x="14" y="92"/>
                    </a:lnTo>
                    <a:lnTo>
                      <a:pt x="14" y="92"/>
                    </a:lnTo>
                    <a:lnTo>
                      <a:pt x="23" y="97"/>
                    </a:lnTo>
                    <a:lnTo>
                      <a:pt x="29" y="101"/>
                    </a:lnTo>
                    <a:lnTo>
                      <a:pt x="37" y="105"/>
                    </a:lnTo>
                    <a:lnTo>
                      <a:pt x="47" y="106"/>
                    </a:lnTo>
                    <a:lnTo>
                      <a:pt x="55" y="106"/>
                    </a:lnTo>
                    <a:lnTo>
                      <a:pt x="63" y="105"/>
                    </a:lnTo>
                    <a:lnTo>
                      <a:pt x="71" y="102"/>
                    </a:lnTo>
                    <a:lnTo>
                      <a:pt x="79" y="100"/>
                    </a:lnTo>
                    <a:lnTo>
                      <a:pt x="79" y="1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BF0E11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99" name="Freeform 125"/>
              <p:cNvSpPr>
                <a:spLocks/>
              </p:cNvSpPr>
              <p:nvPr/>
            </p:nvSpPr>
            <p:spPr bwMode="auto">
              <a:xfrm>
                <a:off x="6602038" y="1810174"/>
                <a:ext cx="43914" cy="81200"/>
              </a:xfrm>
              <a:custGeom>
                <a:avLst/>
                <a:gdLst>
                  <a:gd name="T0" fmla="*/ 42 w 107"/>
                  <a:gd name="T1" fmla="*/ 105 h 197"/>
                  <a:gd name="T2" fmla="*/ 42 w 107"/>
                  <a:gd name="T3" fmla="*/ 197 h 197"/>
                  <a:gd name="T4" fmla="*/ 66 w 107"/>
                  <a:gd name="T5" fmla="*/ 197 h 197"/>
                  <a:gd name="T6" fmla="*/ 66 w 107"/>
                  <a:gd name="T7" fmla="*/ 105 h 197"/>
                  <a:gd name="T8" fmla="*/ 66 w 107"/>
                  <a:gd name="T9" fmla="*/ 105 h 197"/>
                  <a:gd name="T10" fmla="*/ 74 w 107"/>
                  <a:gd name="T11" fmla="*/ 101 h 197"/>
                  <a:gd name="T12" fmla="*/ 82 w 107"/>
                  <a:gd name="T13" fmla="*/ 97 h 197"/>
                  <a:gd name="T14" fmla="*/ 89 w 107"/>
                  <a:gd name="T15" fmla="*/ 91 h 197"/>
                  <a:gd name="T16" fmla="*/ 95 w 107"/>
                  <a:gd name="T17" fmla="*/ 86 h 197"/>
                  <a:gd name="T18" fmla="*/ 100 w 107"/>
                  <a:gd name="T19" fmla="*/ 78 h 197"/>
                  <a:gd name="T20" fmla="*/ 103 w 107"/>
                  <a:gd name="T21" fmla="*/ 71 h 197"/>
                  <a:gd name="T22" fmla="*/ 105 w 107"/>
                  <a:gd name="T23" fmla="*/ 62 h 197"/>
                  <a:gd name="T24" fmla="*/ 107 w 107"/>
                  <a:gd name="T25" fmla="*/ 52 h 197"/>
                  <a:gd name="T26" fmla="*/ 107 w 107"/>
                  <a:gd name="T27" fmla="*/ 52 h 197"/>
                  <a:gd name="T28" fmla="*/ 105 w 107"/>
                  <a:gd name="T29" fmla="*/ 41 h 197"/>
                  <a:gd name="T30" fmla="*/ 103 w 107"/>
                  <a:gd name="T31" fmla="*/ 32 h 197"/>
                  <a:gd name="T32" fmla="*/ 97 w 107"/>
                  <a:gd name="T33" fmla="*/ 23 h 197"/>
                  <a:gd name="T34" fmla="*/ 91 w 107"/>
                  <a:gd name="T35" fmla="*/ 16 h 197"/>
                  <a:gd name="T36" fmla="*/ 82 w 107"/>
                  <a:gd name="T37" fmla="*/ 9 h 197"/>
                  <a:gd name="T38" fmla="*/ 74 w 107"/>
                  <a:gd name="T39" fmla="*/ 4 h 197"/>
                  <a:gd name="T40" fmla="*/ 64 w 107"/>
                  <a:gd name="T41" fmla="*/ 1 h 197"/>
                  <a:gd name="T42" fmla="*/ 53 w 107"/>
                  <a:gd name="T43" fmla="*/ 0 h 197"/>
                  <a:gd name="T44" fmla="*/ 53 w 107"/>
                  <a:gd name="T45" fmla="*/ 0 h 197"/>
                  <a:gd name="T46" fmla="*/ 42 w 107"/>
                  <a:gd name="T47" fmla="*/ 1 h 197"/>
                  <a:gd name="T48" fmla="*/ 33 w 107"/>
                  <a:gd name="T49" fmla="*/ 4 h 197"/>
                  <a:gd name="T50" fmla="*/ 23 w 107"/>
                  <a:gd name="T51" fmla="*/ 9 h 197"/>
                  <a:gd name="T52" fmla="*/ 15 w 107"/>
                  <a:gd name="T53" fmla="*/ 16 h 197"/>
                  <a:gd name="T54" fmla="*/ 10 w 107"/>
                  <a:gd name="T55" fmla="*/ 23 h 197"/>
                  <a:gd name="T56" fmla="*/ 4 w 107"/>
                  <a:gd name="T57" fmla="*/ 32 h 197"/>
                  <a:gd name="T58" fmla="*/ 2 w 107"/>
                  <a:gd name="T59" fmla="*/ 41 h 197"/>
                  <a:gd name="T60" fmla="*/ 0 w 107"/>
                  <a:gd name="T61" fmla="*/ 52 h 197"/>
                  <a:gd name="T62" fmla="*/ 0 w 107"/>
                  <a:gd name="T63" fmla="*/ 52 h 197"/>
                  <a:gd name="T64" fmla="*/ 0 w 107"/>
                  <a:gd name="T65" fmla="*/ 62 h 197"/>
                  <a:gd name="T66" fmla="*/ 3 w 107"/>
                  <a:gd name="T67" fmla="*/ 71 h 197"/>
                  <a:gd name="T68" fmla="*/ 7 w 107"/>
                  <a:gd name="T69" fmla="*/ 79 h 197"/>
                  <a:gd name="T70" fmla="*/ 12 w 107"/>
                  <a:gd name="T71" fmla="*/ 87 h 197"/>
                  <a:gd name="T72" fmla="*/ 19 w 107"/>
                  <a:gd name="T73" fmla="*/ 93 h 197"/>
                  <a:gd name="T74" fmla="*/ 26 w 107"/>
                  <a:gd name="T75" fmla="*/ 98 h 197"/>
                  <a:gd name="T76" fmla="*/ 34 w 107"/>
                  <a:gd name="T77" fmla="*/ 102 h 197"/>
                  <a:gd name="T78" fmla="*/ 42 w 107"/>
                  <a:gd name="T79" fmla="*/ 105 h 197"/>
                  <a:gd name="T80" fmla="*/ 42 w 107"/>
                  <a:gd name="T81" fmla="*/ 105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07" h="197">
                    <a:moveTo>
                      <a:pt x="42" y="105"/>
                    </a:moveTo>
                    <a:lnTo>
                      <a:pt x="42" y="197"/>
                    </a:lnTo>
                    <a:lnTo>
                      <a:pt x="66" y="197"/>
                    </a:lnTo>
                    <a:lnTo>
                      <a:pt x="66" y="105"/>
                    </a:lnTo>
                    <a:lnTo>
                      <a:pt x="66" y="105"/>
                    </a:lnTo>
                    <a:lnTo>
                      <a:pt x="74" y="101"/>
                    </a:lnTo>
                    <a:lnTo>
                      <a:pt x="82" y="97"/>
                    </a:lnTo>
                    <a:lnTo>
                      <a:pt x="89" y="91"/>
                    </a:lnTo>
                    <a:lnTo>
                      <a:pt x="95" y="86"/>
                    </a:lnTo>
                    <a:lnTo>
                      <a:pt x="100" y="78"/>
                    </a:lnTo>
                    <a:lnTo>
                      <a:pt x="103" y="71"/>
                    </a:lnTo>
                    <a:lnTo>
                      <a:pt x="105" y="62"/>
                    </a:lnTo>
                    <a:lnTo>
                      <a:pt x="107" y="52"/>
                    </a:lnTo>
                    <a:lnTo>
                      <a:pt x="107" y="52"/>
                    </a:lnTo>
                    <a:lnTo>
                      <a:pt x="105" y="41"/>
                    </a:lnTo>
                    <a:lnTo>
                      <a:pt x="103" y="32"/>
                    </a:lnTo>
                    <a:lnTo>
                      <a:pt x="97" y="23"/>
                    </a:lnTo>
                    <a:lnTo>
                      <a:pt x="91" y="16"/>
                    </a:lnTo>
                    <a:lnTo>
                      <a:pt x="82" y="9"/>
                    </a:lnTo>
                    <a:lnTo>
                      <a:pt x="74" y="4"/>
                    </a:lnTo>
                    <a:lnTo>
                      <a:pt x="64" y="1"/>
                    </a:lnTo>
                    <a:lnTo>
                      <a:pt x="53" y="0"/>
                    </a:lnTo>
                    <a:lnTo>
                      <a:pt x="53" y="0"/>
                    </a:lnTo>
                    <a:lnTo>
                      <a:pt x="42" y="1"/>
                    </a:lnTo>
                    <a:lnTo>
                      <a:pt x="33" y="4"/>
                    </a:lnTo>
                    <a:lnTo>
                      <a:pt x="23" y="9"/>
                    </a:lnTo>
                    <a:lnTo>
                      <a:pt x="15" y="16"/>
                    </a:lnTo>
                    <a:lnTo>
                      <a:pt x="10" y="23"/>
                    </a:lnTo>
                    <a:lnTo>
                      <a:pt x="4" y="32"/>
                    </a:lnTo>
                    <a:lnTo>
                      <a:pt x="2" y="41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62"/>
                    </a:lnTo>
                    <a:lnTo>
                      <a:pt x="3" y="71"/>
                    </a:lnTo>
                    <a:lnTo>
                      <a:pt x="7" y="79"/>
                    </a:lnTo>
                    <a:lnTo>
                      <a:pt x="12" y="87"/>
                    </a:lnTo>
                    <a:lnTo>
                      <a:pt x="19" y="93"/>
                    </a:lnTo>
                    <a:lnTo>
                      <a:pt x="26" y="98"/>
                    </a:lnTo>
                    <a:lnTo>
                      <a:pt x="34" y="102"/>
                    </a:lnTo>
                    <a:lnTo>
                      <a:pt x="42" y="105"/>
                    </a:lnTo>
                    <a:lnTo>
                      <a:pt x="42" y="10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BF0E11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00" name="Freeform 126"/>
              <p:cNvSpPr>
                <a:spLocks/>
              </p:cNvSpPr>
              <p:nvPr/>
            </p:nvSpPr>
            <p:spPr bwMode="auto">
              <a:xfrm>
                <a:off x="6484382" y="1927001"/>
                <a:ext cx="82028" cy="43914"/>
              </a:xfrm>
              <a:custGeom>
                <a:avLst/>
                <a:gdLst>
                  <a:gd name="T0" fmla="*/ 105 w 198"/>
                  <a:gd name="T1" fmla="*/ 67 h 107"/>
                  <a:gd name="T2" fmla="*/ 198 w 198"/>
                  <a:gd name="T3" fmla="*/ 67 h 107"/>
                  <a:gd name="T4" fmla="*/ 198 w 198"/>
                  <a:gd name="T5" fmla="*/ 44 h 107"/>
                  <a:gd name="T6" fmla="*/ 105 w 198"/>
                  <a:gd name="T7" fmla="*/ 44 h 107"/>
                  <a:gd name="T8" fmla="*/ 105 w 198"/>
                  <a:gd name="T9" fmla="*/ 44 h 107"/>
                  <a:gd name="T10" fmla="*/ 104 w 198"/>
                  <a:gd name="T11" fmla="*/ 34 h 107"/>
                  <a:gd name="T12" fmla="*/ 100 w 198"/>
                  <a:gd name="T13" fmla="*/ 26 h 107"/>
                  <a:gd name="T14" fmla="*/ 94 w 198"/>
                  <a:gd name="T15" fmla="*/ 19 h 107"/>
                  <a:gd name="T16" fmla="*/ 88 w 198"/>
                  <a:gd name="T17" fmla="*/ 13 h 107"/>
                  <a:gd name="T18" fmla="*/ 81 w 198"/>
                  <a:gd name="T19" fmla="*/ 9 h 107"/>
                  <a:gd name="T20" fmla="*/ 71 w 198"/>
                  <a:gd name="T21" fmla="*/ 5 h 107"/>
                  <a:gd name="T22" fmla="*/ 63 w 198"/>
                  <a:gd name="T23" fmla="*/ 2 h 107"/>
                  <a:gd name="T24" fmla="*/ 54 w 198"/>
                  <a:gd name="T25" fmla="*/ 0 h 107"/>
                  <a:gd name="T26" fmla="*/ 54 w 198"/>
                  <a:gd name="T27" fmla="*/ 0 h 107"/>
                  <a:gd name="T28" fmla="*/ 43 w 198"/>
                  <a:gd name="T29" fmla="*/ 2 h 107"/>
                  <a:gd name="T30" fmla="*/ 34 w 198"/>
                  <a:gd name="T31" fmla="*/ 5 h 107"/>
                  <a:gd name="T32" fmla="*/ 24 w 198"/>
                  <a:gd name="T33" fmla="*/ 10 h 107"/>
                  <a:gd name="T34" fmla="*/ 16 w 198"/>
                  <a:gd name="T35" fmla="*/ 17 h 107"/>
                  <a:gd name="T36" fmla="*/ 9 w 198"/>
                  <a:gd name="T37" fmla="*/ 25 h 107"/>
                  <a:gd name="T38" fmla="*/ 5 w 198"/>
                  <a:gd name="T39" fmla="*/ 33 h 107"/>
                  <a:gd name="T40" fmla="*/ 1 w 198"/>
                  <a:gd name="T41" fmla="*/ 44 h 107"/>
                  <a:gd name="T42" fmla="*/ 0 w 198"/>
                  <a:gd name="T43" fmla="*/ 54 h 107"/>
                  <a:gd name="T44" fmla="*/ 0 w 198"/>
                  <a:gd name="T45" fmla="*/ 54 h 107"/>
                  <a:gd name="T46" fmla="*/ 1 w 198"/>
                  <a:gd name="T47" fmla="*/ 65 h 107"/>
                  <a:gd name="T48" fmla="*/ 5 w 198"/>
                  <a:gd name="T49" fmla="*/ 75 h 107"/>
                  <a:gd name="T50" fmla="*/ 9 w 198"/>
                  <a:gd name="T51" fmla="*/ 84 h 107"/>
                  <a:gd name="T52" fmla="*/ 16 w 198"/>
                  <a:gd name="T53" fmla="*/ 92 h 107"/>
                  <a:gd name="T54" fmla="*/ 24 w 198"/>
                  <a:gd name="T55" fmla="*/ 98 h 107"/>
                  <a:gd name="T56" fmla="*/ 34 w 198"/>
                  <a:gd name="T57" fmla="*/ 103 h 107"/>
                  <a:gd name="T58" fmla="*/ 43 w 198"/>
                  <a:gd name="T59" fmla="*/ 106 h 107"/>
                  <a:gd name="T60" fmla="*/ 54 w 198"/>
                  <a:gd name="T61" fmla="*/ 107 h 107"/>
                  <a:gd name="T62" fmla="*/ 54 w 198"/>
                  <a:gd name="T63" fmla="*/ 107 h 107"/>
                  <a:gd name="T64" fmla="*/ 63 w 198"/>
                  <a:gd name="T65" fmla="*/ 107 h 107"/>
                  <a:gd name="T66" fmla="*/ 71 w 198"/>
                  <a:gd name="T67" fmla="*/ 104 h 107"/>
                  <a:gd name="T68" fmla="*/ 80 w 198"/>
                  <a:gd name="T69" fmla="*/ 100 h 107"/>
                  <a:gd name="T70" fmla="*/ 86 w 198"/>
                  <a:gd name="T71" fmla="*/ 96 h 107"/>
                  <a:gd name="T72" fmla="*/ 93 w 198"/>
                  <a:gd name="T73" fmla="*/ 89 h 107"/>
                  <a:gd name="T74" fmla="*/ 98 w 198"/>
                  <a:gd name="T75" fmla="*/ 83 h 107"/>
                  <a:gd name="T76" fmla="*/ 102 w 198"/>
                  <a:gd name="T77" fmla="*/ 76 h 107"/>
                  <a:gd name="T78" fmla="*/ 105 w 198"/>
                  <a:gd name="T79" fmla="*/ 67 h 107"/>
                  <a:gd name="T80" fmla="*/ 105 w 198"/>
                  <a:gd name="T81" fmla="*/ 6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98" h="107">
                    <a:moveTo>
                      <a:pt x="105" y="67"/>
                    </a:moveTo>
                    <a:lnTo>
                      <a:pt x="198" y="67"/>
                    </a:lnTo>
                    <a:lnTo>
                      <a:pt x="198" y="44"/>
                    </a:lnTo>
                    <a:lnTo>
                      <a:pt x="105" y="44"/>
                    </a:lnTo>
                    <a:lnTo>
                      <a:pt x="105" y="44"/>
                    </a:lnTo>
                    <a:lnTo>
                      <a:pt x="104" y="34"/>
                    </a:lnTo>
                    <a:lnTo>
                      <a:pt x="100" y="26"/>
                    </a:lnTo>
                    <a:lnTo>
                      <a:pt x="94" y="19"/>
                    </a:lnTo>
                    <a:lnTo>
                      <a:pt x="88" y="13"/>
                    </a:lnTo>
                    <a:lnTo>
                      <a:pt x="81" y="9"/>
                    </a:lnTo>
                    <a:lnTo>
                      <a:pt x="71" y="5"/>
                    </a:lnTo>
                    <a:lnTo>
                      <a:pt x="63" y="2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43" y="2"/>
                    </a:lnTo>
                    <a:lnTo>
                      <a:pt x="34" y="5"/>
                    </a:lnTo>
                    <a:lnTo>
                      <a:pt x="24" y="10"/>
                    </a:lnTo>
                    <a:lnTo>
                      <a:pt x="16" y="17"/>
                    </a:lnTo>
                    <a:lnTo>
                      <a:pt x="9" y="25"/>
                    </a:lnTo>
                    <a:lnTo>
                      <a:pt x="5" y="33"/>
                    </a:lnTo>
                    <a:lnTo>
                      <a:pt x="1" y="44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1" y="65"/>
                    </a:lnTo>
                    <a:lnTo>
                      <a:pt x="5" y="75"/>
                    </a:lnTo>
                    <a:lnTo>
                      <a:pt x="9" y="84"/>
                    </a:lnTo>
                    <a:lnTo>
                      <a:pt x="16" y="92"/>
                    </a:lnTo>
                    <a:lnTo>
                      <a:pt x="24" y="98"/>
                    </a:lnTo>
                    <a:lnTo>
                      <a:pt x="34" y="103"/>
                    </a:lnTo>
                    <a:lnTo>
                      <a:pt x="43" y="106"/>
                    </a:lnTo>
                    <a:lnTo>
                      <a:pt x="54" y="107"/>
                    </a:lnTo>
                    <a:lnTo>
                      <a:pt x="54" y="107"/>
                    </a:lnTo>
                    <a:lnTo>
                      <a:pt x="63" y="107"/>
                    </a:lnTo>
                    <a:lnTo>
                      <a:pt x="71" y="104"/>
                    </a:lnTo>
                    <a:lnTo>
                      <a:pt x="80" y="100"/>
                    </a:lnTo>
                    <a:lnTo>
                      <a:pt x="86" y="96"/>
                    </a:lnTo>
                    <a:lnTo>
                      <a:pt x="93" y="89"/>
                    </a:lnTo>
                    <a:lnTo>
                      <a:pt x="98" y="83"/>
                    </a:lnTo>
                    <a:lnTo>
                      <a:pt x="102" y="76"/>
                    </a:lnTo>
                    <a:lnTo>
                      <a:pt x="105" y="67"/>
                    </a:lnTo>
                    <a:lnTo>
                      <a:pt x="105" y="6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BF0E11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01" name="Freeform 127"/>
              <p:cNvSpPr>
                <a:spLocks/>
              </p:cNvSpPr>
              <p:nvPr/>
            </p:nvSpPr>
            <p:spPr bwMode="auto">
              <a:xfrm>
                <a:off x="6674123" y="1844145"/>
                <a:ext cx="54686" cy="55514"/>
              </a:xfrm>
              <a:custGeom>
                <a:avLst/>
                <a:gdLst>
                  <a:gd name="T0" fmla="*/ 16 w 132"/>
                  <a:gd name="T1" fmla="*/ 135 h 135"/>
                  <a:gd name="T2" fmla="*/ 51 w 132"/>
                  <a:gd name="T3" fmla="*/ 100 h 135"/>
                  <a:gd name="T4" fmla="*/ 51 w 132"/>
                  <a:gd name="T5" fmla="*/ 100 h 135"/>
                  <a:gd name="T6" fmla="*/ 59 w 132"/>
                  <a:gd name="T7" fmla="*/ 102 h 135"/>
                  <a:gd name="T8" fmla="*/ 68 w 132"/>
                  <a:gd name="T9" fmla="*/ 105 h 135"/>
                  <a:gd name="T10" fmla="*/ 77 w 132"/>
                  <a:gd name="T11" fmla="*/ 106 h 135"/>
                  <a:gd name="T12" fmla="*/ 85 w 132"/>
                  <a:gd name="T13" fmla="*/ 106 h 135"/>
                  <a:gd name="T14" fmla="*/ 93 w 132"/>
                  <a:gd name="T15" fmla="*/ 105 h 135"/>
                  <a:gd name="T16" fmla="*/ 101 w 132"/>
                  <a:gd name="T17" fmla="*/ 101 h 135"/>
                  <a:gd name="T18" fmla="*/ 109 w 132"/>
                  <a:gd name="T19" fmla="*/ 97 h 135"/>
                  <a:gd name="T20" fmla="*/ 116 w 132"/>
                  <a:gd name="T21" fmla="*/ 92 h 135"/>
                  <a:gd name="T22" fmla="*/ 116 w 132"/>
                  <a:gd name="T23" fmla="*/ 92 h 135"/>
                  <a:gd name="T24" fmla="*/ 123 w 132"/>
                  <a:gd name="T25" fmla="*/ 82 h 135"/>
                  <a:gd name="T26" fmla="*/ 128 w 132"/>
                  <a:gd name="T27" fmla="*/ 74 h 135"/>
                  <a:gd name="T28" fmla="*/ 131 w 132"/>
                  <a:gd name="T29" fmla="*/ 63 h 135"/>
                  <a:gd name="T30" fmla="*/ 132 w 132"/>
                  <a:gd name="T31" fmla="*/ 54 h 135"/>
                  <a:gd name="T32" fmla="*/ 131 w 132"/>
                  <a:gd name="T33" fmla="*/ 43 h 135"/>
                  <a:gd name="T34" fmla="*/ 128 w 132"/>
                  <a:gd name="T35" fmla="*/ 34 h 135"/>
                  <a:gd name="T36" fmla="*/ 123 w 132"/>
                  <a:gd name="T37" fmla="*/ 24 h 135"/>
                  <a:gd name="T38" fmla="*/ 116 w 132"/>
                  <a:gd name="T39" fmla="*/ 16 h 135"/>
                  <a:gd name="T40" fmla="*/ 116 w 132"/>
                  <a:gd name="T41" fmla="*/ 16 h 135"/>
                  <a:gd name="T42" fmla="*/ 108 w 132"/>
                  <a:gd name="T43" fmla="*/ 9 h 135"/>
                  <a:gd name="T44" fmla="*/ 99 w 132"/>
                  <a:gd name="T45" fmla="*/ 4 h 135"/>
                  <a:gd name="T46" fmla="*/ 89 w 132"/>
                  <a:gd name="T47" fmla="*/ 1 h 135"/>
                  <a:gd name="T48" fmla="*/ 78 w 132"/>
                  <a:gd name="T49" fmla="*/ 0 h 135"/>
                  <a:gd name="T50" fmla="*/ 69 w 132"/>
                  <a:gd name="T51" fmla="*/ 1 h 135"/>
                  <a:gd name="T52" fmla="*/ 58 w 132"/>
                  <a:gd name="T53" fmla="*/ 4 h 135"/>
                  <a:gd name="T54" fmla="*/ 50 w 132"/>
                  <a:gd name="T55" fmla="*/ 9 h 135"/>
                  <a:gd name="T56" fmla="*/ 41 w 132"/>
                  <a:gd name="T57" fmla="*/ 16 h 135"/>
                  <a:gd name="T58" fmla="*/ 41 w 132"/>
                  <a:gd name="T59" fmla="*/ 16 h 135"/>
                  <a:gd name="T60" fmla="*/ 35 w 132"/>
                  <a:gd name="T61" fmla="*/ 23 h 135"/>
                  <a:gd name="T62" fmla="*/ 31 w 132"/>
                  <a:gd name="T63" fmla="*/ 31 h 135"/>
                  <a:gd name="T64" fmla="*/ 27 w 132"/>
                  <a:gd name="T65" fmla="*/ 39 h 135"/>
                  <a:gd name="T66" fmla="*/ 26 w 132"/>
                  <a:gd name="T67" fmla="*/ 48 h 135"/>
                  <a:gd name="T68" fmla="*/ 26 w 132"/>
                  <a:gd name="T69" fmla="*/ 58 h 135"/>
                  <a:gd name="T70" fmla="*/ 27 w 132"/>
                  <a:gd name="T71" fmla="*/ 66 h 135"/>
                  <a:gd name="T72" fmla="*/ 30 w 132"/>
                  <a:gd name="T73" fmla="*/ 75 h 135"/>
                  <a:gd name="T74" fmla="*/ 35 w 132"/>
                  <a:gd name="T75" fmla="*/ 84 h 135"/>
                  <a:gd name="T76" fmla="*/ 0 w 132"/>
                  <a:gd name="T77" fmla="*/ 117 h 135"/>
                  <a:gd name="T78" fmla="*/ 0 w 132"/>
                  <a:gd name="T79" fmla="*/ 117 h 135"/>
                  <a:gd name="T80" fmla="*/ 6 w 132"/>
                  <a:gd name="T81" fmla="*/ 120 h 135"/>
                  <a:gd name="T82" fmla="*/ 10 w 132"/>
                  <a:gd name="T83" fmla="*/ 124 h 135"/>
                  <a:gd name="T84" fmla="*/ 14 w 132"/>
                  <a:gd name="T85" fmla="*/ 129 h 135"/>
                  <a:gd name="T86" fmla="*/ 16 w 132"/>
                  <a:gd name="T87" fmla="*/ 135 h 135"/>
                  <a:gd name="T88" fmla="*/ 16 w 132"/>
                  <a:gd name="T89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32" h="135">
                    <a:moveTo>
                      <a:pt x="16" y="135"/>
                    </a:moveTo>
                    <a:lnTo>
                      <a:pt x="51" y="100"/>
                    </a:lnTo>
                    <a:lnTo>
                      <a:pt x="51" y="100"/>
                    </a:lnTo>
                    <a:lnTo>
                      <a:pt x="59" y="102"/>
                    </a:lnTo>
                    <a:lnTo>
                      <a:pt x="68" y="105"/>
                    </a:lnTo>
                    <a:lnTo>
                      <a:pt x="77" y="106"/>
                    </a:lnTo>
                    <a:lnTo>
                      <a:pt x="85" y="106"/>
                    </a:lnTo>
                    <a:lnTo>
                      <a:pt x="93" y="105"/>
                    </a:lnTo>
                    <a:lnTo>
                      <a:pt x="101" y="101"/>
                    </a:lnTo>
                    <a:lnTo>
                      <a:pt x="109" y="97"/>
                    </a:lnTo>
                    <a:lnTo>
                      <a:pt x="116" y="92"/>
                    </a:lnTo>
                    <a:lnTo>
                      <a:pt x="116" y="92"/>
                    </a:lnTo>
                    <a:lnTo>
                      <a:pt x="123" y="82"/>
                    </a:lnTo>
                    <a:lnTo>
                      <a:pt x="128" y="74"/>
                    </a:lnTo>
                    <a:lnTo>
                      <a:pt x="131" y="63"/>
                    </a:lnTo>
                    <a:lnTo>
                      <a:pt x="132" y="54"/>
                    </a:lnTo>
                    <a:lnTo>
                      <a:pt x="131" y="43"/>
                    </a:lnTo>
                    <a:lnTo>
                      <a:pt x="128" y="34"/>
                    </a:lnTo>
                    <a:lnTo>
                      <a:pt x="123" y="24"/>
                    </a:lnTo>
                    <a:lnTo>
                      <a:pt x="116" y="16"/>
                    </a:lnTo>
                    <a:lnTo>
                      <a:pt x="116" y="16"/>
                    </a:lnTo>
                    <a:lnTo>
                      <a:pt x="108" y="9"/>
                    </a:lnTo>
                    <a:lnTo>
                      <a:pt x="99" y="4"/>
                    </a:lnTo>
                    <a:lnTo>
                      <a:pt x="89" y="1"/>
                    </a:lnTo>
                    <a:lnTo>
                      <a:pt x="78" y="0"/>
                    </a:lnTo>
                    <a:lnTo>
                      <a:pt x="69" y="1"/>
                    </a:lnTo>
                    <a:lnTo>
                      <a:pt x="58" y="4"/>
                    </a:lnTo>
                    <a:lnTo>
                      <a:pt x="50" y="9"/>
                    </a:lnTo>
                    <a:lnTo>
                      <a:pt x="41" y="16"/>
                    </a:lnTo>
                    <a:lnTo>
                      <a:pt x="41" y="16"/>
                    </a:lnTo>
                    <a:lnTo>
                      <a:pt x="35" y="23"/>
                    </a:lnTo>
                    <a:lnTo>
                      <a:pt x="31" y="31"/>
                    </a:lnTo>
                    <a:lnTo>
                      <a:pt x="27" y="39"/>
                    </a:lnTo>
                    <a:lnTo>
                      <a:pt x="26" y="48"/>
                    </a:lnTo>
                    <a:lnTo>
                      <a:pt x="26" y="58"/>
                    </a:lnTo>
                    <a:lnTo>
                      <a:pt x="27" y="66"/>
                    </a:lnTo>
                    <a:lnTo>
                      <a:pt x="30" y="75"/>
                    </a:lnTo>
                    <a:lnTo>
                      <a:pt x="35" y="84"/>
                    </a:lnTo>
                    <a:lnTo>
                      <a:pt x="0" y="117"/>
                    </a:lnTo>
                    <a:lnTo>
                      <a:pt x="0" y="117"/>
                    </a:lnTo>
                    <a:lnTo>
                      <a:pt x="6" y="120"/>
                    </a:lnTo>
                    <a:lnTo>
                      <a:pt x="10" y="124"/>
                    </a:lnTo>
                    <a:lnTo>
                      <a:pt x="14" y="129"/>
                    </a:lnTo>
                    <a:lnTo>
                      <a:pt x="16" y="135"/>
                    </a:lnTo>
                    <a:lnTo>
                      <a:pt x="16" y="1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BF0E11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02" name="Freeform 128"/>
              <p:cNvSpPr>
                <a:spLocks/>
              </p:cNvSpPr>
              <p:nvPr/>
            </p:nvSpPr>
            <p:spPr bwMode="auto">
              <a:xfrm>
                <a:off x="6519182" y="1999086"/>
                <a:ext cx="55514" cy="54686"/>
              </a:xfrm>
              <a:custGeom>
                <a:avLst/>
                <a:gdLst>
                  <a:gd name="T0" fmla="*/ 117 w 133"/>
                  <a:gd name="T1" fmla="*/ 0 h 133"/>
                  <a:gd name="T2" fmla="*/ 82 w 133"/>
                  <a:gd name="T3" fmla="*/ 35 h 133"/>
                  <a:gd name="T4" fmla="*/ 82 w 133"/>
                  <a:gd name="T5" fmla="*/ 35 h 133"/>
                  <a:gd name="T6" fmla="*/ 74 w 133"/>
                  <a:gd name="T7" fmla="*/ 31 h 133"/>
                  <a:gd name="T8" fmla="*/ 66 w 133"/>
                  <a:gd name="T9" fmla="*/ 29 h 133"/>
                  <a:gd name="T10" fmla="*/ 56 w 133"/>
                  <a:gd name="T11" fmla="*/ 27 h 133"/>
                  <a:gd name="T12" fmla="*/ 47 w 133"/>
                  <a:gd name="T13" fmla="*/ 27 h 133"/>
                  <a:gd name="T14" fmla="*/ 39 w 133"/>
                  <a:gd name="T15" fmla="*/ 29 h 133"/>
                  <a:gd name="T16" fmla="*/ 31 w 133"/>
                  <a:gd name="T17" fmla="*/ 31 h 133"/>
                  <a:gd name="T18" fmla="*/ 23 w 133"/>
                  <a:gd name="T19" fmla="*/ 35 h 133"/>
                  <a:gd name="T20" fmla="*/ 14 w 133"/>
                  <a:gd name="T21" fmla="*/ 42 h 133"/>
                  <a:gd name="T22" fmla="*/ 14 w 133"/>
                  <a:gd name="T23" fmla="*/ 42 h 133"/>
                  <a:gd name="T24" fmla="*/ 8 w 133"/>
                  <a:gd name="T25" fmla="*/ 50 h 133"/>
                  <a:gd name="T26" fmla="*/ 4 w 133"/>
                  <a:gd name="T27" fmla="*/ 60 h 133"/>
                  <a:gd name="T28" fmla="*/ 1 w 133"/>
                  <a:gd name="T29" fmla="*/ 69 h 133"/>
                  <a:gd name="T30" fmla="*/ 0 w 133"/>
                  <a:gd name="T31" fmla="*/ 80 h 133"/>
                  <a:gd name="T32" fmla="*/ 1 w 133"/>
                  <a:gd name="T33" fmla="*/ 89 h 133"/>
                  <a:gd name="T34" fmla="*/ 4 w 133"/>
                  <a:gd name="T35" fmla="*/ 100 h 133"/>
                  <a:gd name="T36" fmla="*/ 8 w 133"/>
                  <a:gd name="T37" fmla="*/ 110 h 133"/>
                  <a:gd name="T38" fmla="*/ 14 w 133"/>
                  <a:gd name="T39" fmla="*/ 118 h 133"/>
                  <a:gd name="T40" fmla="*/ 14 w 133"/>
                  <a:gd name="T41" fmla="*/ 118 h 133"/>
                  <a:gd name="T42" fmla="*/ 24 w 133"/>
                  <a:gd name="T43" fmla="*/ 124 h 133"/>
                  <a:gd name="T44" fmla="*/ 32 w 133"/>
                  <a:gd name="T45" fmla="*/ 129 h 133"/>
                  <a:gd name="T46" fmla="*/ 43 w 133"/>
                  <a:gd name="T47" fmla="*/ 133 h 133"/>
                  <a:gd name="T48" fmla="*/ 52 w 133"/>
                  <a:gd name="T49" fmla="*/ 133 h 133"/>
                  <a:gd name="T50" fmla="*/ 63 w 133"/>
                  <a:gd name="T51" fmla="*/ 133 h 133"/>
                  <a:gd name="T52" fmla="*/ 72 w 133"/>
                  <a:gd name="T53" fmla="*/ 129 h 133"/>
                  <a:gd name="T54" fmla="*/ 82 w 133"/>
                  <a:gd name="T55" fmla="*/ 124 h 133"/>
                  <a:gd name="T56" fmla="*/ 90 w 133"/>
                  <a:gd name="T57" fmla="*/ 118 h 133"/>
                  <a:gd name="T58" fmla="*/ 90 w 133"/>
                  <a:gd name="T59" fmla="*/ 118 h 133"/>
                  <a:gd name="T60" fmla="*/ 95 w 133"/>
                  <a:gd name="T61" fmla="*/ 111 h 133"/>
                  <a:gd name="T62" fmla="*/ 101 w 133"/>
                  <a:gd name="T63" fmla="*/ 103 h 133"/>
                  <a:gd name="T64" fmla="*/ 103 w 133"/>
                  <a:gd name="T65" fmla="*/ 95 h 133"/>
                  <a:gd name="T66" fmla="*/ 105 w 133"/>
                  <a:gd name="T67" fmla="*/ 85 h 133"/>
                  <a:gd name="T68" fmla="*/ 106 w 133"/>
                  <a:gd name="T69" fmla="*/ 77 h 133"/>
                  <a:gd name="T70" fmla="*/ 105 w 133"/>
                  <a:gd name="T71" fmla="*/ 69 h 133"/>
                  <a:gd name="T72" fmla="*/ 102 w 133"/>
                  <a:gd name="T73" fmla="*/ 61 h 133"/>
                  <a:gd name="T74" fmla="*/ 98 w 133"/>
                  <a:gd name="T75" fmla="*/ 53 h 133"/>
                  <a:gd name="T76" fmla="*/ 133 w 133"/>
                  <a:gd name="T77" fmla="*/ 17 h 133"/>
                  <a:gd name="T78" fmla="*/ 133 w 133"/>
                  <a:gd name="T79" fmla="*/ 17 h 133"/>
                  <a:gd name="T80" fmla="*/ 128 w 133"/>
                  <a:gd name="T81" fmla="*/ 15 h 133"/>
                  <a:gd name="T82" fmla="*/ 124 w 133"/>
                  <a:gd name="T83" fmla="*/ 11 h 133"/>
                  <a:gd name="T84" fmla="*/ 120 w 133"/>
                  <a:gd name="T85" fmla="*/ 6 h 133"/>
                  <a:gd name="T86" fmla="*/ 117 w 133"/>
                  <a:gd name="T87" fmla="*/ 0 h 133"/>
                  <a:gd name="T88" fmla="*/ 117 w 133"/>
                  <a:gd name="T89" fmla="*/ 0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33" h="133">
                    <a:moveTo>
                      <a:pt x="117" y="0"/>
                    </a:moveTo>
                    <a:lnTo>
                      <a:pt x="82" y="35"/>
                    </a:lnTo>
                    <a:lnTo>
                      <a:pt x="82" y="35"/>
                    </a:lnTo>
                    <a:lnTo>
                      <a:pt x="74" y="31"/>
                    </a:lnTo>
                    <a:lnTo>
                      <a:pt x="66" y="29"/>
                    </a:lnTo>
                    <a:lnTo>
                      <a:pt x="56" y="27"/>
                    </a:lnTo>
                    <a:lnTo>
                      <a:pt x="47" y="27"/>
                    </a:lnTo>
                    <a:lnTo>
                      <a:pt x="39" y="29"/>
                    </a:lnTo>
                    <a:lnTo>
                      <a:pt x="31" y="31"/>
                    </a:lnTo>
                    <a:lnTo>
                      <a:pt x="23" y="35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8" y="50"/>
                    </a:lnTo>
                    <a:lnTo>
                      <a:pt x="4" y="60"/>
                    </a:lnTo>
                    <a:lnTo>
                      <a:pt x="1" y="69"/>
                    </a:lnTo>
                    <a:lnTo>
                      <a:pt x="0" y="80"/>
                    </a:lnTo>
                    <a:lnTo>
                      <a:pt x="1" y="89"/>
                    </a:lnTo>
                    <a:lnTo>
                      <a:pt x="4" y="100"/>
                    </a:lnTo>
                    <a:lnTo>
                      <a:pt x="8" y="110"/>
                    </a:lnTo>
                    <a:lnTo>
                      <a:pt x="14" y="118"/>
                    </a:lnTo>
                    <a:lnTo>
                      <a:pt x="14" y="118"/>
                    </a:lnTo>
                    <a:lnTo>
                      <a:pt x="24" y="124"/>
                    </a:lnTo>
                    <a:lnTo>
                      <a:pt x="32" y="129"/>
                    </a:lnTo>
                    <a:lnTo>
                      <a:pt x="43" y="133"/>
                    </a:lnTo>
                    <a:lnTo>
                      <a:pt x="52" y="133"/>
                    </a:lnTo>
                    <a:lnTo>
                      <a:pt x="63" y="133"/>
                    </a:lnTo>
                    <a:lnTo>
                      <a:pt x="72" y="129"/>
                    </a:lnTo>
                    <a:lnTo>
                      <a:pt x="82" y="124"/>
                    </a:lnTo>
                    <a:lnTo>
                      <a:pt x="90" y="118"/>
                    </a:lnTo>
                    <a:lnTo>
                      <a:pt x="90" y="118"/>
                    </a:lnTo>
                    <a:lnTo>
                      <a:pt x="95" y="111"/>
                    </a:lnTo>
                    <a:lnTo>
                      <a:pt x="101" y="103"/>
                    </a:lnTo>
                    <a:lnTo>
                      <a:pt x="103" y="95"/>
                    </a:lnTo>
                    <a:lnTo>
                      <a:pt x="105" y="85"/>
                    </a:lnTo>
                    <a:lnTo>
                      <a:pt x="106" y="77"/>
                    </a:lnTo>
                    <a:lnTo>
                      <a:pt x="105" y="69"/>
                    </a:lnTo>
                    <a:lnTo>
                      <a:pt x="102" y="61"/>
                    </a:lnTo>
                    <a:lnTo>
                      <a:pt x="98" y="53"/>
                    </a:lnTo>
                    <a:lnTo>
                      <a:pt x="133" y="17"/>
                    </a:lnTo>
                    <a:lnTo>
                      <a:pt x="133" y="17"/>
                    </a:lnTo>
                    <a:lnTo>
                      <a:pt x="128" y="15"/>
                    </a:lnTo>
                    <a:lnTo>
                      <a:pt x="124" y="11"/>
                    </a:lnTo>
                    <a:lnTo>
                      <a:pt x="120" y="6"/>
                    </a:lnTo>
                    <a:lnTo>
                      <a:pt x="117" y="0"/>
                    </a:lnTo>
                    <a:lnTo>
                      <a:pt x="11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BF0E11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03" name="Freeform 129"/>
              <p:cNvSpPr>
                <a:spLocks/>
              </p:cNvSpPr>
              <p:nvPr/>
            </p:nvSpPr>
            <p:spPr bwMode="auto">
              <a:xfrm>
                <a:off x="6680751" y="1927001"/>
                <a:ext cx="82028" cy="43914"/>
              </a:xfrm>
              <a:custGeom>
                <a:avLst/>
                <a:gdLst>
                  <a:gd name="T0" fmla="*/ 146 w 199"/>
                  <a:gd name="T1" fmla="*/ 0 h 107"/>
                  <a:gd name="T2" fmla="*/ 146 w 199"/>
                  <a:gd name="T3" fmla="*/ 0 h 107"/>
                  <a:gd name="T4" fmla="*/ 136 w 199"/>
                  <a:gd name="T5" fmla="*/ 2 h 107"/>
                  <a:gd name="T6" fmla="*/ 127 w 199"/>
                  <a:gd name="T7" fmla="*/ 5 h 107"/>
                  <a:gd name="T8" fmla="*/ 119 w 199"/>
                  <a:gd name="T9" fmla="*/ 9 h 107"/>
                  <a:gd name="T10" fmla="*/ 112 w 199"/>
                  <a:gd name="T11" fmla="*/ 13 h 107"/>
                  <a:gd name="T12" fmla="*/ 105 w 199"/>
                  <a:gd name="T13" fmla="*/ 19 h 107"/>
                  <a:gd name="T14" fmla="*/ 100 w 199"/>
                  <a:gd name="T15" fmla="*/ 26 h 107"/>
                  <a:gd name="T16" fmla="*/ 96 w 199"/>
                  <a:gd name="T17" fmla="*/ 34 h 107"/>
                  <a:gd name="T18" fmla="*/ 93 w 199"/>
                  <a:gd name="T19" fmla="*/ 44 h 107"/>
                  <a:gd name="T20" fmla="*/ 0 w 199"/>
                  <a:gd name="T21" fmla="*/ 44 h 107"/>
                  <a:gd name="T22" fmla="*/ 0 w 199"/>
                  <a:gd name="T23" fmla="*/ 67 h 107"/>
                  <a:gd name="T24" fmla="*/ 93 w 199"/>
                  <a:gd name="T25" fmla="*/ 67 h 107"/>
                  <a:gd name="T26" fmla="*/ 93 w 199"/>
                  <a:gd name="T27" fmla="*/ 67 h 107"/>
                  <a:gd name="T28" fmla="*/ 97 w 199"/>
                  <a:gd name="T29" fmla="*/ 76 h 107"/>
                  <a:gd name="T30" fmla="*/ 101 w 199"/>
                  <a:gd name="T31" fmla="*/ 83 h 107"/>
                  <a:gd name="T32" fmla="*/ 107 w 199"/>
                  <a:gd name="T33" fmla="*/ 89 h 107"/>
                  <a:gd name="T34" fmla="*/ 112 w 199"/>
                  <a:gd name="T35" fmla="*/ 96 h 107"/>
                  <a:gd name="T36" fmla="*/ 120 w 199"/>
                  <a:gd name="T37" fmla="*/ 100 h 107"/>
                  <a:gd name="T38" fmla="*/ 128 w 199"/>
                  <a:gd name="T39" fmla="*/ 104 h 107"/>
                  <a:gd name="T40" fmla="*/ 136 w 199"/>
                  <a:gd name="T41" fmla="*/ 107 h 107"/>
                  <a:gd name="T42" fmla="*/ 146 w 199"/>
                  <a:gd name="T43" fmla="*/ 107 h 107"/>
                  <a:gd name="T44" fmla="*/ 146 w 199"/>
                  <a:gd name="T45" fmla="*/ 107 h 107"/>
                  <a:gd name="T46" fmla="*/ 157 w 199"/>
                  <a:gd name="T47" fmla="*/ 106 h 107"/>
                  <a:gd name="T48" fmla="*/ 166 w 199"/>
                  <a:gd name="T49" fmla="*/ 103 h 107"/>
                  <a:gd name="T50" fmla="*/ 176 w 199"/>
                  <a:gd name="T51" fmla="*/ 98 h 107"/>
                  <a:gd name="T52" fmla="*/ 182 w 199"/>
                  <a:gd name="T53" fmla="*/ 92 h 107"/>
                  <a:gd name="T54" fmla="*/ 189 w 199"/>
                  <a:gd name="T55" fmla="*/ 84 h 107"/>
                  <a:gd name="T56" fmla="*/ 194 w 199"/>
                  <a:gd name="T57" fmla="*/ 75 h 107"/>
                  <a:gd name="T58" fmla="*/ 197 w 199"/>
                  <a:gd name="T59" fmla="*/ 65 h 107"/>
                  <a:gd name="T60" fmla="*/ 199 w 199"/>
                  <a:gd name="T61" fmla="*/ 54 h 107"/>
                  <a:gd name="T62" fmla="*/ 199 w 199"/>
                  <a:gd name="T63" fmla="*/ 54 h 107"/>
                  <a:gd name="T64" fmla="*/ 197 w 199"/>
                  <a:gd name="T65" fmla="*/ 44 h 107"/>
                  <a:gd name="T66" fmla="*/ 194 w 199"/>
                  <a:gd name="T67" fmla="*/ 33 h 107"/>
                  <a:gd name="T68" fmla="*/ 189 w 199"/>
                  <a:gd name="T69" fmla="*/ 25 h 107"/>
                  <a:gd name="T70" fmla="*/ 182 w 199"/>
                  <a:gd name="T71" fmla="*/ 17 h 107"/>
                  <a:gd name="T72" fmla="*/ 176 w 199"/>
                  <a:gd name="T73" fmla="*/ 10 h 107"/>
                  <a:gd name="T74" fmla="*/ 166 w 199"/>
                  <a:gd name="T75" fmla="*/ 5 h 107"/>
                  <a:gd name="T76" fmla="*/ 157 w 199"/>
                  <a:gd name="T77" fmla="*/ 2 h 107"/>
                  <a:gd name="T78" fmla="*/ 146 w 199"/>
                  <a:gd name="T79" fmla="*/ 0 h 107"/>
                  <a:gd name="T80" fmla="*/ 146 w 199"/>
                  <a:gd name="T81" fmla="*/ 0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99" h="107">
                    <a:moveTo>
                      <a:pt x="146" y="0"/>
                    </a:moveTo>
                    <a:lnTo>
                      <a:pt x="146" y="0"/>
                    </a:lnTo>
                    <a:lnTo>
                      <a:pt x="136" y="2"/>
                    </a:lnTo>
                    <a:lnTo>
                      <a:pt x="127" y="5"/>
                    </a:lnTo>
                    <a:lnTo>
                      <a:pt x="119" y="9"/>
                    </a:lnTo>
                    <a:lnTo>
                      <a:pt x="112" y="13"/>
                    </a:lnTo>
                    <a:lnTo>
                      <a:pt x="105" y="19"/>
                    </a:lnTo>
                    <a:lnTo>
                      <a:pt x="100" y="26"/>
                    </a:lnTo>
                    <a:lnTo>
                      <a:pt x="96" y="34"/>
                    </a:lnTo>
                    <a:lnTo>
                      <a:pt x="93" y="44"/>
                    </a:lnTo>
                    <a:lnTo>
                      <a:pt x="0" y="44"/>
                    </a:lnTo>
                    <a:lnTo>
                      <a:pt x="0" y="67"/>
                    </a:lnTo>
                    <a:lnTo>
                      <a:pt x="93" y="67"/>
                    </a:lnTo>
                    <a:lnTo>
                      <a:pt x="93" y="67"/>
                    </a:lnTo>
                    <a:lnTo>
                      <a:pt x="97" y="76"/>
                    </a:lnTo>
                    <a:lnTo>
                      <a:pt x="101" y="83"/>
                    </a:lnTo>
                    <a:lnTo>
                      <a:pt x="107" y="89"/>
                    </a:lnTo>
                    <a:lnTo>
                      <a:pt x="112" y="96"/>
                    </a:lnTo>
                    <a:lnTo>
                      <a:pt x="120" y="100"/>
                    </a:lnTo>
                    <a:lnTo>
                      <a:pt x="128" y="104"/>
                    </a:lnTo>
                    <a:lnTo>
                      <a:pt x="136" y="107"/>
                    </a:lnTo>
                    <a:lnTo>
                      <a:pt x="146" y="107"/>
                    </a:lnTo>
                    <a:lnTo>
                      <a:pt x="146" y="107"/>
                    </a:lnTo>
                    <a:lnTo>
                      <a:pt x="157" y="106"/>
                    </a:lnTo>
                    <a:lnTo>
                      <a:pt x="166" y="103"/>
                    </a:lnTo>
                    <a:lnTo>
                      <a:pt x="176" y="98"/>
                    </a:lnTo>
                    <a:lnTo>
                      <a:pt x="182" y="92"/>
                    </a:lnTo>
                    <a:lnTo>
                      <a:pt x="189" y="84"/>
                    </a:lnTo>
                    <a:lnTo>
                      <a:pt x="194" y="75"/>
                    </a:lnTo>
                    <a:lnTo>
                      <a:pt x="197" y="65"/>
                    </a:lnTo>
                    <a:lnTo>
                      <a:pt x="199" y="54"/>
                    </a:lnTo>
                    <a:lnTo>
                      <a:pt x="199" y="54"/>
                    </a:lnTo>
                    <a:lnTo>
                      <a:pt x="197" y="44"/>
                    </a:lnTo>
                    <a:lnTo>
                      <a:pt x="194" y="33"/>
                    </a:lnTo>
                    <a:lnTo>
                      <a:pt x="189" y="25"/>
                    </a:lnTo>
                    <a:lnTo>
                      <a:pt x="182" y="17"/>
                    </a:lnTo>
                    <a:lnTo>
                      <a:pt x="176" y="10"/>
                    </a:lnTo>
                    <a:lnTo>
                      <a:pt x="166" y="5"/>
                    </a:lnTo>
                    <a:lnTo>
                      <a:pt x="157" y="2"/>
                    </a:lnTo>
                    <a:lnTo>
                      <a:pt x="146" y="0"/>
                    </a:lnTo>
                    <a:lnTo>
                      <a:pt x="14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BF0E11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04" name="Freeform 130"/>
              <p:cNvSpPr>
                <a:spLocks/>
              </p:cNvSpPr>
              <p:nvPr/>
            </p:nvSpPr>
            <p:spPr bwMode="auto">
              <a:xfrm>
                <a:off x="6672466" y="1999086"/>
                <a:ext cx="56342" cy="54686"/>
              </a:xfrm>
              <a:custGeom>
                <a:avLst/>
                <a:gdLst>
                  <a:gd name="T0" fmla="*/ 52 w 135"/>
                  <a:gd name="T1" fmla="*/ 35 h 133"/>
                  <a:gd name="T2" fmla="*/ 18 w 135"/>
                  <a:gd name="T3" fmla="*/ 0 h 133"/>
                  <a:gd name="T4" fmla="*/ 18 w 135"/>
                  <a:gd name="T5" fmla="*/ 0 h 133"/>
                  <a:gd name="T6" fmla="*/ 15 w 135"/>
                  <a:gd name="T7" fmla="*/ 6 h 133"/>
                  <a:gd name="T8" fmla="*/ 11 w 135"/>
                  <a:gd name="T9" fmla="*/ 11 h 133"/>
                  <a:gd name="T10" fmla="*/ 6 w 135"/>
                  <a:gd name="T11" fmla="*/ 15 h 133"/>
                  <a:gd name="T12" fmla="*/ 0 w 135"/>
                  <a:gd name="T13" fmla="*/ 17 h 133"/>
                  <a:gd name="T14" fmla="*/ 35 w 135"/>
                  <a:gd name="T15" fmla="*/ 53 h 133"/>
                  <a:gd name="T16" fmla="*/ 35 w 135"/>
                  <a:gd name="T17" fmla="*/ 53 h 133"/>
                  <a:gd name="T18" fmla="*/ 33 w 135"/>
                  <a:gd name="T19" fmla="*/ 61 h 133"/>
                  <a:gd name="T20" fmla="*/ 30 w 135"/>
                  <a:gd name="T21" fmla="*/ 69 h 133"/>
                  <a:gd name="T22" fmla="*/ 29 w 135"/>
                  <a:gd name="T23" fmla="*/ 77 h 133"/>
                  <a:gd name="T24" fmla="*/ 29 w 135"/>
                  <a:gd name="T25" fmla="*/ 85 h 133"/>
                  <a:gd name="T26" fmla="*/ 30 w 135"/>
                  <a:gd name="T27" fmla="*/ 95 h 133"/>
                  <a:gd name="T28" fmla="*/ 34 w 135"/>
                  <a:gd name="T29" fmla="*/ 103 h 133"/>
                  <a:gd name="T30" fmla="*/ 38 w 135"/>
                  <a:gd name="T31" fmla="*/ 111 h 133"/>
                  <a:gd name="T32" fmla="*/ 44 w 135"/>
                  <a:gd name="T33" fmla="*/ 118 h 133"/>
                  <a:gd name="T34" fmla="*/ 44 w 135"/>
                  <a:gd name="T35" fmla="*/ 118 h 133"/>
                  <a:gd name="T36" fmla="*/ 53 w 135"/>
                  <a:gd name="T37" fmla="*/ 124 h 133"/>
                  <a:gd name="T38" fmla="*/ 61 w 135"/>
                  <a:gd name="T39" fmla="*/ 129 h 133"/>
                  <a:gd name="T40" fmla="*/ 72 w 135"/>
                  <a:gd name="T41" fmla="*/ 133 h 133"/>
                  <a:gd name="T42" fmla="*/ 81 w 135"/>
                  <a:gd name="T43" fmla="*/ 133 h 133"/>
                  <a:gd name="T44" fmla="*/ 92 w 135"/>
                  <a:gd name="T45" fmla="*/ 133 h 133"/>
                  <a:gd name="T46" fmla="*/ 102 w 135"/>
                  <a:gd name="T47" fmla="*/ 129 h 133"/>
                  <a:gd name="T48" fmla="*/ 111 w 135"/>
                  <a:gd name="T49" fmla="*/ 124 h 133"/>
                  <a:gd name="T50" fmla="*/ 119 w 135"/>
                  <a:gd name="T51" fmla="*/ 118 h 133"/>
                  <a:gd name="T52" fmla="*/ 119 w 135"/>
                  <a:gd name="T53" fmla="*/ 118 h 133"/>
                  <a:gd name="T54" fmla="*/ 126 w 135"/>
                  <a:gd name="T55" fmla="*/ 110 h 133"/>
                  <a:gd name="T56" fmla="*/ 131 w 135"/>
                  <a:gd name="T57" fmla="*/ 100 h 133"/>
                  <a:gd name="T58" fmla="*/ 134 w 135"/>
                  <a:gd name="T59" fmla="*/ 89 h 133"/>
                  <a:gd name="T60" fmla="*/ 135 w 135"/>
                  <a:gd name="T61" fmla="*/ 80 h 133"/>
                  <a:gd name="T62" fmla="*/ 134 w 135"/>
                  <a:gd name="T63" fmla="*/ 69 h 133"/>
                  <a:gd name="T64" fmla="*/ 131 w 135"/>
                  <a:gd name="T65" fmla="*/ 60 h 133"/>
                  <a:gd name="T66" fmla="*/ 126 w 135"/>
                  <a:gd name="T67" fmla="*/ 50 h 133"/>
                  <a:gd name="T68" fmla="*/ 119 w 135"/>
                  <a:gd name="T69" fmla="*/ 42 h 133"/>
                  <a:gd name="T70" fmla="*/ 119 w 135"/>
                  <a:gd name="T71" fmla="*/ 42 h 133"/>
                  <a:gd name="T72" fmla="*/ 112 w 135"/>
                  <a:gd name="T73" fmla="*/ 35 h 133"/>
                  <a:gd name="T74" fmla="*/ 104 w 135"/>
                  <a:gd name="T75" fmla="*/ 31 h 133"/>
                  <a:gd name="T76" fmla="*/ 96 w 135"/>
                  <a:gd name="T77" fmla="*/ 29 h 133"/>
                  <a:gd name="T78" fmla="*/ 87 w 135"/>
                  <a:gd name="T79" fmla="*/ 27 h 133"/>
                  <a:gd name="T80" fmla="*/ 77 w 135"/>
                  <a:gd name="T81" fmla="*/ 27 h 133"/>
                  <a:gd name="T82" fmla="*/ 69 w 135"/>
                  <a:gd name="T83" fmla="*/ 29 h 133"/>
                  <a:gd name="T84" fmla="*/ 60 w 135"/>
                  <a:gd name="T85" fmla="*/ 31 h 133"/>
                  <a:gd name="T86" fmla="*/ 52 w 135"/>
                  <a:gd name="T87" fmla="*/ 35 h 133"/>
                  <a:gd name="T88" fmla="*/ 52 w 135"/>
                  <a:gd name="T89" fmla="*/ 35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35" h="133">
                    <a:moveTo>
                      <a:pt x="52" y="35"/>
                    </a:moveTo>
                    <a:lnTo>
                      <a:pt x="18" y="0"/>
                    </a:lnTo>
                    <a:lnTo>
                      <a:pt x="18" y="0"/>
                    </a:lnTo>
                    <a:lnTo>
                      <a:pt x="15" y="6"/>
                    </a:lnTo>
                    <a:lnTo>
                      <a:pt x="11" y="11"/>
                    </a:lnTo>
                    <a:lnTo>
                      <a:pt x="6" y="15"/>
                    </a:lnTo>
                    <a:lnTo>
                      <a:pt x="0" y="17"/>
                    </a:lnTo>
                    <a:lnTo>
                      <a:pt x="35" y="53"/>
                    </a:lnTo>
                    <a:lnTo>
                      <a:pt x="35" y="53"/>
                    </a:lnTo>
                    <a:lnTo>
                      <a:pt x="33" y="61"/>
                    </a:lnTo>
                    <a:lnTo>
                      <a:pt x="30" y="69"/>
                    </a:lnTo>
                    <a:lnTo>
                      <a:pt x="29" y="77"/>
                    </a:lnTo>
                    <a:lnTo>
                      <a:pt x="29" y="85"/>
                    </a:lnTo>
                    <a:lnTo>
                      <a:pt x="30" y="95"/>
                    </a:lnTo>
                    <a:lnTo>
                      <a:pt x="34" y="103"/>
                    </a:lnTo>
                    <a:lnTo>
                      <a:pt x="38" y="111"/>
                    </a:lnTo>
                    <a:lnTo>
                      <a:pt x="44" y="118"/>
                    </a:lnTo>
                    <a:lnTo>
                      <a:pt x="44" y="118"/>
                    </a:lnTo>
                    <a:lnTo>
                      <a:pt x="53" y="124"/>
                    </a:lnTo>
                    <a:lnTo>
                      <a:pt x="61" y="129"/>
                    </a:lnTo>
                    <a:lnTo>
                      <a:pt x="72" y="133"/>
                    </a:lnTo>
                    <a:lnTo>
                      <a:pt x="81" y="133"/>
                    </a:lnTo>
                    <a:lnTo>
                      <a:pt x="92" y="133"/>
                    </a:lnTo>
                    <a:lnTo>
                      <a:pt x="102" y="129"/>
                    </a:lnTo>
                    <a:lnTo>
                      <a:pt x="111" y="124"/>
                    </a:lnTo>
                    <a:lnTo>
                      <a:pt x="119" y="118"/>
                    </a:lnTo>
                    <a:lnTo>
                      <a:pt x="119" y="118"/>
                    </a:lnTo>
                    <a:lnTo>
                      <a:pt x="126" y="110"/>
                    </a:lnTo>
                    <a:lnTo>
                      <a:pt x="131" y="100"/>
                    </a:lnTo>
                    <a:lnTo>
                      <a:pt x="134" y="89"/>
                    </a:lnTo>
                    <a:lnTo>
                      <a:pt x="135" y="80"/>
                    </a:lnTo>
                    <a:lnTo>
                      <a:pt x="134" y="69"/>
                    </a:lnTo>
                    <a:lnTo>
                      <a:pt x="131" y="60"/>
                    </a:lnTo>
                    <a:lnTo>
                      <a:pt x="126" y="50"/>
                    </a:lnTo>
                    <a:lnTo>
                      <a:pt x="119" y="42"/>
                    </a:lnTo>
                    <a:lnTo>
                      <a:pt x="119" y="42"/>
                    </a:lnTo>
                    <a:lnTo>
                      <a:pt x="112" y="35"/>
                    </a:lnTo>
                    <a:lnTo>
                      <a:pt x="104" y="31"/>
                    </a:lnTo>
                    <a:lnTo>
                      <a:pt x="96" y="29"/>
                    </a:lnTo>
                    <a:lnTo>
                      <a:pt x="87" y="27"/>
                    </a:lnTo>
                    <a:lnTo>
                      <a:pt x="77" y="27"/>
                    </a:lnTo>
                    <a:lnTo>
                      <a:pt x="69" y="29"/>
                    </a:lnTo>
                    <a:lnTo>
                      <a:pt x="60" y="31"/>
                    </a:lnTo>
                    <a:lnTo>
                      <a:pt x="52" y="35"/>
                    </a:lnTo>
                    <a:lnTo>
                      <a:pt x="52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BF0E11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05" name="Freeform 131"/>
              <p:cNvSpPr>
                <a:spLocks/>
              </p:cNvSpPr>
              <p:nvPr/>
            </p:nvSpPr>
            <p:spPr bwMode="auto">
              <a:xfrm>
                <a:off x="6602038" y="2006543"/>
                <a:ext cx="43914" cy="82028"/>
              </a:xfrm>
              <a:custGeom>
                <a:avLst/>
                <a:gdLst>
                  <a:gd name="T0" fmla="*/ 66 w 107"/>
                  <a:gd name="T1" fmla="*/ 92 h 197"/>
                  <a:gd name="T2" fmla="*/ 66 w 107"/>
                  <a:gd name="T3" fmla="*/ 0 h 197"/>
                  <a:gd name="T4" fmla="*/ 42 w 107"/>
                  <a:gd name="T5" fmla="*/ 0 h 197"/>
                  <a:gd name="T6" fmla="*/ 42 w 107"/>
                  <a:gd name="T7" fmla="*/ 92 h 197"/>
                  <a:gd name="T8" fmla="*/ 42 w 107"/>
                  <a:gd name="T9" fmla="*/ 92 h 197"/>
                  <a:gd name="T10" fmla="*/ 34 w 107"/>
                  <a:gd name="T11" fmla="*/ 93 h 197"/>
                  <a:gd name="T12" fmla="*/ 26 w 107"/>
                  <a:gd name="T13" fmla="*/ 97 h 197"/>
                  <a:gd name="T14" fmla="*/ 19 w 107"/>
                  <a:gd name="T15" fmla="*/ 103 h 197"/>
                  <a:gd name="T16" fmla="*/ 12 w 107"/>
                  <a:gd name="T17" fmla="*/ 110 h 197"/>
                  <a:gd name="T18" fmla="*/ 7 w 107"/>
                  <a:gd name="T19" fmla="*/ 118 h 197"/>
                  <a:gd name="T20" fmla="*/ 3 w 107"/>
                  <a:gd name="T21" fmla="*/ 126 h 197"/>
                  <a:gd name="T22" fmla="*/ 0 w 107"/>
                  <a:gd name="T23" fmla="*/ 134 h 197"/>
                  <a:gd name="T24" fmla="*/ 0 w 107"/>
                  <a:gd name="T25" fmla="*/ 143 h 197"/>
                  <a:gd name="T26" fmla="*/ 0 w 107"/>
                  <a:gd name="T27" fmla="*/ 143 h 197"/>
                  <a:gd name="T28" fmla="*/ 2 w 107"/>
                  <a:gd name="T29" fmla="*/ 154 h 197"/>
                  <a:gd name="T30" fmla="*/ 4 w 107"/>
                  <a:gd name="T31" fmla="*/ 165 h 197"/>
                  <a:gd name="T32" fmla="*/ 10 w 107"/>
                  <a:gd name="T33" fmla="*/ 173 h 197"/>
                  <a:gd name="T34" fmla="*/ 15 w 107"/>
                  <a:gd name="T35" fmla="*/ 181 h 197"/>
                  <a:gd name="T36" fmla="*/ 23 w 107"/>
                  <a:gd name="T37" fmla="*/ 188 h 197"/>
                  <a:gd name="T38" fmla="*/ 33 w 107"/>
                  <a:gd name="T39" fmla="*/ 192 h 197"/>
                  <a:gd name="T40" fmla="*/ 42 w 107"/>
                  <a:gd name="T41" fmla="*/ 196 h 197"/>
                  <a:gd name="T42" fmla="*/ 53 w 107"/>
                  <a:gd name="T43" fmla="*/ 197 h 197"/>
                  <a:gd name="T44" fmla="*/ 53 w 107"/>
                  <a:gd name="T45" fmla="*/ 197 h 197"/>
                  <a:gd name="T46" fmla="*/ 64 w 107"/>
                  <a:gd name="T47" fmla="*/ 196 h 197"/>
                  <a:gd name="T48" fmla="*/ 74 w 107"/>
                  <a:gd name="T49" fmla="*/ 192 h 197"/>
                  <a:gd name="T50" fmla="*/ 82 w 107"/>
                  <a:gd name="T51" fmla="*/ 188 h 197"/>
                  <a:gd name="T52" fmla="*/ 91 w 107"/>
                  <a:gd name="T53" fmla="*/ 181 h 197"/>
                  <a:gd name="T54" fmla="*/ 97 w 107"/>
                  <a:gd name="T55" fmla="*/ 173 h 197"/>
                  <a:gd name="T56" fmla="*/ 103 w 107"/>
                  <a:gd name="T57" fmla="*/ 165 h 197"/>
                  <a:gd name="T58" fmla="*/ 105 w 107"/>
                  <a:gd name="T59" fmla="*/ 154 h 197"/>
                  <a:gd name="T60" fmla="*/ 107 w 107"/>
                  <a:gd name="T61" fmla="*/ 143 h 197"/>
                  <a:gd name="T62" fmla="*/ 107 w 107"/>
                  <a:gd name="T63" fmla="*/ 143 h 197"/>
                  <a:gd name="T64" fmla="*/ 105 w 107"/>
                  <a:gd name="T65" fmla="*/ 134 h 197"/>
                  <a:gd name="T66" fmla="*/ 103 w 107"/>
                  <a:gd name="T67" fmla="*/ 126 h 197"/>
                  <a:gd name="T68" fmla="*/ 100 w 107"/>
                  <a:gd name="T69" fmla="*/ 118 h 197"/>
                  <a:gd name="T70" fmla="*/ 95 w 107"/>
                  <a:gd name="T71" fmla="*/ 111 h 197"/>
                  <a:gd name="T72" fmla="*/ 89 w 107"/>
                  <a:gd name="T73" fmla="*/ 104 h 197"/>
                  <a:gd name="T74" fmla="*/ 82 w 107"/>
                  <a:gd name="T75" fmla="*/ 99 h 197"/>
                  <a:gd name="T76" fmla="*/ 74 w 107"/>
                  <a:gd name="T77" fmla="*/ 95 h 197"/>
                  <a:gd name="T78" fmla="*/ 66 w 107"/>
                  <a:gd name="T79" fmla="*/ 92 h 197"/>
                  <a:gd name="T80" fmla="*/ 66 w 107"/>
                  <a:gd name="T81" fmla="*/ 92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07" h="197">
                    <a:moveTo>
                      <a:pt x="66" y="92"/>
                    </a:moveTo>
                    <a:lnTo>
                      <a:pt x="66" y="0"/>
                    </a:lnTo>
                    <a:lnTo>
                      <a:pt x="42" y="0"/>
                    </a:lnTo>
                    <a:lnTo>
                      <a:pt x="42" y="92"/>
                    </a:lnTo>
                    <a:lnTo>
                      <a:pt x="42" y="92"/>
                    </a:lnTo>
                    <a:lnTo>
                      <a:pt x="34" y="93"/>
                    </a:lnTo>
                    <a:lnTo>
                      <a:pt x="26" y="97"/>
                    </a:lnTo>
                    <a:lnTo>
                      <a:pt x="19" y="103"/>
                    </a:lnTo>
                    <a:lnTo>
                      <a:pt x="12" y="110"/>
                    </a:lnTo>
                    <a:lnTo>
                      <a:pt x="7" y="118"/>
                    </a:lnTo>
                    <a:lnTo>
                      <a:pt x="3" y="126"/>
                    </a:lnTo>
                    <a:lnTo>
                      <a:pt x="0" y="134"/>
                    </a:lnTo>
                    <a:lnTo>
                      <a:pt x="0" y="143"/>
                    </a:lnTo>
                    <a:lnTo>
                      <a:pt x="0" y="143"/>
                    </a:lnTo>
                    <a:lnTo>
                      <a:pt x="2" y="154"/>
                    </a:lnTo>
                    <a:lnTo>
                      <a:pt x="4" y="165"/>
                    </a:lnTo>
                    <a:lnTo>
                      <a:pt x="10" y="173"/>
                    </a:lnTo>
                    <a:lnTo>
                      <a:pt x="15" y="181"/>
                    </a:lnTo>
                    <a:lnTo>
                      <a:pt x="23" y="188"/>
                    </a:lnTo>
                    <a:lnTo>
                      <a:pt x="33" y="192"/>
                    </a:lnTo>
                    <a:lnTo>
                      <a:pt x="42" y="196"/>
                    </a:lnTo>
                    <a:lnTo>
                      <a:pt x="53" y="197"/>
                    </a:lnTo>
                    <a:lnTo>
                      <a:pt x="53" y="197"/>
                    </a:lnTo>
                    <a:lnTo>
                      <a:pt x="64" y="196"/>
                    </a:lnTo>
                    <a:lnTo>
                      <a:pt x="74" y="192"/>
                    </a:lnTo>
                    <a:lnTo>
                      <a:pt x="82" y="188"/>
                    </a:lnTo>
                    <a:lnTo>
                      <a:pt x="91" y="181"/>
                    </a:lnTo>
                    <a:lnTo>
                      <a:pt x="97" y="173"/>
                    </a:lnTo>
                    <a:lnTo>
                      <a:pt x="103" y="165"/>
                    </a:lnTo>
                    <a:lnTo>
                      <a:pt x="105" y="154"/>
                    </a:lnTo>
                    <a:lnTo>
                      <a:pt x="107" y="143"/>
                    </a:lnTo>
                    <a:lnTo>
                      <a:pt x="107" y="143"/>
                    </a:lnTo>
                    <a:lnTo>
                      <a:pt x="105" y="134"/>
                    </a:lnTo>
                    <a:lnTo>
                      <a:pt x="103" y="126"/>
                    </a:lnTo>
                    <a:lnTo>
                      <a:pt x="100" y="118"/>
                    </a:lnTo>
                    <a:lnTo>
                      <a:pt x="95" y="111"/>
                    </a:lnTo>
                    <a:lnTo>
                      <a:pt x="89" y="104"/>
                    </a:lnTo>
                    <a:lnTo>
                      <a:pt x="82" y="99"/>
                    </a:lnTo>
                    <a:lnTo>
                      <a:pt x="74" y="95"/>
                    </a:lnTo>
                    <a:lnTo>
                      <a:pt x="66" y="92"/>
                    </a:lnTo>
                    <a:lnTo>
                      <a:pt x="66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BF0E11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06" name="Group 105"/>
            <p:cNvGrpSpPr>
              <a:grpSpLocks noChangeAspect="1"/>
            </p:cNvGrpSpPr>
            <p:nvPr userDrawn="1"/>
          </p:nvGrpSpPr>
          <p:grpSpPr>
            <a:xfrm>
              <a:off x="5276480" y="4039930"/>
              <a:ext cx="182880" cy="183036"/>
              <a:chOff x="4625056" y="2061397"/>
              <a:chExt cx="269544" cy="269774"/>
            </a:xfrm>
            <a:solidFill>
              <a:schemeClr val="bg1">
                <a:lumMod val="85000"/>
                <a:alpha val="30000"/>
              </a:schemeClr>
            </a:solidFill>
          </p:grpSpPr>
          <p:sp>
            <p:nvSpPr>
              <p:cNvPr id="107" name="Freeform 5"/>
              <p:cNvSpPr>
                <a:spLocks noEditPoints="1"/>
              </p:cNvSpPr>
              <p:nvPr/>
            </p:nvSpPr>
            <p:spPr bwMode="auto">
              <a:xfrm>
                <a:off x="4625056" y="2061397"/>
                <a:ext cx="269544" cy="269774"/>
              </a:xfrm>
              <a:custGeom>
                <a:avLst/>
                <a:gdLst>
                  <a:gd name="T0" fmla="*/ 614 w 632"/>
                  <a:gd name="T1" fmla="*/ 299 h 633"/>
                  <a:gd name="T2" fmla="*/ 586 w 632"/>
                  <a:gd name="T3" fmla="*/ 299 h 633"/>
                  <a:gd name="T4" fmla="*/ 334 w 632"/>
                  <a:gd name="T5" fmla="*/ 48 h 633"/>
                  <a:gd name="T6" fmla="*/ 334 w 632"/>
                  <a:gd name="T7" fmla="*/ 18 h 633"/>
                  <a:gd name="T8" fmla="*/ 316 w 632"/>
                  <a:gd name="T9" fmla="*/ 0 h 633"/>
                  <a:gd name="T10" fmla="*/ 298 w 632"/>
                  <a:gd name="T11" fmla="*/ 18 h 633"/>
                  <a:gd name="T12" fmla="*/ 298 w 632"/>
                  <a:gd name="T13" fmla="*/ 48 h 633"/>
                  <a:gd name="T14" fmla="*/ 46 w 632"/>
                  <a:gd name="T15" fmla="*/ 299 h 633"/>
                  <a:gd name="T16" fmla="*/ 18 w 632"/>
                  <a:gd name="T17" fmla="*/ 299 h 633"/>
                  <a:gd name="T18" fmla="*/ 0 w 632"/>
                  <a:gd name="T19" fmla="*/ 317 h 633"/>
                  <a:gd name="T20" fmla="*/ 18 w 632"/>
                  <a:gd name="T21" fmla="*/ 335 h 633"/>
                  <a:gd name="T22" fmla="*/ 46 w 632"/>
                  <a:gd name="T23" fmla="*/ 335 h 633"/>
                  <a:gd name="T24" fmla="*/ 298 w 632"/>
                  <a:gd name="T25" fmla="*/ 587 h 633"/>
                  <a:gd name="T26" fmla="*/ 298 w 632"/>
                  <a:gd name="T27" fmla="*/ 615 h 633"/>
                  <a:gd name="T28" fmla="*/ 316 w 632"/>
                  <a:gd name="T29" fmla="*/ 633 h 633"/>
                  <a:gd name="T30" fmla="*/ 334 w 632"/>
                  <a:gd name="T31" fmla="*/ 615 h 633"/>
                  <a:gd name="T32" fmla="*/ 334 w 632"/>
                  <a:gd name="T33" fmla="*/ 587 h 633"/>
                  <a:gd name="T34" fmla="*/ 586 w 632"/>
                  <a:gd name="T35" fmla="*/ 335 h 633"/>
                  <a:gd name="T36" fmla="*/ 614 w 632"/>
                  <a:gd name="T37" fmla="*/ 335 h 633"/>
                  <a:gd name="T38" fmla="*/ 632 w 632"/>
                  <a:gd name="T39" fmla="*/ 317 h 633"/>
                  <a:gd name="T40" fmla="*/ 614 w 632"/>
                  <a:gd name="T41" fmla="*/ 299 h 633"/>
                  <a:gd name="T42" fmla="*/ 334 w 632"/>
                  <a:gd name="T43" fmla="*/ 559 h 633"/>
                  <a:gd name="T44" fmla="*/ 334 w 632"/>
                  <a:gd name="T45" fmla="*/ 531 h 633"/>
                  <a:gd name="T46" fmla="*/ 316 w 632"/>
                  <a:gd name="T47" fmla="*/ 513 h 633"/>
                  <a:gd name="T48" fmla="*/ 298 w 632"/>
                  <a:gd name="T49" fmla="*/ 531 h 633"/>
                  <a:gd name="T50" fmla="*/ 298 w 632"/>
                  <a:gd name="T51" fmla="*/ 559 h 633"/>
                  <a:gd name="T52" fmla="*/ 74 w 632"/>
                  <a:gd name="T53" fmla="*/ 335 h 633"/>
                  <a:gd name="T54" fmla="*/ 101 w 632"/>
                  <a:gd name="T55" fmla="*/ 335 h 633"/>
                  <a:gd name="T56" fmla="*/ 119 w 632"/>
                  <a:gd name="T57" fmla="*/ 317 h 633"/>
                  <a:gd name="T58" fmla="*/ 101 w 632"/>
                  <a:gd name="T59" fmla="*/ 299 h 633"/>
                  <a:gd name="T60" fmla="*/ 75 w 632"/>
                  <a:gd name="T61" fmla="*/ 299 h 633"/>
                  <a:gd name="T62" fmla="*/ 298 w 632"/>
                  <a:gd name="T63" fmla="*/ 76 h 633"/>
                  <a:gd name="T64" fmla="*/ 298 w 632"/>
                  <a:gd name="T65" fmla="*/ 102 h 633"/>
                  <a:gd name="T66" fmla="*/ 316 w 632"/>
                  <a:gd name="T67" fmla="*/ 120 h 633"/>
                  <a:gd name="T68" fmla="*/ 334 w 632"/>
                  <a:gd name="T69" fmla="*/ 102 h 633"/>
                  <a:gd name="T70" fmla="*/ 334 w 632"/>
                  <a:gd name="T71" fmla="*/ 76 h 633"/>
                  <a:gd name="T72" fmla="*/ 558 w 632"/>
                  <a:gd name="T73" fmla="*/ 299 h 633"/>
                  <a:gd name="T74" fmla="*/ 531 w 632"/>
                  <a:gd name="T75" fmla="*/ 299 h 633"/>
                  <a:gd name="T76" fmla="*/ 513 w 632"/>
                  <a:gd name="T77" fmla="*/ 317 h 633"/>
                  <a:gd name="T78" fmla="*/ 531 w 632"/>
                  <a:gd name="T79" fmla="*/ 335 h 633"/>
                  <a:gd name="T80" fmla="*/ 558 w 632"/>
                  <a:gd name="T81" fmla="*/ 335 h 633"/>
                  <a:gd name="T82" fmla="*/ 334 w 632"/>
                  <a:gd name="T83" fmla="*/ 559 h 6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32" h="633">
                    <a:moveTo>
                      <a:pt x="614" y="299"/>
                    </a:moveTo>
                    <a:cubicBezTo>
                      <a:pt x="586" y="299"/>
                      <a:pt x="586" y="299"/>
                      <a:pt x="586" y="299"/>
                    </a:cubicBezTo>
                    <a:cubicBezTo>
                      <a:pt x="576" y="164"/>
                      <a:pt x="469" y="57"/>
                      <a:pt x="334" y="48"/>
                    </a:cubicBezTo>
                    <a:cubicBezTo>
                      <a:pt x="334" y="18"/>
                      <a:pt x="334" y="18"/>
                      <a:pt x="334" y="18"/>
                    </a:cubicBezTo>
                    <a:cubicBezTo>
                      <a:pt x="334" y="9"/>
                      <a:pt x="326" y="0"/>
                      <a:pt x="316" y="0"/>
                    </a:cubicBezTo>
                    <a:cubicBezTo>
                      <a:pt x="306" y="0"/>
                      <a:pt x="298" y="9"/>
                      <a:pt x="298" y="18"/>
                    </a:cubicBezTo>
                    <a:cubicBezTo>
                      <a:pt x="298" y="48"/>
                      <a:pt x="298" y="48"/>
                      <a:pt x="298" y="48"/>
                    </a:cubicBezTo>
                    <a:cubicBezTo>
                      <a:pt x="164" y="57"/>
                      <a:pt x="56" y="164"/>
                      <a:pt x="46" y="299"/>
                    </a:cubicBezTo>
                    <a:cubicBezTo>
                      <a:pt x="18" y="299"/>
                      <a:pt x="18" y="299"/>
                      <a:pt x="18" y="299"/>
                    </a:cubicBezTo>
                    <a:cubicBezTo>
                      <a:pt x="8" y="299"/>
                      <a:pt x="0" y="307"/>
                      <a:pt x="0" y="317"/>
                    </a:cubicBezTo>
                    <a:cubicBezTo>
                      <a:pt x="0" y="327"/>
                      <a:pt x="8" y="335"/>
                      <a:pt x="18" y="335"/>
                    </a:cubicBezTo>
                    <a:cubicBezTo>
                      <a:pt x="46" y="335"/>
                      <a:pt x="46" y="335"/>
                      <a:pt x="46" y="335"/>
                    </a:cubicBezTo>
                    <a:cubicBezTo>
                      <a:pt x="55" y="470"/>
                      <a:pt x="163" y="578"/>
                      <a:pt x="298" y="587"/>
                    </a:cubicBezTo>
                    <a:cubicBezTo>
                      <a:pt x="298" y="615"/>
                      <a:pt x="298" y="615"/>
                      <a:pt x="298" y="615"/>
                    </a:cubicBezTo>
                    <a:cubicBezTo>
                      <a:pt x="298" y="625"/>
                      <a:pt x="306" y="633"/>
                      <a:pt x="316" y="633"/>
                    </a:cubicBezTo>
                    <a:cubicBezTo>
                      <a:pt x="326" y="633"/>
                      <a:pt x="334" y="625"/>
                      <a:pt x="334" y="615"/>
                    </a:cubicBezTo>
                    <a:cubicBezTo>
                      <a:pt x="334" y="587"/>
                      <a:pt x="334" y="587"/>
                      <a:pt x="334" y="587"/>
                    </a:cubicBezTo>
                    <a:cubicBezTo>
                      <a:pt x="469" y="578"/>
                      <a:pt x="577" y="470"/>
                      <a:pt x="586" y="335"/>
                    </a:cubicBezTo>
                    <a:cubicBezTo>
                      <a:pt x="614" y="335"/>
                      <a:pt x="614" y="335"/>
                      <a:pt x="614" y="335"/>
                    </a:cubicBezTo>
                    <a:cubicBezTo>
                      <a:pt x="624" y="335"/>
                      <a:pt x="632" y="327"/>
                      <a:pt x="632" y="317"/>
                    </a:cubicBezTo>
                    <a:cubicBezTo>
                      <a:pt x="632" y="307"/>
                      <a:pt x="624" y="299"/>
                      <a:pt x="614" y="299"/>
                    </a:cubicBezTo>
                    <a:close/>
                    <a:moveTo>
                      <a:pt x="334" y="559"/>
                    </a:moveTo>
                    <a:cubicBezTo>
                      <a:pt x="334" y="531"/>
                      <a:pt x="334" y="531"/>
                      <a:pt x="334" y="531"/>
                    </a:cubicBezTo>
                    <a:cubicBezTo>
                      <a:pt x="334" y="522"/>
                      <a:pt x="326" y="513"/>
                      <a:pt x="316" y="513"/>
                    </a:cubicBezTo>
                    <a:cubicBezTo>
                      <a:pt x="306" y="513"/>
                      <a:pt x="298" y="522"/>
                      <a:pt x="298" y="531"/>
                    </a:cubicBezTo>
                    <a:cubicBezTo>
                      <a:pt x="298" y="559"/>
                      <a:pt x="298" y="559"/>
                      <a:pt x="298" y="559"/>
                    </a:cubicBezTo>
                    <a:cubicBezTo>
                      <a:pt x="179" y="550"/>
                      <a:pt x="83" y="454"/>
                      <a:pt x="74" y="335"/>
                    </a:cubicBezTo>
                    <a:cubicBezTo>
                      <a:pt x="101" y="335"/>
                      <a:pt x="101" y="335"/>
                      <a:pt x="101" y="335"/>
                    </a:cubicBezTo>
                    <a:cubicBezTo>
                      <a:pt x="111" y="335"/>
                      <a:pt x="119" y="327"/>
                      <a:pt x="119" y="317"/>
                    </a:cubicBezTo>
                    <a:cubicBezTo>
                      <a:pt x="119" y="307"/>
                      <a:pt x="111" y="299"/>
                      <a:pt x="101" y="299"/>
                    </a:cubicBezTo>
                    <a:cubicBezTo>
                      <a:pt x="75" y="299"/>
                      <a:pt x="75" y="299"/>
                      <a:pt x="75" y="299"/>
                    </a:cubicBezTo>
                    <a:cubicBezTo>
                      <a:pt x="84" y="180"/>
                      <a:pt x="179" y="85"/>
                      <a:pt x="298" y="76"/>
                    </a:cubicBezTo>
                    <a:cubicBezTo>
                      <a:pt x="298" y="102"/>
                      <a:pt x="298" y="102"/>
                      <a:pt x="298" y="102"/>
                    </a:cubicBezTo>
                    <a:cubicBezTo>
                      <a:pt x="298" y="112"/>
                      <a:pt x="306" y="120"/>
                      <a:pt x="316" y="120"/>
                    </a:cubicBezTo>
                    <a:cubicBezTo>
                      <a:pt x="326" y="120"/>
                      <a:pt x="334" y="112"/>
                      <a:pt x="334" y="102"/>
                    </a:cubicBezTo>
                    <a:cubicBezTo>
                      <a:pt x="334" y="76"/>
                      <a:pt x="334" y="76"/>
                      <a:pt x="334" y="76"/>
                    </a:cubicBezTo>
                    <a:cubicBezTo>
                      <a:pt x="453" y="85"/>
                      <a:pt x="549" y="180"/>
                      <a:pt x="558" y="299"/>
                    </a:cubicBezTo>
                    <a:cubicBezTo>
                      <a:pt x="531" y="299"/>
                      <a:pt x="531" y="299"/>
                      <a:pt x="531" y="299"/>
                    </a:cubicBezTo>
                    <a:cubicBezTo>
                      <a:pt x="521" y="299"/>
                      <a:pt x="513" y="307"/>
                      <a:pt x="513" y="317"/>
                    </a:cubicBezTo>
                    <a:cubicBezTo>
                      <a:pt x="513" y="327"/>
                      <a:pt x="521" y="335"/>
                      <a:pt x="531" y="335"/>
                    </a:cubicBezTo>
                    <a:cubicBezTo>
                      <a:pt x="558" y="335"/>
                      <a:pt x="558" y="335"/>
                      <a:pt x="558" y="335"/>
                    </a:cubicBezTo>
                    <a:cubicBezTo>
                      <a:pt x="549" y="454"/>
                      <a:pt x="453" y="550"/>
                      <a:pt x="334" y="5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FFFFFF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08" name="Freeform 6"/>
              <p:cNvSpPr>
                <a:spLocks/>
              </p:cNvSpPr>
              <p:nvPr/>
            </p:nvSpPr>
            <p:spPr bwMode="auto">
              <a:xfrm>
                <a:off x="4694682" y="2165722"/>
                <a:ext cx="62503" cy="96053"/>
              </a:xfrm>
              <a:custGeom>
                <a:avLst/>
                <a:gdLst>
                  <a:gd name="T0" fmla="*/ 73 w 147"/>
                  <a:gd name="T1" fmla="*/ 0 h 225"/>
                  <a:gd name="T2" fmla="*/ 62 w 147"/>
                  <a:gd name="T3" fmla="*/ 25 h 225"/>
                  <a:gd name="T4" fmla="*/ 25 w 147"/>
                  <a:gd name="T5" fmla="*/ 9 h 225"/>
                  <a:gd name="T6" fmla="*/ 11 w 147"/>
                  <a:gd name="T7" fmla="*/ 15 h 225"/>
                  <a:gd name="T8" fmla="*/ 18 w 147"/>
                  <a:gd name="T9" fmla="*/ 29 h 225"/>
                  <a:gd name="T10" fmla="*/ 56 w 147"/>
                  <a:gd name="T11" fmla="*/ 46 h 225"/>
                  <a:gd name="T12" fmla="*/ 52 w 147"/>
                  <a:gd name="T13" fmla="*/ 79 h 225"/>
                  <a:gd name="T14" fmla="*/ 11 w 147"/>
                  <a:gd name="T15" fmla="*/ 79 h 225"/>
                  <a:gd name="T16" fmla="*/ 0 w 147"/>
                  <a:gd name="T17" fmla="*/ 90 h 225"/>
                  <a:gd name="T18" fmla="*/ 11 w 147"/>
                  <a:gd name="T19" fmla="*/ 101 h 225"/>
                  <a:gd name="T20" fmla="*/ 52 w 147"/>
                  <a:gd name="T21" fmla="*/ 101 h 225"/>
                  <a:gd name="T22" fmla="*/ 56 w 147"/>
                  <a:gd name="T23" fmla="*/ 134 h 225"/>
                  <a:gd name="T24" fmla="*/ 18 w 147"/>
                  <a:gd name="T25" fmla="*/ 151 h 225"/>
                  <a:gd name="T26" fmla="*/ 11 w 147"/>
                  <a:gd name="T27" fmla="*/ 166 h 225"/>
                  <a:gd name="T28" fmla="*/ 22 w 147"/>
                  <a:gd name="T29" fmla="*/ 173 h 225"/>
                  <a:gd name="T30" fmla="*/ 25 w 147"/>
                  <a:gd name="T31" fmla="*/ 172 h 225"/>
                  <a:gd name="T32" fmla="*/ 64 w 147"/>
                  <a:gd name="T33" fmla="*/ 155 h 225"/>
                  <a:gd name="T34" fmla="*/ 147 w 147"/>
                  <a:gd name="T35" fmla="*/ 225 h 225"/>
                  <a:gd name="T36" fmla="*/ 147 w 147"/>
                  <a:gd name="T37" fmla="*/ 20 h 225"/>
                  <a:gd name="T38" fmla="*/ 78 w 147"/>
                  <a:gd name="T39" fmla="*/ 4 h 225"/>
                  <a:gd name="T40" fmla="*/ 73 w 147"/>
                  <a:gd name="T41" fmla="*/ 0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47" h="225">
                    <a:moveTo>
                      <a:pt x="73" y="0"/>
                    </a:moveTo>
                    <a:cubicBezTo>
                      <a:pt x="68" y="8"/>
                      <a:pt x="65" y="16"/>
                      <a:pt x="62" y="25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0" y="7"/>
                      <a:pt x="13" y="9"/>
                      <a:pt x="11" y="15"/>
                    </a:cubicBezTo>
                    <a:cubicBezTo>
                      <a:pt x="9" y="20"/>
                      <a:pt x="12" y="27"/>
                      <a:pt x="18" y="29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4" y="57"/>
                      <a:pt x="52" y="68"/>
                      <a:pt x="52" y="79"/>
                    </a:cubicBezTo>
                    <a:cubicBezTo>
                      <a:pt x="11" y="79"/>
                      <a:pt x="11" y="79"/>
                      <a:pt x="11" y="79"/>
                    </a:cubicBezTo>
                    <a:cubicBezTo>
                      <a:pt x="4" y="79"/>
                      <a:pt x="0" y="83"/>
                      <a:pt x="0" y="90"/>
                    </a:cubicBezTo>
                    <a:cubicBezTo>
                      <a:pt x="0" y="95"/>
                      <a:pt x="4" y="101"/>
                      <a:pt x="11" y="101"/>
                    </a:cubicBezTo>
                    <a:cubicBezTo>
                      <a:pt x="52" y="101"/>
                      <a:pt x="52" y="101"/>
                      <a:pt x="52" y="101"/>
                    </a:cubicBezTo>
                    <a:cubicBezTo>
                      <a:pt x="52" y="113"/>
                      <a:pt x="54" y="124"/>
                      <a:pt x="56" y="134"/>
                    </a:cubicBezTo>
                    <a:cubicBezTo>
                      <a:pt x="18" y="151"/>
                      <a:pt x="18" y="151"/>
                      <a:pt x="18" y="151"/>
                    </a:cubicBezTo>
                    <a:cubicBezTo>
                      <a:pt x="11" y="154"/>
                      <a:pt x="9" y="161"/>
                      <a:pt x="11" y="166"/>
                    </a:cubicBezTo>
                    <a:cubicBezTo>
                      <a:pt x="13" y="169"/>
                      <a:pt x="18" y="173"/>
                      <a:pt x="22" y="173"/>
                    </a:cubicBezTo>
                    <a:cubicBezTo>
                      <a:pt x="23" y="173"/>
                      <a:pt x="24" y="172"/>
                      <a:pt x="25" y="172"/>
                    </a:cubicBezTo>
                    <a:cubicBezTo>
                      <a:pt x="64" y="155"/>
                      <a:pt x="64" y="155"/>
                      <a:pt x="64" y="155"/>
                    </a:cubicBezTo>
                    <a:cubicBezTo>
                      <a:pt x="79" y="190"/>
                      <a:pt x="109" y="211"/>
                      <a:pt x="147" y="225"/>
                    </a:cubicBezTo>
                    <a:cubicBezTo>
                      <a:pt x="147" y="20"/>
                      <a:pt x="147" y="20"/>
                      <a:pt x="147" y="20"/>
                    </a:cubicBezTo>
                    <a:cubicBezTo>
                      <a:pt x="120" y="20"/>
                      <a:pt x="97" y="13"/>
                      <a:pt x="78" y="4"/>
                    </a:cubicBezTo>
                    <a:cubicBezTo>
                      <a:pt x="77" y="2"/>
                      <a:pt x="75" y="1"/>
                      <a:pt x="7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FFFFFF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09" name="Freeform 7"/>
              <p:cNvSpPr>
                <a:spLocks/>
              </p:cNvSpPr>
              <p:nvPr/>
            </p:nvSpPr>
            <p:spPr bwMode="auto">
              <a:xfrm>
                <a:off x="4762700" y="2165722"/>
                <a:ext cx="62273" cy="96053"/>
              </a:xfrm>
              <a:custGeom>
                <a:avLst/>
                <a:gdLst>
                  <a:gd name="T0" fmla="*/ 134 w 146"/>
                  <a:gd name="T1" fmla="*/ 101 h 225"/>
                  <a:gd name="T2" fmla="*/ 146 w 146"/>
                  <a:gd name="T3" fmla="*/ 90 h 225"/>
                  <a:gd name="T4" fmla="*/ 135 w 146"/>
                  <a:gd name="T5" fmla="*/ 79 h 225"/>
                  <a:gd name="T6" fmla="*/ 95 w 146"/>
                  <a:gd name="T7" fmla="*/ 79 h 225"/>
                  <a:gd name="T8" fmla="*/ 91 w 146"/>
                  <a:gd name="T9" fmla="*/ 46 h 225"/>
                  <a:gd name="T10" fmla="*/ 129 w 146"/>
                  <a:gd name="T11" fmla="*/ 29 h 225"/>
                  <a:gd name="T12" fmla="*/ 134 w 146"/>
                  <a:gd name="T13" fmla="*/ 15 h 225"/>
                  <a:gd name="T14" fmla="*/ 120 w 146"/>
                  <a:gd name="T15" fmla="*/ 9 h 225"/>
                  <a:gd name="T16" fmla="*/ 84 w 146"/>
                  <a:gd name="T17" fmla="*/ 23 h 225"/>
                  <a:gd name="T18" fmla="*/ 74 w 146"/>
                  <a:gd name="T19" fmla="*/ 0 h 225"/>
                  <a:gd name="T20" fmla="*/ 69 w 146"/>
                  <a:gd name="T21" fmla="*/ 4 h 225"/>
                  <a:gd name="T22" fmla="*/ 0 w 146"/>
                  <a:gd name="T23" fmla="*/ 20 h 225"/>
                  <a:gd name="T24" fmla="*/ 0 w 146"/>
                  <a:gd name="T25" fmla="*/ 225 h 225"/>
                  <a:gd name="T26" fmla="*/ 83 w 146"/>
                  <a:gd name="T27" fmla="*/ 156 h 225"/>
                  <a:gd name="T28" fmla="*/ 120 w 146"/>
                  <a:gd name="T29" fmla="*/ 172 h 225"/>
                  <a:gd name="T30" fmla="*/ 124 w 146"/>
                  <a:gd name="T31" fmla="*/ 173 h 225"/>
                  <a:gd name="T32" fmla="*/ 134 w 146"/>
                  <a:gd name="T33" fmla="*/ 166 h 225"/>
                  <a:gd name="T34" fmla="*/ 129 w 146"/>
                  <a:gd name="T35" fmla="*/ 151 h 225"/>
                  <a:gd name="T36" fmla="*/ 90 w 146"/>
                  <a:gd name="T37" fmla="*/ 135 h 225"/>
                  <a:gd name="T38" fmla="*/ 95 w 146"/>
                  <a:gd name="T39" fmla="*/ 101 h 225"/>
                  <a:gd name="T40" fmla="*/ 134 w 146"/>
                  <a:gd name="T41" fmla="*/ 101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46" h="225">
                    <a:moveTo>
                      <a:pt x="134" y="101"/>
                    </a:moveTo>
                    <a:cubicBezTo>
                      <a:pt x="141" y="101"/>
                      <a:pt x="145" y="95"/>
                      <a:pt x="146" y="90"/>
                    </a:cubicBezTo>
                    <a:cubicBezTo>
                      <a:pt x="146" y="83"/>
                      <a:pt x="141" y="79"/>
                      <a:pt x="135" y="79"/>
                    </a:cubicBezTo>
                    <a:cubicBezTo>
                      <a:pt x="95" y="79"/>
                      <a:pt x="95" y="79"/>
                      <a:pt x="95" y="79"/>
                    </a:cubicBezTo>
                    <a:cubicBezTo>
                      <a:pt x="95" y="67"/>
                      <a:pt x="93" y="56"/>
                      <a:pt x="91" y="46"/>
                    </a:cubicBezTo>
                    <a:cubicBezTo>
                      <a:pt x="129" y="29"/>
                      <a:pt x="129" y="29"/>
                      <a:pt x="129" y="29"/>
                    </a:cubicBezTo>
                    <a:cubicBezTo>
                      <a:pt x="134" y="27"/>
                      <a:pt x="136" y="20"/>
                      <a:pt x="134" y="15"/>
                    </a:cubicBezTo>
                    <a:cubicBezTo>
                      <a:pt x="132" y="9"/>
                      <a:pt x="125" y="7"/>
                      <a:pt x="120" y="9"/>
                    </a:cubicBezTo>
                    <a:cubicBezTo>
                      <a:pt x="84" y="23"/>
                      <a:pt x="84" y="23"/>
                      <a:pt x="84" y="23"/>
                    </a:cubicBezTo>
                    <a:cubicBezTo>
                      <a:pt x="82" y="16"/>
                      <a:pt x="79" y="8"/>
                      <a:pt x="74" y="0"/>
                    </a:cubicBezTo>
                    <a:cubicBezTo>
                      <a:pt x="72" y="1"/>
                      <a:pt x="70" y="2"/>
                      <a:pt x="69" y="4"/>
                    </a:cubicBezTo>
                    <a:cubicBezTo>
                      <a:pt x="50" y="13"/>
                      <a:pt x="27" y="20"/>
                      <a:pt x="0" y="20"/>
                    </a:cubicBezTo>
                    <a:cubicBezTo>
                      <a:pt x="0" y="225"/>
                      <a:pt x="0" y="225"/>
                      <a:pt x="0" y="225"/>
                    </a:cubicBezTo>
                    <a:cubicBezTo>
                      <a:pt x="37" y="213"/>
                      <a:pt x="67" y="190"/>
                      <a:pt x="83" y="156"/>
                    </a:cubicBezTo>
                    <a:cubicBezTo>
                      <a:pt x="120" y="172"/>
                      <a:pt x="120" y="172"/>
                      <a:pt x="120" y="172"/>
                    </a:cubicBezTo>
                    <a:cubicBezTo>
                      <a:pt x="121" y="172"/>
                      <a:pt x="123" y="173"/>
                      <a:pt x="124" y="173"/>
                    </a:cubicBezTo>
                    <a:cubicBezTo>
                      <a:pt x="129" y="173"/>
                      <a:pt x="133" y="169"/>
                      <a:pt x="134" y="166"/>
                    </a:cubicBezTo>
                    <a:cubicBezTo>
                      <a:pt x="136" y="161"/>
                      <a:pt x="134" y="154"/>
                      <a:pt x="129" y="151"/>
                    </a:cubicBezTo>
                    <a:cubicBezTo>
                      <a:pt x="90" y="135"/>
                      <a:pt x="90" y="135"/>
                      <a:pt x="90" y="135"/>
                    </a:cubicBezTo>
                    <a:cubicBezTo>
                      <a:pt x="93" y="124"/>
                      <a:pt x="95" y="113"/>
                      <a:pt x="95" y="101"/>
                    </a:cubicBezTo>
                    <a:lnTo>
                      <a:pt x="134" y="10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FFFFFF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10" name="Freeform 8"/>
              <p:cNvSpPr>
                <a:spLocks/>
              </p:cNvSpPr>
              <p:nvPr/>
            </p:nvSpPr>
            <p:spPr bwMode="auto">
              <a:xfrm>
                <a:off x="4715134" y="2120223"/>
                <a:ext cx="88929" cy="48946"/>
              </a:xfrm>
              <a:custGeom>
                <a:avLst/>
                <a:gdLst>
                  <a:gd name="T0" fmla="*/ 179 w 209"/>
                  <a:gd name="T1" fmla="*/ 96 h 115"/>
                  <a:gd name="T2" fmla="*/ 156 w 209"/>
                  <a:gd name="T3" fmla="*/ 72 h 115"/>
                  <a:gd name="T4" fmla="*/ 185 w 209"/>
                  <a:gd name="T5" fmla="*/ 39 h 115"/>
                  <a:gd name="T6" fmla="*/ 189 w 209"/>
                  <a:gd name="T7" fmla="*/ 39 h 115"/>
                  <a:gd name="T8" fmla="*/ 209 w 209"/>
                  <a:gd name="T9" fmla="*/ 19 h 115"/>
                  <a:gd name="T10" fmla="*/ 189 w 209"/>
                  <a:gd name="T11" fmla="*/ 0 h 115"/>
                  <a:gd name="T12" fmla="*/ 170 w 209"/>
                  <a:gd name="T13" fmla="*/ 19 h 115"/>
                  <a:gd name="T14" fmla="*/ 172 w 209"/>
                  <a:gd name="T15" fmla="*/ 28 h 115"/>
                  <a:gd name="T16" fmla="*/ 142 w 209"/>
                  <a:gd name="T17" fmla="*/ 62 h 115"/>
                  <a:gd name="T18" fmla="*/ 106 w 209"/>
                  <a:gd name="T19" fmla="*/ 53 h 115"/>
                  <a:gd name="T20" fmla="*/ 67 w 209"/>
                  <a:gd name="T21" fmla="*/ 63 h 115"/>
                  <a:gd name="T22" fmla="*/ 37 w 209"/>
                  <a:gd name="T23" fmla="*/ 28 h 115"/>
                  <a:gd name="T24" fmla="*/ 39 w 209"/>
                  <a:gd name="T25" fmla="*/ 19 h 115"/>
                  <a:gd name="T26" fmla="*/ 19 w 209"/>
                  <a:gd name="T27" fmla="*/ 0 h 115"/>
                  <a:gd name="T28" fmla="*/ 0 w 209"/>
                  <a:gd name="T29" fmla="*/ 19 h 115"/>
                  <a:gd name="T30" fmla="*/ 19 w 209"/>
                  <a:gd name="T31" fmla="*/ 39 h 115"/>
                  <a:gd name="T32" fmla="*/ 24 w 209"/>
                  <a:gd name="T33" fmla="*/ 39 h 115"/>
                  <a:gd name="T34" fmla="*/ 52 w 209"/>
                  <a:gd name="T35" fmla="*/ 73 h 115"/>
                  <a:gd name="T36" fmla="*/ 33 w 209"/>
                  <a:gd name="T37" fmla="*/ 96 h 115"/>
                  <a:gd name="T38" fmla="*/ 37 w 209"/>
                  <a:gd name="T39" fmla="*/ 99 h 115"/>
                  <a:gd name="T40" fmla="*/ 106 w 209"/>
                  <a:gd name="T41" fmla="*/ 115 h 115"/>
                  <a:gd name="T42" fmla="*/ 174 w 209"/>
                  <a:gd name="T43" fmla="*/ 99 h 115"/>
                  <a:gd name="T44" fmla="*/ 179 w 209"/>
                  <a:gd name="T45" fmla="*/ 96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09" h="115">
                    <a:moveTo>
                      <a:pt x="179" y="96"/>
                    </a:moveTo>
                    <a:cubicBezTo>
                      <a:pt x="173" y="86"/>
                      <a:pt x="165" y="78"/>
                      <a:pt x="156" y="72"/>
                    </a:cubicBezTo>
                    <a:cubicBezTo>
                      <a:pt x="177" y="49"/>
                      <a:pt x="183" y="41"/>
                      <a:pt x="185" y="39"/>
                    </a:cubicBezTo>
                    <a:cubicBezTo>
                      <a:pt x="187" y="39"/>
                      <a:pt x="188" y="39"/>
                      <a:pt x="189" y="39"/>
                    </a:cubicBezTo>
                    <a:cubicBezTo>
                      <a:pt x="200" y="39"/>
                      <a:pt x="209" y="30"/>
                      <a:pt x="209" y="19"/>
                    </a:cubicBezTo>
                    <a:cubicBezTo>
                      <a:pt x="209" y="9"/>
                      <a:pt x="200" y="0"/>
                      <a:pt x="189" y="0"/>
                    </a:cubicBezTo>
                    <a:cubicBezTo>
                      <a:pt x="178" y="0"/>
                      <a:pt x="170" y="9"/>
                      <a:pt x="170" y="19"/>
                    </a:cubicBezTo>
                    <a:cubicBezTo>
                      <a:pt x="170" y="23"/>
                      <a:pt x="170" y="25"/>
                      <a:pt x="172" y="28"/>
                    </a:cubicBezTo>
                    <a:cubicBezTo>
                      <a:pt x="142" y="62"/>
                      <a:pt x="142" y="62"/>
                      <a:pt x="142" y="62"/>
                    </a:cubicBezTo>
                    <a:cubicBezTo>
                      <a:pt x="131" y="56"/>
                      <a:pt x="119" y="53"/>
                      <a:pt x="106" y="53"/>
                    </a:cubicBezTo>
                    <a:cubicBezTo>
                      <a:pt x="92" y="53"/>
                      <a:pt x="79" y="56"/>
                      <a:pt x="67" y="63"/>
                    </a:cubicBezTo>
                    <a:cubicBezTo>
                      <a:pt x="45" y="38"/>
                      <a:pt x="38" y="30"/>
                      <a:pt x="37" y="28"/>
                    </a:cubicBezTo>
                    <a:cubicBezTo>
                      <a:pt x="38" y="26"/>
                      <a:pt x="39" y="23"/>
                      <a:pt x="39" y="19"/>
                    </a:cubicBezTo>
                    <a:cubicBezTo>
                      <a:pt x="39" y="9"/>
                      <a:pt x="30" y="0"/>
                      <a:pt x="19" y="0"/>
                    </a:cubicBezTo>
                    <a:cubicBezTo>
                      <a:pt x="8" y="0"/>
                      <a:pt x="0" y="9"/>
                      <a:pt x="0" y="19"/>
                    </a:cubicBezTo>
                    <a:cubicBezTo>
                      <a:pt x="0" y="30"/>
                      <a:pt x="8" y="39"/>
                      <a:pt x="19" y="39"/>
                    </a:cubicBezTo>
                    <a:cubicBezTo>
                      <a:pt x="21" y="39"/>
                      <a:pt x="22" y="39"/>
                      <a:pt x="24" y="39"/>
                    </a:cubicBezTo>
                    <a:cubicBezTo>
                      <a:pt x="52" y="73"/>
                      <a:pt x="52" y="73"/>
                      <a:pt x="52" y="73"/>
                    </a:cubicBezTo>
                    <a:cubicBezTo>
                      <a:pt x="45" y="80"/>
                      <a:pt x="38" y="87"/>
                      <a:pt x="33" y="96"/>
                    </a:cubicBezTo>
                    <a:cubicBezTo>
                      <a:pt x="34" y="97"/>
                      <a:pt x="35" y="98"/>
                      <a:pt x="37" y="99"/>
                    </a:cubicBezTo>
                    <a:cubicBezTo>
                      <a:pt x="55" y="108"/>
                      <a:pt x="79" y="115"/>
                      <a:pt x="106" y="115"/>
                    </a:cubicBezTo>
                    <a:cubicBezTo>
                      <a:pt x="132" y="115"/>
                      <a:pt x="156" y="108"/>
                      <a:pt x="174" y="99"/>
                    </a:cubicBezTo>
                    <a:cubicBezTo>
                      <a:pt x="176" y="98"/>
                      <a:pt x="177" y="97"/>
                      <a:pt x="179" y="9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FFFFFF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11" name="Group 110"/>
            <p:cNvGrpSpPr>
              <a:grpSpLocks noChangeAspect="1"/>
            </p:cNvGrpSpPr>
            <p:nvPr userDrawn="1"/>
          </p:nvGrpSpPr>
          <p:grpSpPr>
            <a:xfrm>
              <a:off x="5495793" y="3307108"/>
              <a:ext cx="203068" cy="146304"/>
              <a:chOff x="5445609" y="4105810"/>
              <a:chExt cx="291199" cy="209799"/>
            </a:xfrm>
            <a:solidFill>
              <a:schemeClr val="bg1">
                <a:lumMod val="85000"/>
                <a:alpha val="30000"/>
              </a:schemeClr>
            </a:solidFill>
          </p:grpSpPr>
          <p:sp>
            <p:nvSpPr>
              <p:cNvPr id="112" name="Freeform 238"/>
              <p:cNvSpPr>
                <a:spLocks/>
              </p:cNvSpPr>
              <p:nvPr/>
            </p:nvSpPr>
            <p:spPr bwMode="auto">
              <a:xfrm>
                <a:off x="5445609" y="4143574"/>
                <a:ext cx="222386" cy="172035"/>
              </a:xfrm>
              <a:custGeom>
                <a:avLst/>
                <a:gdLst>
                  <a:gd name="T0" fmla="*/ 470 w 530"/>
                  <a:gd name="T1" fmla="*/ 347 h 410"/>
                  <a:gd name="T2" fmla="*/ 58 w 530"/>
                  <a:gd name="T3" fmla="*/ 107 h 410"/>
                  <a:gd name="T4" fmla="*/ 236 w 530"/>
                  <a:gd name="T5" fmla="*/ 273 h 410"/>
                  <a:gd name="T6" fmla="*/ 249 w 530"/>
                  <a:gd name="T7" fmla="*/ 281 h 410"/>
                  <a:gd name="T8" fmla="*/ 264 w 530"/>
                  <a:gd name="T9" fmla="*/ 283 h 410"/>
                  <a:gd name="T10" fmla="*/ 272 w 530"/>
                  <a:gd name="T11" fmla="*/ 283 h 410"/>
                  <a:gd name="T12" fmla="*/ 287 w 530"/>
                  <a:gd name="T13" fmla="*/ 277 h 410"/>
                  <a:gd name="T14" fmla="*/ 349 w 530"/>
                  <a:gd name="T15" fmla="*/ 220 h 410"/>
                  <a:gd name="T16" fmla="*/ 346 w 530"/>
                  <a:gd name="T17" fmla="*/ 217 h 410"/>
                  <a:gd name="T18" fmla="*/ 346 w 530"/>
                  <a:gd name="T19" fmla="*/ 217 h 410"/>
                  <a:gd name="T20" fmla="*/ 345 w 530"/>
                  <a:gd name="T21" fmla="*/ 216 h 410"/>
                  <a:gd name="T22" fmla="*/ 336 w 530"/>
                  <a:gd name="T23" fmla="*/ 209 h 410"/>
                  <a:gd name="T24" fmla="*/ 334 w 530"/>
                  <a:gd name="T25" fmla="*/ 208 h 410"/>
                  <a:gd name="T26" fmla="*/ 328 w 530"/>
                  <a:gd name="T27" fmla="*/ 201 h 410"/>
                  <a:gd name="T28" fmla="*/ 325 w 530"/>
                  <a:gd name="T29" fmla="*/ 200 h 410"/>
                  <a:gd name="T30" fmla="*/ 318 w 530"/>
                  <a:gd name="T31" fmla="*/ 193 h 410"/>
                  <a:gd name="T32" fmla="*/ 317 w 530"/>
                  <a:gd name="T33" fmla="*/ 192 h 410"/>
                  <a:gd name="T34" fmla="*/ 310 w 530"/>
                  <a:gd name="T35" fmla="*/ 182 h 410"/>
                  <a:gd name="T36" fmla="*/ 310 w 530"/>
                  <a:gd name="T37" fmla="*/ 182 h 410"/>
                  <a:gd name="T38" fmla="*/ 309 w 530"/>
                  <a:gd name="T39" fmla="*/ 181 h 410"/>
                  <a:gd name="T40" fmla="*/ 305 w 530"/>
                  <a:gd name="T41" fmla="*/ 177 h 410"/>
                  <a:gd name="T42" fmla="*/ 104 w 530"/>
                  <a:gd name="T43" fmla="*/ 65 h 410"/>
                  <a:gd name="T44" fmla="*/ 267 w 530"/>
                  <a:gd name="T45" fmla="*/ 65 h 410"/>
                  <a:gd name="T46" fmla="*/ 267 w 530"/>
                  <a:gd name="T47" fmla="*/ 64 h 410"/>
                  <a:gd name="T48" fmla="*/ 270 w 530"/>
                  <a:gd name="T49" fmla="*/ 31 h 410"/>
                  <a:gd name="T50" fmla="*/ 278 w 530"/>
                  <a:gd name="T51" fmla="*/ 0 h 410"/>
                  <a:gd name="T52" fmla="*/ 19 w 530"/>
                  <a:gd name="T53" fmla="*/ 0 h 410"/>
                  <a:gd name="T54" fmla="*/ 11 w 530"/>
                  <a:gd name="T55" fmla="*/ 3 h 410"/>
                  <a:gd name="T56" fmla="*/ 1 w 530"/>
                  <a:gd name="T57" fmla="*/ 14 h 410"/>
                  <a:gd name="T58" fmla="*/ 0 w 530"/>
                  <a:gd name="T59" fmla="*/ 389 h 410"/>
                  <a:gd name="T60" fmla="*/ 1 w 530"/>
                  <a:gd name="T61" fmla="*/ 397 h 410"/>
                  <a:gd name="T62" fmla="*/ 11 w 530"/>
                  <a:gd name="T63" fmla="*/ 409 h 410"/>
                  <a:gd name="T64" fmla="*/ 19 w 530"/>
                  <a:gd name="T65" fmla="*/ 410 h 410"/>
                  <a:gd name="T66" fmla="*/ 510 w 530"/>
                  <a:gd name="T67" fmla="*/ 410 h 410"/>
                  <a:gd name="T68" fmla="*/ 518 w 530"/>
                  <a:gd name="T69" fmla="*/ 409 h 410"/>
                  <a:gd name="T70" fmla="*/ 528 w 530"/>
                  <a:gd name="T71" fmla="*/ 397 h 410"/>
                  <a:gd name="T72" fmla="*/ 530 w 530"/>
                  <a:gd name="T73" fmla="*/ 265 h 410"/>
                  <a:gd name="T74" fmla="*/ 511 w 530"/>
                  <a:gd name="T75" fmla="*/ 246 h 410"/>
                  <a:gd name="T76" fmla="*/ 470 w 530"/>
                  <a:gd name="T77" fmla="*/ 252 h 4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30" h="410">
                    <a:moveTo>
                      <a:pt x="470" y="252"/>
                    </a:moveTo>
                    <a:lnTo>
                      <a:pt x="470" y="347"/>
                    </a:lnTo>
                    <a:lnTo>
                      <a:pt x="58" y="347"/>
                    </a:lnTo>
                    <a:lnTo>
                      <a:pt x="58" y="107"/>
                    </a:lnTo>
                    <a:lnTo>
                      <a:pt x="236" y="273"/>
                    </a:lnTo>
                    <a:lnTo>
                      <a:pt x="236" y="273"/>
                    </a:lnTo>
                    <a:lnTo>
                      <a:pt x="241" y="277"/>
                    </a:lnTo>
                    <a:lnTo>
                      <a:pt x="249" y="281"/>
                    </a:lnTo>
                    <a:lnTo>
                      <a:pt x="256" y="283"/>
                    </a:lnTo>
                    <a:lnTo>
                      <a:pt x="264" y="283"/>
                    </a:lnTo>
                    <a:lnTo>
                      <a:pt x="264" y="283"/>
                    </a:lnTo>
                    <a:lnTo>
                      <a:pt x="272" y="283"/>
                    </a:lnTo>
                    <a:lnTo>
                      <a:pt x="280" y="281"/>
                    </a:lnTo>
                    <a:lnTo>
                      <a:pt x="287" y="277"/>
                    </a:lnTo>
                    <a:lnTo>
                      <a:pt x="292" y="273"/>
                    </a:lnTo>
                    <a:lnTo>
                      <a:pt x="349" y="220"/>
                    </a:lnTo>
                    <a:lnTo>
                      <a:pt x="349" y="220"/>
                    </a:lnTo>
                    <a:lnTo>
                      <a:pt x="346" y="217"/>
                    </a:lnTo>
                    <a:lnTo>
                      <a:pt x="346" y="217"/>
                    </a:lnTo>
                    <a:lnTo>
                      <a:pt x="346" y="217"/>
                    </a:lnTo>
                    <a:lnTo>
                      <a:pt x="345" y="216"/>
                    </a:lnTo>
                    <a:lnTo>
                      <a:pt x="345" y="216"/>
                    </a:lnTo>
                    <a:lnTo>
                      <a:pt x="336" y="209"/>
                    </a:lnTo>
                    <a:lnTo>
                      <a:pt x="336" y="209"/>
                    </a:lnTo>
                    <a:lnTo>
                      <a:pt x="334" y="208"/>
                    </a:lnTo>
                    <a:lnTo>
                      <a:pt x="334" y="208"/>
                    </a:lnTo>
                    <a:lnTo>
                      <a:pt x="328" y="201"/>
                    </a:lnTo>
                    <a:lnTo>
                      <a:pt x="328" y="201"/>
                    </a:lnTo>
                    <a:lnTo>
                      <a:pt x="325" y="200"/>
                    </a:lnTo>
                    <a:lnTo>
                      <a:pt x="325" y="200"/>
                    </a:lnTo>
                    <a:lnTo>
                      <a:pt x="318" y="193"/>
                    </a:lnTo>
                    <a:lnTo>
                      <a:pt x="318" y="193"/>
                    </a:lnTo>
                    <a:lnTo>
                      <a:pt x="317" y="192"/>
                    </a:lnTo>
                    <a:lnTo>
                      <a:pt x="317" y="192"/>
                    </a:lnTo>
                    <a:lnTo>
                      <a:pt x="310" y="182"/>
                    </a:lnTo>
                    <a:lnTo>
                      <a:pt x="310" y="182"/>
                    </a:lnTo>
                    <a:lnTo>
                      <a:pt x="310" y="182"/>
                    </a:lnTo>
                    <a:lnTo>
                      <a:pt x="310" y="182"/>
                    </a:lnTo>
                    <a:lnTo>
                      <a:pt x="309" y="181"/>
                    </a:lnTo>
                    <a:lnTo>
                      <a:pt x="309" y="181"/>
                    </a:lnTo>
                    <a:lnTo>
                      <a:pt x="309" y="181"/>
                    </a:lnTo>
                    <a:lnTo>
                      <a:pt x="305" y="177"/>
                    </a:lnTo>
                    <a:lnTo>
                      <a:pt x="264" y="215"/>
                    </a:lnTo>
                    <a:lnTo>
                      <a:pt x="104" y="65"/>
                    </a:lnTo>
                    <a:lnTo>
                      <a:pt x="267" y="65"/>
                    </a:lnTo>
                    <a:lnTo>
                      <a:pt x="267" y="65"/>
                    </a:lnTo>
                    <a:lnTo>
                      <a:pt x="267" y="64"/>
                    </a:lnTo>
                    <a:lnTo>
                      <a:pt x="267" y="64"/>
                    </a:lnTo>
                    <a:lnTo>
                      <a:pt x="268" y="47"/>
                    </a:lnTo>
                    <a:lnTo>
                      <a:pt x="270" y="31"/>
                    </a:lnTo>
                    <a:lnTo>
                      <a:pt x="274" y="15"/>
                    </a:lnTo>
                    <a:lnTo>
                      <a:pt x="278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5" y="2"/>
                    </a:lnTo>
                    <a:lnTo>
                      <a:pt x="11" y="3"/>
                    </a:lnTo>
                    <a:lnTo>
                      <a:pt x="5" y="7"/>
                    </a:lnTo>
                    <a:lnTo>
                      <a:pt x="1" y="14"/>
                    </a:lnTo>
                    <a:lnTo>
                      <a:pt x="0" y="22"/>
                    </a:lnTo>
                    <a:lnTo>
                      <a:pt x="0" y="389"/>
                    </a:lnTo>
                    <a:lnTo>
                      <a:pt x="0" y="389"/>
                    </a:lnTo>
                    <a:lnTo>
                      <a:pt x="1" y="397"/>
                    </a:lnTo>
                    <a:lnTo>
                      <a:pt x="5" y="403"/>
                    </a:lnTo>
                    <a:lnTo>
                      <a:pt x="11" y="409"/>
                    </a:lnTo>
                    <a:lnTo>
                      <a:pt x="15" y="410"/>
                    </a:lnTo>
                    <a:lnTo>
                      <a:pt x="19" y="410"/>
                    </a:lnTo>
                    <a:lnTo>
                      <a:pt x="510" y="410"/>
                    </a:lnTo>
                    <a:lnTo>
                      <a:pt x="510" y="410"/>
                    </a:lnTo>
                    <a:lnTo>
                      <a:pt x="514" y="410"/>
                    </a:lnTo>
                    <a:lnTo>
                      <a:pt x="518" y="409"/>
                    </a:lnTo>
                    <a:lnTo>
                      <a:pt x="523" y="403"/>
                    </a:lnTo>
                    <a:lnTo>
                      <a:pt x="528" y="397"/>
                    </a:lnTo>
                    <a:lnTo>
                      <a:pt x="530" y="389"/>
                    </a:lnTo>
                    <a:lnTo>
                      <a:pt x="530" y="265"/>
                    </a:lnTo>
                    <a:lnTo>
                      <a:pt x="511" y="246"/>
                    </a:lnTo>
                    <a:lnTo>
                      <a:pt x="511" y="246"/>
                    </a:lnTo>
                    <a:lnTo>
                      <a:pt x="491" y="251"/>
                    </a:lnTo>
                    <a:lnTo>
                      <a:pt x="470" y="252"/>
                    </a:lnTo>
                    <a:lnTo>
                      <a:pt x="470" y="2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BF0E11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13" name="Freeform 240"/>
              <p:cNvSpPr>
                <a:spLocks noEditPoints="1"/>
              </p:cNvSpPr>
              <p:nvPr/>
            </p:nvSpPr>
            <p:spPr bwMode="auto">
              <a:xfrm>
                <a:off x="5574005" y="4105810"/>
                <a:ext cx="162803" cy="162803"/>
              </a:xfrm>
              <a:custGeom>
                <a:avLst/>
                <a:gdLst>
                  <a:gd name="T0" fmla="*/ 299 w 388"/>
                  <a:gd name="T1" fmla="*/ 198 h 388"/>
                  <a:gd name="T2" fmla="*/ 303 w 388"/>
                  <a:gd name="T3" fmla="*/ 181 h 388"/>
                  <a:gd name="T4" fmla="*/ 304 w 388"/>
                  <a:gd name="T5" fmla="*/ 177 h 388"/>
                  <a:gd name="T6" fmla="*/ 304 w 388"/>
                  <a:gd name="T7" fmla="*/ 168 h 388"/>
                  <a:gd name="T8" fmla="*/ 303 w 388"/>
                  <a:gd name="T9" fmla="*/ 123 h 388"/>
                  <a:gd name="T10" fmla="*/ 280 w 388"/>
                  <a:gd name="T11" fmla="*/ 67 h 388"/>
                  <a:gd name="T12" fmla="*/ 238 w 388"/>
                  <a:gd name="T13" fmla="*/ 26 h 388"/>
                  <a:gd name="T14" fmla="*/ 183 w 388"/>
                  <a:gd name="T15" fmla="*/ 3 h 388"/>
                  <a:gd name="T16" fmla="*/ 141 w 388"/>
                  <a:gd name="T17" fmla="*/ 0 h 388"/>
                  <a:gd name="T18" fmla="*/ 87 w 388"/>
                  <a:gd name="T19" fmla="*/ 15 h 388"/>
                  <a:gd name="T20" fmla="*/ 23 w 388"/>
                  <a:gd name="T21" fmla="*/ 71 h 388"/>
                  <a:gd name="T22" fmla="*/ 2 w 388"/>
                  <a:gd name="T23" fmla="*/ 121 h 388"/>
                  <a:gd name="T24" fmla="*/ 0 w 388"/>
                  <a:gd name="T25" fmla="*/ 155 h 388"/>
                  <a:gd name="T26" fmla="*/ 0 w 388"/>
                  <a:gd name="T27" fmla="*/ 166 h 388"/>
                  <a:gd name="T28" fmla="*/ 1 w 388"/>
                  <a:gd name="T29" fmla="*/ 175 h 388"/>
                  <a:gd name="T30" fmla="*/ 2 w 388"/>
                  <a:gd name="T31" fmla="*/ 186 h 388"/>
                  <a:gd name="T32" fmla="*/ 5 w 388"/>
                  <a:gd name="T33" fmla="*/ 195 h 388"/>
                  <a:gd name="T34" fmla="*/ 9 w 388"/>
                  <a:gd name="T35" fmla="*/ 205 h 388"/>
                  <a:gd name="T36" fmla="*/ 13 w 388"/>
                  <a:gd name="T37" fmla="*/ 216 h 388"/>
                  <a:gd name="T38" fmla="*/ 17 w 388"/>
                  <a:gd name="T39" fmla="*/ 224 h 388"/>
                  <a:gd name="T40" fmla="*/ 28 w 388"/>
                  <a:gd name="T41" fmla="*/ 241 h 388"/>
                  <a:gd name="T42" fmla="*/ 32 w 388"/>
                  <a:gd name="T43" fmla="*/ 248 h 388"/>
                  <a:gd name="T44" fmla="*/ 40 w 388"/>
                  <a:gd name="T45" fmla="*/ 256 h 388"/>
                  <a:gd name="T46" fmla="*/ 45 w 388"/>
                  <a:gd name="T47" fmla="*/ 263 h 388"/>
                  <a:gd name="T48" fmla="*/ 54 w 388"/>
                  <a:gd name="T49" fmla="*/ 270 h 388"/>
                  <a:gd name="T50" fmla="*/ 62 w 388"/>
                  <a:gd name="T51" fmla="*/ 276 h 388"/>
                  <a:gd name="T52" fmla="*/ 70 w 388"/>
                  <a:gd name="T53" fmla="*/ 282 h 388"/>
                  <a:gd name="T54" fmla="*/ 72 w 388"/>
                  <a:gd name="T55" fmla="*/ 283 h 388"/>
                  <a:gd name="T56" fmla="*/ 79 w 388"/>
                  <a:gd name="T57" fmla="*/ 287 h 388"/>
                  <a:gd name="T58" fmla="*/ 133 w 388"/>
                  <a:gd name="T59" fmla="*/ 305 h 388"/>
                  <a:gd name="T60" fmla="*/ 165 w 388"/>
                  <a:gd name="T61" fmla="*/ 306 h 388"/>
                  <a:gd name="T62" fmla="*/ 215 w 388"/>
                  <a:gd name="T63" fmla="*/ 292 h 388"/>
                  <a:gd name="T64" fmla="*/ 303 w 388"/>
                  <a:gd name="T65" fmla="*/ 380 h 388"/>
                  <a:gd name="T66" fmla="*/ 333 w 388"/>
                  <a:gd name="T67" fmla="*/ 388 h 388"/>
                  <a:gd name="T68" fmla="*/ 372 w 388"/>
                  <a:gd name="T69" fmla="*/ 372 h 388"/>
                  <a:gd name="T70" fmla="*/ 387 w 388"/>
                  <a:gd name="T71" fmla="*/ 344 h 388"/>
                  <a:gd name="T72" fmla="*/ 384 w 388"/>
                  <a:gd name="T73" fmla="*/ 313 h 388"/>
                  <a:gd name="T74" fmla="*/ 252 w 388"/>
                  <a:gd name="T75" fmla="*/ 163 h 388"/>
                  <a:gd name="T76" fmla="*/ 250 w 388"/>
                  <a:gd name="T77" fmla="*/ 172 h 388"/>
                  <a:gd name="T78" fmla="*/ 248 w 388"/>
                  <a:gd name="T79" fmla="*/ 182 h 388"/>
                  <a:gd name="T80" fmla="*/ 245 w 388"/>
                  <a:gd name="T81" fmla="*/ 191 h 388"/>
                  <a:gd name="T82" fmla="*/ 241 w 388"/>
                  <a:gd name="T83" fmla="*/ 199 h 388"/>
                  <a:gd name="T84" fmla="*/ 236 w 388"/>
                  <a:gd name="T85" fmla="*/ 208 h 388"/>
                  <a:gd name="T86" fmla="*/ 230 w 388"/>
                  <a:gd name="T87" fmla="*/ 216 h 388"/>
                  <a:gd name="T88" fmla="*/ 225 w 388"/>
                  <a:gd name="T89" fmla="*/ 222 h 388"/>
                  <a:gd name="T90" fmla="*/ 222 w 388"/>
                  <a:gd name="T91" fmla="*/ 224 h 388"/>
                  <a:gd name="T92" fmla="*/ 182 w 388"/>
                  <a:gd name="T93" fmla="*/ 248 h 388"/>
                  <a:gd name="T94" fmla="*/ 165 w 388"/>
                  <a:gd name="T95" fmla="*/ 252 h 388"/>
                  <a:gd name="T96" fmla="*/ 152 w 388"/>
                  <a:gd name="T97" fmla="*/ 252 h 388"/>
                  <a:gd name="T98" fmla="*/ 132 w 388"/>
                  <a:gd name="T99" fmla="*/ 251 h 388"/>
                  <a:gd name="T100" fmla="*/ 114 w 388"/>
                  <a:gd name="T101" fmla="*/ 245 h 388"/>
                  <a:gd name="T102" fmla="*/ 76 w 388"/>
                  <a:gd name="T103" fmla="*/ 217 h 388"/>
                  <a:gd name="T104" fmla="*/ 56 w 388"/>
                  <a:gd name="T105" fmla="*/ 181 h 388"/>
                  <a:gd name="T106" fmla="*/ 52 w 388"/>
                  <a:gd name="T107" fmla="*/ 154 h 388"/>
                  <a:gd name="T108" fmla="*/ 66 w 388"/>
                  <a:gd name="T109" fmla="*/ 104 h 388"/>
                  <a:gd name="T110" fmla="*/ 93 w 388"/>
                  <a:gd name="T111" fmla="*/ 74 h 388"/>
                  <a:gd name="T112" fmla="*/ 122 w 388"/>
                  <a:gd name="T113" fmla="*/ 58 h 388"/>
                  <a:gd name="T114" fmla="*/ 152 w 388"/>
                  <a:gd name="T115" fmla="*/ 54 h 388"/>
                  <a:gd name="T116" fmla="*/ 188 w 388"/>
                  <a:gd name="T117" fmla="*/ 61 h 388"/>
                  <a:gd name="T118" fmla="*/ 232 w 388"/>
                  <a:gd name="T119" fmla="*/ 93 h 388"/>
                  <a:gd name="T120" fmla="*/ 248 w 388"/>
                  <a:gd name="T121" fmla="*/ 124 h 388"/>
                  <a:gd name="T122" fmla="*/ 252 w 388"/>
                  <a:gd name="T123" fmla="*/ 15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88" h="388">
                    <a:moveTo>
                      <a:pt x="372" y="295"/>
                    </a:moveTo>
                    <a:lnTo>
                      <a:pt x="292" y="216"/>
                    </a:lnTo>
                    <a:lnTo>
                      <a:pt x="292" y="216"/>
                    </a:lnTo>
                    <a:lnTo>
                      <a:pt x="299" y="198"/>
                    </a:lnTo>
                    <a:lnTo>
                      <a:pt x="303" y="181"/>
                    </a:lnTo>
                    <a:lnTo>
                      <a:pt x="303" y="181"/>
                    </a:lnTo>
                    <a:lnTo>
                      <a:pt x="303" y="181"/>
                    </a:lnTo>
                    <a:lnTo>
                      <a:pt x="303" y="181"/>
                    </a:lnTo>
                    <a:lnTo>
                      <a:pt x="303" y="178"/>
                    </a:lnTo>
                    <a:lnTo>
                      <a:pt x="303" y="178"/>
                    </a:lnTo>
                    <a:lnTo>
                      <a:pt x="304" y="177"/>
                    </a:lnTo>
                    <a:lnTo>
                      <a:pt x="304" y="177"/>
                    </a:lnTo>
                    <a:lnTo>
                      <a:pt x="304" y="170"/>
                    </a:lnTo>
                    <a:lnTo>
                      <a:pt x="304" y="170"/>
                    </a:lnTo>
                    <a:lnTo>
                      <a:pt x="304" y="168"/>
                    </a:lnTo>
                    <a:lnTo>
                      <a:pt x="304" y="168"/>
                    </a:lnTo>
                    <a:lnTo>
                      <a:pt x="306" y="154"/>
                    </a:lnTo>
                    <a:lnTo>
                      <a:pt x="306" y="154"/>
                    </a:lnTo>
                    <a:lnTo>
                      <a:pt x="304" y="137"/>
                    </a:lnTo>
                    <a:lnTo>
                      <a:pt x="303" y="123"/>
                    </a:lnTo>
                    <a:lnTo>
                      <a:pt x="299" y="108"/>
                    </a:lnTo>
                    <a:lnTo>
                      <a:pt x="294" y="93"/>
                    </a:lnTo>
                    <a:lnTo>
                      <a:pt x="287" y="79"/>
                    </a:lnTo>
                    <a:lnTo>
                      <a:pt x="280" y="67"/>
                    </a:lnTo>
                    <a:lnTo>
                      <a:pt x="271" y="55"/>
                    </a:lnTo>
                    <a:lnTo>
                      <a:pt x="261" y="44"/>
                    </a:lnTo>
                    <a:lnTo>
                      <a:pt x="250" y="35"/>
                    </a:lnTo>
                    <a:lnTo>
                      <a:pt x="238" y="26"/>
                    </a:lnTo>
                    <a:lnTo>
                      <a:pt x="225" y="19"/>
                    </a:lnTo>
                    <a:lnTo>
                      <a:pt x="213" y="12"/>
                    </a:lnTo>
                    <a:lnTo>
                      <a:pt x="198" y="7"/>
                    </a:lnTo>
                    <a:lnTo>
                      <a:pt x="183" y="3"/>
                    </a:lnTo>
                    <a:lnTo>
                      <a:pt x="168" y="1"/>
                    </a:lnTo>
                    <a:lnTo>
                      <a:pt x="152" y="0"/>
                    </a:lnTo>
                    <a:lnTo>
                      <a:pt x="152" y="0"/>
                    </a:lnTo>
                    <a:lnTo>
                      <a:pt x="141" y="0"/>
                    </a:lnTo>
                    <a:lnTo>
                      <a:pt x="129" y="1"/>
                    </a:lnTo>
                    <a:lnTo>
                      <a:pt x="118" y="4"/>
                    </a:lnTo>
                    <a:lnTo>
                      <a:pt x="107" y="7"/>
                    </a:lnTo>
                    <a:lnTo>
                      <a:pt x="87" y="15"/>
                    </a:lnTo>
                    <a:lnTo>
                      <a:pt x="68" y="26"/>
                    </a:lnTo>
                    <a:lnTo>
                      <a:pt x="51" y="39"/>
                    </a:lnTo>
                    <a:lnTo>
                      <a:pt x="36" y="54"/>
                    </a:lnTo>
                    <a:lnTo>
                      <a:pt x="23" y="71"/>
                    </a:lnTo>
                    <a:lnTo>
                      <a:pt x="13" y="90"/>
                    </a:lnTo>
                    <a:lnTo>
                      <a:pt x="13" y="90"/>
                    </a:lnTo>
                    <a:lnTo>
                      <a:pt x="6" y="105"/>
                    </a:lnTo>
                    <a:lnTo>
                      <a:pt x="2" y="121"/>
                    </a:lnTo>
                    <a:lnTo>
                      <a:pt x="0" y="136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5"/>
                    </a:lnTo>
                    <a:lnTo>
                      <a:pt x="0" y="155"/>
                    </a:lnTo>
                    <a:lnTo>
                      <a:pt x="0" y="163"/>
                    </a:lnTo>
                    <a:lnTo>
                      <a:pt x="0" y="163"/>
                    </a:lnTo>
                    <a:lnTo>
                      <a:pt x="0" y="166"/>
                    </a:lnTo>
                    <a:lnTo>
                      <a:pt x="0" y="166"/>
                    </a:lnTo>
                    <a:lnTo>
                      <a:pt x="1" y="172"/>
                    </a:lnTo>
                    <a:lnTo>
                      <a:pt x="1" y="172"/>
                    </a:lnTo>
                    <a:lnTo>
                      <a:pt x="1" y="175"/>
                    </a:lnTo>
                    <a:lnTo>
                      <a:pt x="1" y="175"/>
                    </a:lnTo>
                    <a:lnTo>
                      <a:pt x="2" y="185"/>
                    </a:lnTo>
                    <a:lnTo>
                      <a:pt x="2" y="185"/>
                    </a:lnTo>
                    <a:lnTo>
                      <a:pt x="2" y="186"/>
                    </a:lnTo>
                    <a:lnTo>
                      <a:pt x="2" y="186"/>
                    </a:lnTo>
                    <a:lnTo>
                      <a:pt x="5" y="194"/>
                    </a:lnTo>
                    <a:lnTo>
                      <a:pt x="5" y="194"/>
                    </a:lnTo>
                    <a:lnTo>
                      <a:pt x="5" y="195"/>
                    </a:lnTo>
                    <a:lnTo>
                      <a:pt x="5" y="195"/>
                    </a:lnTo>
                    <a:lnTo>
                      <a:pt x="8" y="204"/>
                    </a:lnTo>
                    <a:lnTo>
                      <a:pt x="8" y="204"/>
                    </a:lnTo>
                    <a:lnTo>
                      <a:pt x="9" y="205"/>
                    </a:lnTo>
                    <a:lnTo>
                      <a:pt x="9" y="205"/>
                    </a:lnTo>
                    <a:lnTo>
                      <a:pt x="12" y="214"/>
                    </a:lnTo>
                    <a:lnTo>
                      <a:pt x="12" y="214"/>
                    </a:lnTo>
                    <a:lnTo>
                      <a:pt x="13" y="216"/>
                    </a:lnTo>
                    <a:lnTo>
                      <a:pt x="13" y="216"/>
                    </a:lnTo>
                    <a:lnTo>
                      <a:pt x="16" y="222"/>
                    </a:lnTo>
                    <a:lnTo>
                      <a:pt x="16" y="222"/>
                    </a:lnTo>
                    <a:lnTo>
                      <a:pt x="17" y="224"/>
                    </a:lnTo>
                    <a:lnTo>
                      <a:pt x="17" y="224"/>
                    </a:lnTo>
                    <a:lnTo>
                      <a:pt x="27" y="240"/>
                    </a:lnTo>
                    <a:lnTo>
                      <a:pt x="27" y="240"/>
                    </a:lnTo>
                    <a:lnTo>
                      <a:pt x="28" y="241"/>
                    </a:lnTo>
                    <a:lnTo>
                      <a:pt x="28" y="241"/>
                    </a:lnTo>
                    <a:lnTo>
                      <a:pt x="28" y="241"/>
                    </a:lnTo>
                    <a:lnTo>
                      <a:pt x="28" y="241"/>
                    </a:lnTo>
                    <a:lnTo>
                      <a:pt x="32" y="248"/>
                    </a:lnTo>
                    <a:lnTo>
                      <a:pt x="32" y="248"/>
                    </a:lnTo>
                    <a:lnTo>
                      <a:pt x="33" y="249"/>
                    </a:lnTo>
                    <a:lnTo>
                      <a:pt x="33" y="249"/>
                    </a:lnTo>
                    <a:lnTo>
                      <a:pt x="40" y="256"/>
                    </a:lnTo>
                    <a:lnTo>
                      <a:pt x="40" y="256"/>
                    </a:lnTo>
                    <a:lnTo>
                      <a:pt x="40" y="257"/>
                    </a:lnTo>
                    <a:lnTo>
                      <a:pt x="40" y="257"/>
                    </a:lnTo>
                    <a:lnTo>
                      <a:pt x="45" y="263"/>
                    </a:lnTo>
                    <a:lnTo>
                      <a:pt x="45" y="263"/>
                    </a:lnTo>
                    <a:lnTo>
                      <a:pt x="48" y="264"/>
                    </a:lnTo>
                    <a:lnTo>
                      <a:pt x="48" y="264"/>
                    </a:lnTo>
                    <a:lnTo>
                      <a:pt x="54" y="270"/>
                    </a:lnTo>
                    <a:lnTo>
                      <a:pt x="54" y="270"/>
                    </a:lnTo>
                    <a:lnTo>
                      <a:pt x="55" y="271"/>
                    </a:lnTo>
                    <a:lnTo>
                      <a:pt x="55" y="271"/>
                    </a:lnTo>
                    <a:lnTo>
                      <a:pt x="62" y="276"/>
                    </a:lnTo>
                    <a:lnTo>
                      <a:pt x="62" y="276"/>
                    </a:lnTo>
                    <a:lnTo>
                      <a:pt x="63" y="278"/>
                    </a:lnTo>
                    <a:lnTo>
                      <a:pt x="63" y="278"/>
                    </a:lnTo>
                    <a:lnTo>
                      <a:pt x="70" y="282"/>
                    </a:lnTo>
                    <a:lnTo>
                      <a:pt x="70" y="282"/>
                    </a:lnTo>
                    <a:lnTo>
                      <a:pt x="71" y="283"/>
                    </a:lnTo>
                    <a:lnTo>
                      <a:pt x="71" y="283"/>
                    </a:lnTo>
                    <a:lnTo>
                      <a:pt x="72" y="283"/>
                    </a:lnTo>
                    <a:lnTo>
                      <a:pt x="72" y="283"/>
                    </a:lnTo>
                    <a:lnTo>
                      <a:pt x="79" y="287"/>
                    </a:lnTo>
                    <a:lnTo>
                      <a:pt x="79" y="287"/>
                    </a:lnTo>
                    <a:lnTo>
                      <a:pt x="79" y="287"/>
                    </a:lnTo>
                    <a:lnTo>
                      <a:pt x="79" y="287"/>
                    </a:lnTo>
                    <a:lnTo>
                      <a:pt x="97" y="295"/>
                    </a:lnTo>
                    <a:lnTo>
                      <a:pt x="114" y="302"/>
                    </a:lnTo>
                    <a:lnTo>
                      <a:pt x="133" y="305"/>
                    </a:lnTo>
                    <a:lnTo>
                      <a:pt x="152" y="306"/>
                    </a:lnTo>
                    <a:lnTo>
                      <a:pt x="152" y="306"/>
                    </a:lnTo>
                    <a:lnTo>
                      <a:pt x="165" y="306"/>
                    </a:lnTo>
                    <a:lnTo>
                      <a:pt x="165" y="306"/>
                    </a:lnTo>
                    <a:lnTo>
                      <a:pt x="179" y="303"/>
                    </a:lnTo>
                    <a:lnTo>
                      <a:pt x="191" y="301"/>
                    </a:lnTo>
                    <a:lnTo>
                      <a:pt x="203" y="298"/>
                    </a:lnTo>
                    <a:lnTo>
                      <a:pt x="215" y="292"/>
                    </a:lnTo>
                    <a:lnTo>
                      <a:pt x="225" y="302"/>
                    </a:lnTo>
                    <a:lnTo>
                      <a:pt x="295" y="372"/>
                    </a:lnTo>
                    <a:lnTo>
                      <a:pt x="295" y="372"/>
                    </a:lnTo>
                    <a:lnTo>
                      <a:pt x="303" y="380"/>
                    </a:lnTo>
                    <a:lnTo>
                      <a:pt x="312" y="384"/>
                    </a:lnTo>
                    <a:lnTo>
                      <a:pt x="323" y="388"/>
                    </a:lnTo>
                    <a:lnTo>
                      <a:pt x="333" y="388"/>
                    </a:lnTo>
                    <a:lnTo>
                      <a:pt x="333" y="388"/>
                    </a:lnTo>
                    <a:lnTo>
                      <a:pt x="343" y="388"/>
                    </a:lnTo>
                    <a:lnTo>
                      <a:pt x="354" y="384"/>
                    </a:lnTo>
                    <a:lnTo>
                      <a:pt x="364" y="380"/>
                    </a:lnTo>
                    <a:lnTo>
                      <a:pt x="372" y="372"/>
                    </a:lnTo>
                    <a:lnTo>
                      <a:pt x="372" y="372"/>
                    </a:lnTo>
                    <a:lnTo>
                      <a:pt x="378" y="364"/>
                    </a:lnTo>
                    <a:lnTo>
                      <a:pt x="384" y="355"/>
                    </a:lnTo>
                    <a:lnTo>
                      <a:pt x="387" y="344"/>
                    </a:lnTo>
                    <a:lnTo>
                      <a:pt x="388" y="334"/>
                    </a:lnTo>
                    <a:lnTo>
                      <a:pt x="388" y="334"/>
                    </a:lnTo>
                    <a:lnTo>
                      <a:pt x="387" y="324"/>
                    </a:lnTo>
                    <a:lnTo>
                      <a:pt x="384" y="313"/>
                    </a:lnTo>
                    <a:lnTo>
                      <a:pt x="378" y="303"/>
                    </a:lnTo>
                    <a:lnTo>
                      <a:pt x="372" y="295"/>
                    </a:lnTo>
                    <a:lnTo>
                      <a:pt x="372" y="295"/>
                    </a:lnTo>
                    <a:close/>
                    <a:moveTo>
                      <a:pt x="252" y="163"/>
                    </a:moveTo>
                    <a:lnTo>
                      <a:pt x="252" y="163"/>
                    </a:lnTo>
                    <a:lnTo>
                      <a:pt x="252" y="163"/>
                    </a:lnTo>
                    <a:lnTo>
                      <a:pt x="252" y="163"/>
                    </a:lnTo>
                    <a:lnTo>
                      <a:pt x="250" y="172"/>
                    </a:lnTo>
                    <a:lnTo>
                      <a:pt x="250" y="172"/>
                    </a:lnTo>
                    <a:lnTo>
                      <a:pt x="250" y="174"/>
                    </a:lnTo>
                    <a:lnTo>
                      <a:pt x="250" y="174"/>
                    </a:lnTo>
                    <a:lnTo>
                      <a:pt x="248" y="182"/>
                    </a:lnTo>
                    <a:lnTo>
                      <a:pt x="248" y="182"/>
                    </a:lnTo>
                    <a:lnTo>
                      <a:pt x="248" y="183"/>
                    </a:lnTo>
                    <a:lnTo>
                      <a:pt x="248" y="183"/>
                    </a:lnTo>
                    <a:lnTo>
                      <a:pt x="245" y="191"/>
                    </a:lnTo>
                    <a:lnTo>
                      <a:pt x="245" y="191"/>
                    </a:lnTo>
                    <a:lnTo>
                      <a:pt x="244" y="193"/>
                    </a:lnTo>
                    <a:lnTo>
                      <a:pt x="244" y="193"/>
                    </a:lnTo>
                    <a:lnTo>
                      <a:pt x="241" y="199"/>
                    </a:lnTo>
                    <a:lnTo>
                      <a:pt x="241" y="199"/>
                    </a:lnTo>
                    <a:lnTo>
                      <a:pt x="240" y="201"/>
                    </a:lnTo>
                    <a:lnTo>
                      <a:pt x="240" y="201"/>
                    </a:lnTo>
                    <a:lnTo>
                      <a:pt x="236" y="208"/>
                    </a:lnTo>
                    <a:lnTo>
                      <a:pt x="236" y="208"/>
                    </a:lnTo>
                    <a:lnTo>
                      <a:pt x="234" y="209"/>
                    </a:lnTo>
                    <a:lnTo>
                      <a:pt x="234" y="209"/>
                    </a:lnTo>
                    <a:lnTo>
                      <a:pt x="230" y="216"/>
                    </a:lnTo>
                    <a:lnTo>
                      <a:pt x="230" y="216"/>
                    </a:lnTo>
                    <a:lnTo>
                      <a:pt x="229" y="217"/>
                    </a:lnTo>
                    <a:lnTo>
                      <a:pt x="229" y="217"/>
                    </a:lnTo>
                    <a:lnTo>
                      <a:pt x="225" y="222"/>
                    </a:lnTo>
                    <a:lnTo>
                      <a:pt x="225" y="222"/>
                    </a:lnTo>
                    <a:lnTo>
                      <a:pt x="223" y="224"/>
                    </a:lnTo>
                    <a:lnTo>
                      <a:pt x="223" y="224"/>
                    </a:lnTo>
                    <a:lnTo>
                      <a:pt x="222" y="224"/>
                    </a:lnTo>
                    <a:lnTo>
                      <a:pt x="222" y="224"/>
                    </a:lnTo>
                    <a:lnTo>
                      <a:pt x="210" y="235"/>
                    </a:lnTo>
                    <a:lnTo>
                      <a:pt x="196" y="243"/>
                    </a:lnTo>
                    <a:lnTo>
                      <a:pt x="182" y="248"/>
                    </a:lnTo>
                    <a:lnTo>
                      <a:pt x="165" y="252"/>
                    </a:lnTo>
                    <a:lnTo>
                      <a:pt x="165" y="252"/>
                    </a:lnTo>
                    <a:lnTo>
                      <a:pt x="165" y="252"/>
                    </a:lnTo>
                    <a:lnTo>
                      <a:pt x="165" y="252"/>
                    </a:lnTo>
                    <a:lnTo>
                      <a:pt x="161" y="252"/>
                    </a:lnTo>
                    <a:lnTo>
                      <a:pt x="161" y="252"/>
                    </a:lnTo>
                    <a:lnTo>
                      <a:pt x="152" y="252"/>
                    </a:lnTo>
                    <a:lnTo>
                      <a:pt x="152" y="252"/>
                    </a:lnTo>
                    <a:lnTo>
                      <a:pt x="152" y="252"/>
                    </a:lnTo>
                    <a:lnTo>
                      <a:pt x="152" y="252"/>
                    </a:lnTo>
                    <a:lnTo>
                      <a:pt x="143" y="252"/>
                    </a:lnTo>
                    <a:lnTo>
                      <a:pt x="132" y="251"/>
                    </a:lnTo>
                    <a:lnTo>
                      <a:pt x="122" y="248"/>
                    </a:lnTo>
                    <a:lnTo>
                      <a:pt x="114" y="245"/>
                    </a:lnTo>
                    <a:lnTo>
                      <a:pt x="114" y="245"/>
                    </a:lnTo>
                    <a:lnTo>
                      <a:pt x="114" y="245"/>
                    </a:lnTo>
                    <a:lnTo>
                      <a:pt x="114" y="245"/>
                    </a:lnTo>
                    <a:lnTo>
                      <a:pt x="99" y="237"/>
                    </a:lnTo>
                    <a:lnTo>
                      <a:pt x="87" y="228"/>
                    </a:lnTo>
                    <a:lnTo>
                      <a:pt x="76" y="217"/>
                    </a:lnTo>
                    <a:lnTo>
                      <a:pt x="67" y="205"/>
                    </a:lnTo>
                    <a:lnTo>
                      <a:pt x="67" y="205"/>
                    </a:lnTo>
                    <a:lnTo>
                      <a:pt x="62" y="193"/>
                    </a:lnTo>
                    <a:lnTo>
                      <a:pt x="56" y="181"/>
                    </a:lnTo>
                    <a:lnTo>
                      <a:pt x="54" y="168"/>
                    </a:lnTo>
                    <a:lnTo>
                      <a:pt x="52" y="155"/>
                    </a:lnTo>
                    <a:lnTo>
                      <a:pt x="52" y="155"/>
                    </a:lnTo>
                    <a:lnTo>
                      <a:pt x="52" y="154"/>
                    </a:lnTo>
                    <a:lnTo>
                      <a:pt x="52" y="154"/>
                    </a:lnTo>
                    <a:lnTo>
                      <a:pt x="55" y="136"/>
                    </a:lnTo>
                    <a:lnTo>
                      <a:pt x="59" y="120"/>
                    </a:lnTo>
                    <a:lnTo>
                      <a:pt x="66" y="104"/>
                    </a:lnTo>
                    <a:lnTo>
                      <a:pt x="75" y="90"/>
                    </a:lnTo>
                    <a:lnTo>
                      <a:pt x="75" y="90"/>
                    </a:lnTo>
                    <a:lnTo>
                      <a:pt x="83" y="82"/>
                    </a:lnTo>
                    <a:lnTo>
                      <a:pt x="93" y="74"/>
                    </a:lnTo>
                    <a:lnTo>
                      <a:pt x="102" y="67"/>
                    </a:lnTo>
                    <a:lnTo>
                      <a:pt x="114" y="61"/>
                    </a:lnTo>
                    <a:lnTo>
                      <a:pt x="114" y="61"/>
                    </a:lnTo>
                    <a:lnTo>
                      <a:pt x="122" y="58"/>
                    </a:lnTo>
                    <a:lnTo>
                      <a:pt x="132" y="55"/>
                    </a:lnTo>
                    <a:lnTo>
                      <a:pt x="143" y="54"/>
                    </a:lnTo>
                    <a:lnTo>
                      <a:pt x="152" y="54"/>
                    </a:lnTo>
                    <a:lnTo>
                      <a:pt x="152" y="54"/>
                    </a:lnTo>
                    <a:lnTo>
                      <a:pt x="161" y="54"/>
                    </a:lnTo>
                    <a:lnTo>
                      <a:pt x="171" y="55"/>
                    </a:lnTo>
                    <a:lnTo>
                      <a:pt x="180" y="58"/>
                    </a:lnTo>
                    <a:lnTo>
                      <a:pt x="188" y="61"/>
                    </a:lnTo>
                    <a:lnTo>
                      <a:pt x="198" y="65"/>
                    </a:lnTo>
                    <a:lnTo>
                      <a:pt x="205" y="69"/>
                    </a:lnTo>
                    <a:lnTo>
                      <a:pt x="219" y="79"/>
                    </a:lnTo>
                    <a:lnTo>
                      <a:pt x="232" y="93"/>
                    </a:lnTo>
                    <a:lnTo>
                      <a:pt x="237" y="100"/>
                    </a:lnTo>
                    <a:lnTo>
                      <a:pt x="241" y="108"/>
                    </a:lnTo>
                    <a:lnTo>
                      <a:pt x="245" y="116"/>
                    </a:lnTo>
                    <a:lnTo>
                      <a:pt x="248" y="124"/>
                    </a:lnTo>
                    <a:lnTo>
                      <a:pt x="250" y="133"/>
                    </a:lnTo>
                    <a:lnTo>
                      <a:pt x="252" y="143"/>
                    </a:lnTo>
                    <a:lnTo>
                      <a:pt x="252" y="143"/>
                    </a:lnTo>
                    <a:lnTo>
                      <a:pt x="252" y="154"/>
                    </a:lnTo>
                    <a:lnTo>
                      <a:pt x="252" y="154"/>
                    </a:lnTo>
                    <a:lnTo>
                      <a:pt x="252" y="163"/>
                    </a:lnTo>
                    <a:lnTo>
                      <a:pt x="252" y="1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BF0E11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14" name="Freeform 241"/>
              <p:cNvSpPr>
                <a:spLocks/>
              </p:cNvSpPr>
              <p:nvPr/>
            </p:nvSpPr>
            <p:spPr bwMode="auto">
              <a:xfrm>
                <a:off x="5716668" y="4183016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BF0E11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5" name="Freeform 17"/>
            <p:cNvSpPr>
              <a:spLocks noChangeAspect="1" noEditPoints="1"/>
            </p:cNvSpPr>
            <p:nvPr userDrawn="1"/>
          </p:nvSpPr>
          <p:spPr bwMode="auto">
            <a:xfrm>
              <a:off x="7947946" y="4082950"/>
              <a:ext cx="182880" cy="148520"/>
            </a:xfrm>
            <a:custGeom>
              <a:avLst/>
              <a:gdLst>
                <a:gd name="T0" fmla="*/ 166 w 409"/>
                <a:gd name="T1" fmla="*/ 165 h 332"/>
                <a:gd name="T2" fmla="*/ 145 w 409"/>
                <a:gd name="T3" fmla="*/ 165 h 332"/>
                <a:gd name="T4" fmla="*/ 159 w 409"/>
                <a:gd name="T5" fmla="*/ 286 h 332"/>
                <a:gd name="T6" fmla="*/ 250 w 409"/>
                <a:gd name="T7" fmla="*/ 286 h 332"/>
                <a:gd name="T8" fmla="*/ 180 w 409"/>
                <a:gd name="T9" fmla="*/ 300 h 332"/>
                <a:gd name="T10" fmla="*/ 229 w 409"/>
                <a:gd name="T11" fmla="*/ 300 h 332"/>
                <a:gd name="T12" fmla="*/ 204 w 409"/>
                <a:gd name="T13" fmla="*/ 90 h 332"/>
                <a:gd name="T14" fmla="*/ 204 w 409"/>
                <a:gd name="T15" fmla="*/ 0 h 332"/>
                <a:gd name="T16" fmla="*/ 204 w 409"/>
                <a:gd name="T17" fmla="*/ 90 h 332"/>
                <a:gd name="T18" fmla="*/ 204 w 409"/>
                <a:gd name="T19" fmla="*/ 67 h 332"/>
                <a:gd name="T20" fmla="*/ 229 w 409"/>
                <a:gd name="T21" fmla="*/ 31 h 332"/>
                <a:gd name="T22" fmla="*/ 0 w 409"/>
                <a:gd name="T23" fmla="*/ 166 h 332"/>
                <a:gd name="T24" fmla="*/ 91 w 409"/>
                <a:gd name="T25" fmla="*/ 166 h 332"/>
                <a:gd name="T26" fmla="*/ 30 w 409"/>
                <a:gd name="T27" fmla="*/ 190 h 332"/>
                <a:gd name="T28" fmla="*/ 67 w 409"/>
                <a:gd name="T29" fmla="*/ 166 h 332"/>
                <a:gd name="T30" fmla="*/ 363 w 409"/>
                <a:gd name="T31" fmla="*/ 120 h 332"/>
                <a:gd name="T32" fmla="*/ 363 w 409"/>
                <a:gd name="T33" fmla="*/ 211 h 332"/>
                <a:gd name="T34" fmla="*/ 363 w 409"/>
                <a:gd name="T35" fmla="*/ 120 h 332"/>
                <a:gd name="T36" fmla="*/ 342 w 409"/>
                <a:gd name="T37" fmla="*/ 166 h 332"/>
                <a:gd name="T38" fmla="*/ 379 w 409"/>
                <a:gd name="T39" fmla="*/ 190 h 332"/>
                <a:gd name="T40" fmla="*/ 246 w 409"/>
                <a:gd name="T41" fmla="*/ 79 h 332"/>
                <a:gd name="T42" fmla="*/ 163 w 409"/>
                <a:gd name="T43" fmla="*/ 79 h 332"/>
                <a:gd name="T44" fmla="*/ 100 w 409"/>
                <a:gd name="T45" fmla="*/ 166 h 332"/>
                <a:gd name="T46" fmla="*/ 163 w 409"/>
                <a:gd name="T47" fmla="*/ 253 h 332"/>
                <a:gd name="T48" fmla="*/ 246 w 409"/>
                <a:gd name="T49" fmla="*/ 253 h 332"/>
                <a:gd name="T50" fmla="*/ 309 w 409"/>
                <a:gd name="T51" fmla="*/ 166 h 332"/>
                <a:gd name="T52" fmla="*/ 172 w 409"/>
                <a:gd name="T53" fmla="*/ 181 h 332"/>
                <a:gd name="T54" fmla="*/ 144 w 409"/>
                <a:gd name="T55" fmla="*/ 168 h 332"/>
                <a:gd name="T56" fmla="*/ 135 w 409"/>
                <a:gd name="T57" fmla="*/ 181 h 332"/>
                <a:gd name="T58" fmla="*/ 158 w 409"/>
                <a:gd name="T59" fmla="*/ 136 h 332"/>
                <a:gd name="T60" fmla="*/ 172 w 409"/>
                <a:gd name="T61" fmla="*/ 181 h 332"/>
                <a:gd name="T62" fmla="*/ 185 w 409"/>
                <a:gd name="T63" fmla="*/ 163 h 332"/>
                <a:gd name="T64" fmla="*/ 181 w 409"/>
                <a:gd name="T65" fmla="*/ 181 h 332"/>
                <a:gd name="T66" fmla="*/ 196 w 409"/>
                <a:gd name="T67" fmla="*/ 136 h 332"/>
                <a:gd name="T68" fmla="*/ 196 w 409"/>
                <a:gd name="T69" fmla="*/ 163 h 332"/>
                <a:gd name="T70" fmla="*/ 220 w 409"/>
                <a:gd name="T71" fmla="*/ 181 h 332"/>
                <a:gd name="T72" fmla="*/ 224 w 409"/>
                <a:gd name="T73" fmla="*/ 136 h 332"/>
                <a:gd name="T74" fmla="*/ 252 w 409"/>
                <a:gd name="T75" fmla="*/ 179 h 332"/>
                <a:gd name="T76" fmla="*/ 271 w 409"/>
                <a:gd name="T77" fmla="*/ 166 h 332"/>
                <a:gd name="T78" fmla="*/ 232 w 409"/>
                <a:gd name="T79" fmla="*/ 159 h 332"/>
                <a:gd name="T80" fmla="*/ 271 w 409"/>
                <a:gd name="T81" fmla="*/ 149 h 332"/>
                <a:gd name="T82" fmla="*/ 252 w 409"/>
                <a:gd name="T83" fmla="*/ 138 h 332"/>
                <a:gd name="T84" fmla="*/ 252 w 409"/>
                <a:gd name="T85" fmla="*/ 179 h 332"/>
                <a:gd name="T86" fmla="*/ 185 w 409"/>
                <a:gd name="T87" fmla="*/ 139 h 332"/>
                <a:gd name="T88" fmla="*/ 196 w 409"/>
                <a:gd name="T89" fmla="*/ 160 h 332"/>
                <a:gd name="T90" fmla="*/ 196 w 409"/>
                <a:gd name="T91" fmla="*/ 13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09" h="332">
                  <a:moveTo>
                    <a:pt x="145" y="165"/>
                  </a:moveTo>
                  <a:cubicBezTo>
                    <a:pt x="166" y="165"/>
                    <a:pt x="166" y="165"/>
                    <a:pt x="166" y="165"/>
                  </a:cubicBezTo>
                  <a:cubicBezTo>
                    <a:pt x="156" y="139"/>
                    <a:pt x="156" y="139"/>
                    <a:pt x="156" y="139"/>
                  </a:cubicBezTo>
                  <a:lnTo>
                    <a:pt x="145" y="165"/>
                  </a:lnTo>
                  <a:close/>
                  <a:moveTo>
                    <a:pt x="204" y="241"/>
                  </a:moveTo>
                  <a:cubicBezTo>
                    <a:pt x="179" y="241"/>
                    <a:pt x="159" y="261"/>
                    <a:pt x="159" y="286"/>
                  </a:cubicBezTo>
                  <a:cubicBezTo>
                    <a:pt x="159" y="311"/>
                    <a:pt x="179" y="332"/>
                    <a:pt x="204" y="332"/>
                  </a:cubicBezTo>
                  <a:cubicBezTo>
                    <a:pt x="229" y="332"/>
                    <a:pt x="250" y="311"/>
                    <a:pt x="250" y="286"/>
                  </a:cubicBezTo>
                  <a:cubicBezTo>
                    <a:pt x="250" y="261"/>
                    <a:pt x="229" y="241"/>
                    <a:pt x="204" y="241"/>
                  </a:cubicBezTo>
                  <a:close/>
                  <a:moveTo>
                    <a:pt x="180" y="300"/>
                  </a:moveTo>
                  <a:cubicBezTo>
                    <a:pt x="204" y="263"/>
                    <a:pt x="204" y="263"/>
                    <a:pt x="204" y="263"/>
                  </a:cubicBezTo>
                  <a:cubicBezTo>
                    <a:pt x="229" y="300"/>
                    <a:pt x="229" y="300"/>
                    <a:pt x="229" y="300"/>
                  </a:cubicBezTo>
                  <a:lnTo>
                    <a:pt x="180" y="300"/>
                  </a:lnTo>
                  <a:close/>
                  <a:moveTo>
                    <a:pt x="204" y="90"/>
                  </a:moveTo>
                  <a:cubicBezTo>
                    <a:pt x="229" y="90"/>
                    <a:pt x="250" y="70"/>
                    <a:pt x="250" y="45"/>
                  </a:cubicBezTo>
                  <a:cubicBezTo>
                    <a:pt x="250" y="20"/>
                    <a:pt x="229" y="0"/>
                    <a:pt x="204" y="0"/>
                  </a:cubicBezTo>
                  <a:cubicBezTo>
                    <a:pt x="179" y="0"/>
                    <a:pt x="159" y="20"/>
                    <a:pt x="159" y="45"/>
                  </a:cubicBezTo>
                  <a:cubicBezTo>
                    <a:pt x="159" y="70"/>
                    <a:pt x="179" y="90"/>
                    <a:pt x="204" y="90"/>
                  </a:cubicBezTo>
                  <a:close/>
                  <a:moveTo>
                    <a:pt x="229" y="31"/>
                  </a:moveTo>
                  <a:cubicBezTo>
                    <a:pt x="204" y="67"/>
                    <a:pt x="204" y="67"/>
                    <a:pt x="204" y="67"/>
                  </a:cubicBezTo>
                  <a:cubicBezTo>
                    <a:pt x="180" y="31"/>
                    <a:pt x="180" y="31"/>
                    <a:pt x="180" y="31"/>
                  </a:cubicBezTo>
                  <a:lnTo>
                    <a:pt x="229" y="31"/>
                  </a:lnTo>
                  <a:close/>
                  <a:moveTo>
                    <a:pt x="46" y="120"/>
                  </a:moveTo>
                  <a:cubicBezTo>
                    <a:pt x="21" y="120"/>
                    <a:pt x="0" y="141"/>
                    <a:pt x="0" y="166"/>
                  </a:cubicBezTo>
                  <a:cubicBezTo>
                    <a:pt x="0" y="191"/>
                    <a:pt x="21" y="211"/>
                    <a:pt x="46" y="211"/>
                  </a:cubicBezTo>
                  <a:cubicBezTo>
                    <a:pt x="71" y="211"/>
                    <a:pt x="91" y="191"/>
                    <a:pt x="91" y="166"/>
                  </a:cubicBezTo>
                  <a:cubicBezTo>
                    <a:pt x="91" y="141"/>
                    <a:pt x="71" y="120"/>
                    <a:pt x="46" y="120"/>
                  </a:cubicBezTo>
                  <a:close/>
                  <a:moveTo>
                    <a:pt x="30" y="190"/>
                  </a:moveTo>
                  <a:cubicBezTo>
                    <a:pt x="30" y="141"/>
                    <a:pt x="30" y="141"/>
                    <a:pt x="30" y="141"/>
                  </a:cubicBezTo>
                  <a:cubicBezTo>
                    <a:pt x="67" y="166"/>
                    <a:pt x="67" y="166"/>
                    <a:pt x="67" y="166"/>
                  </a:cubicBezTo>
                  <a:lnTo>
                    <a:pt x="30" y="190"/>
                  </a:lnTo>
                  <a:close/>
                  <a:moveTo>
                    <a:pt x="363" y="120"/>
                  </a:moveTo>
                  <a:cubicBezTo>
                    <a:pt x="338" y="120"/>
                    <a:pt x="318" y="141"/>
                    <a:pt x="318" y="166"/>
                  </a:cubicBezTo>
                  <a:cubicBezTo>
                    <a:pt x="318" y="191"/>
                    <a:pt x="338" y="211"/>
                    <a:pt x="363" y="211"/>
                  </a:cubicBezTo>
                  <a:cubicBezTo>
                    <a:pt x="388" y="211"/>
                    <a:pt x="409" y="191"/>
                    <a:pt x="409" y="166"/>
                  </a:cubicBezTo>
                  <a:cubicBezTo>
                    <a:pt x="409" y="141"/>
                    <a:pt x="388" y="120"/>
                    <a:pt x="363" y="120"/>
                  </a:cubicBezTo>
                  <a:close/>
                  <a:moveTo>
                    <a:pt x="379" y="190"/>
                  </a:moveTo>
                  <a:cubicBezTo>
                    <a:pt x="342" y="166"/>
                    <a:pt x="342" y="166"/>
                    <a:pt x="342" y="166"/>
                  </a:cubicBezTo>
                  <a:cubicBezTo>
                    <a:pt x="379" y="141"/>
                    <a:pt x="379" y="141"/>
                    <a:pt x="379" y="141"/>
                  </a:cubicBezTo>
                  <a:lnTo>
                    <a:pt x="379" y="190"/>
                  </a:lnTo>
                  <a:close/>
                  <a:moveTo>
                    <a:pt x="320" y="133"/>
                  </a:moveTo>
                  <a:cubicBezTo>
                    <a:pt x="246" y="79"/>
                    <a:pt x="246" y="79"/>
                    <a:pt x="246" y="79"/>
                  </a:cubicBezTo>
                  <a:cubicBezTo>
                    <a:pt x="237" y="91"/>
                    <a:pt x="221" y="100"/>
                    <a:pt x="204" y="100"/>
                  </a:cubicBezTo>
                  <a:cubicBezTo>
                    <a:pt x="187" y="100"/>
                    <a:pt x="172" y="91"/>
                    <a:pt x="163" y="79"/>
                  </a:cubicBezTo>
                  <a:cubicBezTo>
                    <a:pt x="89" y="133"/>
                    <a:pt x="89" y="133"/>
                    <a:pt x="89" y="133"/>
                  </a:cubicBezTo>
                  <a:cubicBezTo>
                    <a:pt x="96" y="142"/>
                    <a:pt x="100" y="153"/>
                    <a:pt x="100" y="166"/>
                  </a:cubicBezTo>
                  <a:cubicBezTo>
                    <a:pt x="100" y="178"/>
                    <a:pt x="96" y="189"/>
                    <a:pt x="89" y="198"/>
                  </a:cubicBezTo>
                  <a:cubicBezTo>
                    <a:pt x="163" y="253"/>
                    <a:pt x="163" y="253"/>
                    <a:pt x="163" y="253"/>
                  </a:cubicBezTo>
                  <a:cubicBezTo>
                    <a:pt x="172" y="240"/>
                    <a:pt x="187" y="232"/>
                    <a:pt x="204" y="232"/>
                  </a:cubicBezTo>
                  <a:cubicBezTo>
                    <a:pt x="221" y="232"/>
                    <a:pt x="237" y="240"/>
                    <a:pt x="246" y="253"/>
                  </a:cubicBezTo>
                  <a:cubicBezTo>
                    <a:pt x="320" y="198"/>
                    <a:pt x="320" y="198"/>
                    <a:pt x="320" y="198"/>
                  </a:cubicBezTo>
                  <a:cubicBezTo>
                    <a:pt x="313" y="189"/>
                    <a:pt x="309" y="178"/>
                    <a:pt x="309" y="166"/>
                  </a:cubicBezTo>
                  <a:cubicBezTo>
                    <a:pt x="309" y="153"/>
                    <a:pt x="313" y="142"/>
                    <a:pt x="320" y="133"/>
                  </a:cubicBezTo>
                  <a:close/>
                  <a:moveTo>
                    <a:pt x="172" y="181"/>
                  </a:moveTo>
                  <a:cubicBezTo>
                    <a:pt x="167" y="168"/>
                    <a:pt x="167" y="168"/>
                    <a:pt x="167" y="168"/>
                  </a:cubicBezTo>
                  <a:cubicBezTo>
                    <a:pt x="144" y="168"/>
                    <a:pt x="144" y="168"/>
                    <a:pt x="144" y="168"/>
                  </a:cubicBezTo>
                  <a:cubicBezTo>
                    <a:pt x="139" y="181"/>
                    <a:pt x="139" y="181"/>
                    <a:pt x="139" y="181"/>
                  </a:cubicBezTo>
                  <a:cubicBezTo>
                    <a:pt x="135" y="181"/>
                    <a:pt x="135" y="181"/>
                    <a:pt x="135" y="181"/>
                  </a:cubicBezTo>
                  <a:cubicBezTo>
                    <a:pt x="153" y="136"/>
                    <a:pt x="153" y="136"/>
                    <a:pt x="153" y="136"/>
                  </a:cubicBezTo>
                  <a:cubicBezTo>
                    <a:pt x="158" y="136"/>
                    <a:pt x="158" y="136"/>
                    <a:pt x="158" y="136"/>
                  </a:cubicBezTo>
                  <a:cubicBezTo>
                    <a:pt x="176" y="181"/>
                    <a:pt x="176" y="181"/>
                    <a:pt x="176" y="181"/>
                  </a:cubicBezTo>
                  <a:lnTo>
                    <a:pt x="172" y="181"/>
                  </a:lnTo>
                  <a:close/>
                  <a:moveTo>
                    <a:pt x="196" y="163"/>
                  </a:moveTo>
                  <a:cubicBezTo>
                    <a:pt x="185" y="163"/>
                    <a:pt x="185" y="163"/>
                    <a:pt x="185" y="163"/>
                  </a:cubicBezTo>
                  <a:cubicBezTo>
                    <a:pt x="185" y="181"/>
                    <a:pt x="185" y="181"/>
                    <a:pt x="185" y="181"/>
                  </a:cubicBezTo>
                  <a:cubicBezTo>
                    <a:pt x="181" y="181"/>
                    <a:pt x="181" y="181"/>
                    <a:pt x="181" y="181"/>
                  </a:cubicBezTo>
                  <a:cubicBezTo>
                    <a:pt x="181" y="136"/>
                    <a:pt x="181" y="136"/>
                    <a:pt x="181" y="136"/>
                  </a:cubicBezTo>
                  <a:cubicBezTo>
                    <a:pt x="196" y="136"/>
                    <a:pt x="196" y="136"/>
                    <a:pt x="196" y="136"/>
                  </a:cubicBezTo>
                  <a:cubicBezTo>
                    <a:pt x="206" y="136"/>
                    <a:pt x="212" y="141"/>
                    <a:pt x="212" y="150"/>
                  </a:cubicBezTo>
                  <a:cubicBezTo>
                    <a:pt x="212" y="158"/>
                    <a:pt x="206" y="163"/>
                    <a:pt x="196" y="163"/>
                  </a:cubicBezTo>
                  <a:close/>
                  <a:moveTo>
                    <a:pt x="224" y="181"/>
                  </a:moveTo>
                  <a:cubicBezTo>
                    <a:pt x="220" y="181"/>
                    <a:pt x="220" y="181"/>
                    <a:pt x="220" y="181"/>
                  </a:cubicBezTo>
                  <a:cubicBezTo>
                    <a:pt x="220" y="136"/>
                    <a:pt x="220" y="136"/>
                    <a:pt x="220" y="136"/>
                  </a:cubicBezTo>
                  <a:cubicBezTo>
                    <a:pt x="224" y="136"/>
                    <a:pt x="224" y="136"/>
                    <a:pt x="224" y="136"/>
                  </a:cubicBezTo>
                  <a:lnTo>
                    <a:pt x="224" y="181"/>
                  </a:lnTo>
                  <a:close/>
                  <a:moveTo>
                    <a:pt x="252" y="179"/>
                  </a:moveTo>
                  <a:cubicBezTo>
                    <a:pt x="261" y="179"/>
                    <a:pt x="266" y="174"/>
                    <a:pt x="267" y="166"/>
                  </a:cubicBezTo>
                  <a:cubicBezTo>
                    <a:pt x="271" y="166"/>
                    <a:pt x="271" y="166"/>
                    <a:pt x="271" y="166"/>
                  </a:cubicBezTo>
                  <a:cubicBezTo>
                    <a:pt x="270" y="175"/>
                    <a:pt x="263" y="182"/>
                    <a:pt x="252" y="182"/>
                  </a:cubicBezTo>
                  <a:cubicBezTo>
                    <a:pt x="240" y="182"/>
                    <a:pt x="232" y="173"/>
                    <a:pt x="232" y="159"/>
                  </a:cubicBezTo>
                  <a:cubicBezTo>
                    <a:pt x="232" y="143"/>
                    <a:pt x="241" y="135"/>
                    <a:pt x="252" y="135"/>
                  </a:cubicBezTo>
                  <a:cubicBezTo>
                    <a:pt x="262" y="135"/>
                    <a:pt x="270" y="140"/>
                    <a:pt x="271" y="149"/>
                  </a:cubicBezTo>
                  <a:cubicBezTo>
                    <a:pt x="267" y="149"/>
                    <a:pt x="267" y="149"/>
                    <a:pt x="267" y="149"/>
                  </a:cubicBezTo>
                  <a:cubicBezTo>
                    <a:pt x="266" y="142"/>
                    <a:pt x="260" y="138"/>
                    <a:pt x="252" y="138"/>
                  </a:cubicBezTo>
                  <a:cubicBezTo>
                    <a:pt x="243" y="138"/>
                    <a:pt x="236" y="145"/>
                    <a:pt x="236" y="159"/>
                  </a:cubicBezTo>
                  <a:cubicBezTo>
                    <a:pt x="236" y="171"/>
                    <a:pt x="243" y="179"/>
                    <a:pt x="252" y="179"/>
                  </a:cubicBezTo>
                  <a:close/>
                  <a:moveTo>
                    <a:pt x="196" y="139"/>
                  </a:moveTo>
                  <a:cubicBezTo>
                    <a:pt x="185" y="139"/>
                    <a:pt x="185" y="139"/>
                    <a:pt x="185" y="139"/>
                  </a:cubicBezTo>
                  <a:cubicBezTo>
                    <a:pt x="185" y="160"/>
                    <a:pt x="185" y="160"/>
                    <a:pt x="185" y="160"/>
                  </a:cubicBezTo>
                  <a:cubicBezTo>
                    <a:pt x="196" y="160"/>
                    <a:pt x="196" y="160"/>
                    <a:pt x="196" y="160"/>
                  </a:cubicBezTo>
                  <a:cubicBezTo>
                    <a:pt x="204" y="160"/>
                    <a:pt x="209" y="156"/>
                    <a:pt x="209" y="150"/>
                  </a:cubicBezTo>
                  <a:cubicBezTo>
                    <a:pt x="209" y="143"/>
                    <a:pt x="204" y="139"/>
                    <a:pt x="196" y="139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30000"/>
              </a:schemeClr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3" fontAlgn="auto">
                <a:spcBef>
                  <a:spcPts val="0"/>
                </a:spcBef>
                <a:spcAft>
                  <a:spcPts val="0"/>
                </a:spcAft>
              </a:pPr>
              <a:endParaRPr lang="en-CA" sz="700" dirty="0">
                <a:solidFill>
                  <a:srgbClr val="676767"/>
                </a:solidFill>
                <a:latin typeface="Arial"/>
                <a:cs typeface="Arial" panose="020B0604020202020204" pitchFamily="34" charset="0"/>
              </a:endParaRPr>
            </a:p>
          </p:txBody>
        </p:sp>
        <p:grpSp>
          <p:nvGrpSpPr>
            <p:cNvPr id="116" name="Group 115"/>
            <p:cNvGrpSpPr>
              <a:grpSpLocks noChangeAspect="1"/>
            </p:cNvGrpSpPr>
            <p:nvPr userDrawn="1"/>
          </p:nvGrpSpPr>
          <p:grpSpPr>
            <a:xfrm>
              <a:off x="6741347" y="4109718"/>
              <a:ext cx="137160" cy="76323"/>
              <a:chOff x="6814787" y="2785123"/>
              <a:chExt cx="240819" cy="134005"/>
            </a:xfrm>
            <a:solidFill>
              <a:schemeClr val="bg1">
                <a:lumMod val="85000"/>
                <a:alpha val="30000"/>
              </a:schemeClr>
            </a:solidFill>
          </p:grpSpPr>
          <p:sp>
            <p:nvSpPr>
              <p:cNvPr id="117" name="Freeform 7"/>
              <p:cNvSpPr>
                <a:spLocks/>
              </p:cNvSpPr>
              <p:nvPr/>
            </p:nvSpPr>
            <p:spPr bwMode="auto">
              <a:xfrm>
                <a:off x="6814787" y="2828031"/>
                <a:ext cx="240819" cy="91097"/>
              </a:xfrm>
              <a:custGeom>
                <a:avLst/>
                <a:gdLst>
                  <a:gd name="T0" fmla="*/ 396 w 791"/>
                  <a:gd name="T1" fmla="*/ 93 h 299"/>
                  <a:gd name="T2" fmla="*/ 0 w 791"/>
                  <a:gd name="T3" fmla="*/ 0 h 299"/>
                  <a:gd name="T4" fmla="*/ 0 w 791"/>
                  <a:gd name="T5" fmla="*/ 178 h 299"/>
                  <a:gd name="T6" fmla="*/ 0 w 791"/>
                  <a:gd name="T7" fmla="*/ 180 h 299"/>
                  <a:gd name="T8" fmla="*/ 116 w 791"/>
                  <a:gd name="T9" fmla="*/ 264 h 299"/>
                  <a:gd name="T10" fmla="*/ 116 w 791"/>
                  <a:gd name="T11" fmla="*/ 264 h 299"/>
                  <a:gd name="T12" fmla="*/ 327 w 791"/>
                  <a:gd name="T13" fmla="*/ 297 h 299"/>
                  <a:gd name="T14" fmla="*/ 329 w 791"/>
                  <a:gd name="T15" fmla="*/ 297 h 299"/>
                  <a:gd name="T16" fmla="*/ 394 w 791"/>
                  <a:gd name="T17" fmla="*/ 299 h 299"/>
                  <a:gd name="T18" fmla="*/ 640 w 791"/>
                  <a:gd name="T19" fmla="*/ 273 h 299"/>
                  <a:gd name="T20" fmla="*/ 644 w 791"/>
                  <a:gd name="T21" fmla="*/ 272 h 299"/>
                  <a:gd name="T22" fmla="*/ 791 w 791"/>
                  <a:gd name="T23" fmla="*/ 180 h 299"/>
                  <a:gd name="T24" fmla="*/ 791 w 791"/>
                  <a:gd name="T25" fmla="*/ 180 h 299"/>
                  <a:gd name="T26" fmla="*/ 791 w 791"/>
                  <a:gd name="T27" fmla="*/ 0 h 299"/>
                  <a:gd name="T28" fmla="*/ 396 w 791"/>
                  <a:gd name="T29" fmla="*/ 93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91" h="299">
                    <a:moveTo>
                      <a:pt x="396" y="93"/>
                    </a:moveTo>
                    <a:cubicBezTo>
                      <a:pt x="222" y="93"/>
                      <a:pt x="46" y="61"/>
                      <a:pt x="0" y="0"/>
                    </a:cubicBezTo>
                    <a:cubicBezTo>
                      <a:pt x="0" y="178"/>
                      <a:pt x="0" y="178"/>
                      <a:pt x="0" y="178"/>
                    </a:cubicBezTo>
                    <a:cubicBezTo>
                      <a:pt x="0" y="179"/>
                      <a:pt x="0" y="180"/>
                      <a:pt x="0" y="180"/>
                    </a:cubicBezTo>
                    <a:cubicBezTo>
                      <a:pt x="0" y="213"/>
                      <a:pt x="44" y="242"/>
                      <a:pt x="116" y="264"/>
                    </a:cubicBezTo>
                    <a:cubicBezTo>
                      <a:pt x="116" y="264"/>
                      <a:pt x="116" y="264"/>
                      <a:pt x="116" y="264"/>
                    </a:cubicBezTo>
                    <a:cubicBezTo>
                      <a:pt x="172" y="281"/>
                      <a:pt x="245" y="293"/>
                      <a:pt x="327" y="297"/>
                    </a:cubicBezTo>
                    <a:cubicBezTo>
                      <a:pt x="329" y="297"/>
                      <a:pt x="329" y="297"/>
                      <a:pt x="329" y="297"/>
                    </a:cubicBezTo>
                    <a:cubicBezTo>
                      <a:pt x="350" y="298"/>
                      <a:pt x="372" y="299"/>
                      <a:pt x="394" y="299"/>
                    </a:cubicBezTo>
                    <a:cubicBezTo>
                      <a:pt x="487" y="299"/>
                      <a:pt x="572" y="289"/>
                      <a:pt x="640" y="273"/>
                    </a:cubicBezTo>
                    <a:cubicBezTo>
                      <a:pt x="644" y="272"/>
                      <a:pt x="644" y="272"/>
                      <a:pt x="644" y="272"/>
                    </a:cubicBezTo>
                    <a:cubicBezTo>
                      <a:pt x="734" y="250"/>
                      <a:pt x="791" y="217"/>
                      <a:pt x="791" y="180"/>
                    </a:cubicBezTo>
                    <a:cubicBezTo>
                      <a:pt x="791" y="180"/>
                      <a:pt x="791" y="180"/>
                      <a:pt x="791" y="180"/>
                    </a:cubicBezTo>
                    <a:cubicBezTo>
                      <a:pt x="791" y="0"/>
                      <a:pt x="791" y="0"/>
                      <a:pt x="791" y="0"/>
                    </a:cubicBezTo>
                    <a:cubicBezTo>
                      <a:pt x="745" y="61"/>
                      <a:pt x="569" y="93"/>
                      <a:pt x="396" y="9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18" name="Freeform 8"/>
              <p:cNvSpPr>
                <a:spLocks noEditPoints="1"/>
              </p:cNvSpPr>
              <p:nvPr/>
            </p:nvSpPr>
            <p:spPr bwMode="auto">
              <a:xfrm>
                <a:off x="6816590" y="2785123"/>
                <a:ext cx="237469" cy="65714"/>
              </a:xfrm>
              <a:custGeom>
                <a:avLst/>
                <a:gdLst>
                  <a:gd name="T0" fmla="*/ 0 w 780"/>
                  <a:gd name="T1" fmla="*/ 108 h 216"/>
                  <a:gd name="T2" fmla="*/ 780 w 780"/>
                  <a:gd name="T3" fmla="*/ 108 h 216"/>
                  <a:gd name="T4" fmla="*/ 278 w 780"/>
                  <a:gd name="T5" fmla="*/ 38 h 216"/>
                  <a:gd name="T6" fmla="*/ 371 w 780"/>
                  <a:gd name="T7" fmla="*/ 11 h 216"/>
                  <a:gd name="T8" fmla="*/ 390 w 780"/>
                  <a:gd name="T9" fmla="*/ 10 h 216"/>
                  <a:gd name="T10" fmla="*/ 409 w 780"/>
                  <a:gd name="T11" fmla="*/ 12 h 216"/>
                  <a:gd name="T12" fmla="*/ 498 w 780"/>
                  <a:gd name="T13" fmla="*/ 47 h 216"/>
                  <a:gd name="T14" fmla="*/ 463 w 780"/>
                  <a:gd name="T15" fmla="*/ 48 h 216"/>
                  <a:gd name="T16" fmla="*/ 412 w 780"/>
                  <a:gd name="T17" fmla="*/ 85 h 216"/>
                  <a:gd name="T18" fmla="*/ 386 w 780"/>
                  <a:gd name="T19" fmla="*/ 91 h 216"/>
                  <a:gd name="T20" fmla="*/ 364 w 780"/>
                  <a:gd name="T21" fmla="*/ 33 h 216"/>
                  <a:gd name="T22" fmla="*/ 281 w 780"/>
                  <a:gd name="T23" fmla="*/ 48 h 216"/>
                  <a:gd name="T24" fmla="*/ 278 w 780"/>
                  <a:gd name="T25" fmla="*/ 38 h 216"/>
                  <a:gd name="T26" fmla="*/ 212 w 780"/>
                  <a:gd name="T27" fmla="*/ 135 h 216"/>
                  <a:gd name="T28" fmla="*/ 263 w 780"/>
                  <a:gd name="T29" fmla="*/ 111 h 216"/>
                  <a:gd name="T30" fmla="*/ 65 w 780"/>
                  <a:gd name="T31" fmla="*/ 105 h 216"/>
                  <a:gd name="T32" fmla="*/ 87 w 780"/>
                  <a:gd name="T33" fmla="*/ 97 h 216"/>
                  <a:gd name="T34" fmla="*/ 212 w 780"/>
                  <a:gd name="T35" fmla="*/ 82 h 216"/>
                  <a:gd name="T36" fmla="*/ 215 w 780"/>
                  <a:gd name="T37" fmla="*/ 72 h 216"/>
                  <a:gd name="T38" fmla="*/ 335 w 780"/>
                  <a:gd name="T39" fmla="*/ 98 h 216"/>
                  <a:gd name="T40" fmla="*/ 344 w 780"/>
                  <a:gd name="T41" fmla="*/ 104 h 216"/>
                  <a:gd name="T42" fmla="*/ 336 w 780"/>
                  <a:gd name="T43" fmla="*/ 110 h 216"/>
                  <a:gd name="T44" fmla="*/ 246 w 780"/>
                  <a:gd name="T45" fmla="*/ 136 h 216"/>
                  <a:gd name="T46" fmla="*/ 498 w 780"/>
                  <a:gd name="T47" fmla="*/ 170 h 216"/>
                  <a:gd name="T48" fmla="*/ 407 w 780"/>
                  <a:gd name="T49" fmla="*/ 196 h 216"/>
                  <a:gd name="T50" fmla="*/ 386 w 780"/>
                  <a:gd name="T51" fmla="*/ 199 h 216"/>
                  <a:gd name="T52" fmla="*/ 366 w 780"/>
                  <a:gd name="T53" fmla="*/ 196 h 216"/>
                  <a:gd name="T54" fmla="*/ 278 w 780"/>
                  <a:gd name="T55" fmla="*/ 161 h 216"/>
                  <a:gd name="T56" fmla="*/ 312 w 780"/>
                  <a:gd name="T57" fmla="*/ 160 h 216"/>
                  <a:gd name="T58" fmla="*/ 364 w 780"/>
                  <a:gd name="T59" fmla="*/ 123 h 216"/>
                  <a:gd name="T60" fmla="*/ 390 w 780"/>
                  <a:gd name="T61" fmla="*/ 117 h 216"/>
                  <a:gd name="T62" fmla="*/ 412 w 780"/>
                  <a:gd name="T63" fmla="*/ 175 h 216"/>
                  <a:gd name="T64" fmla="*/ 494 w 780"/>
                  <a:gd name="T65" fmla="*/ 160 h 216"/>
                  <a:gd name="T66" fmla="*/ 498 w 780"/>
                  <a:gd name="T67" fmla="*/ 170 h 216"/>
                  <a:gd name="T68" fmla="*/ 689 w 780"/>
                  <a:gd name="T69" fmla="*/ 111 h 216"/>
                  <a:gd name="T70" fmla="*/ 563 w 780"/>
                  <a:gd name="T71" fmla="*/ 126 h 216"/>
                  <a:gd name="T72" fmla="*/ 560 w 780"/>
                  <a:gd name="T73" fmla="*/ 136 h 216"/>
                  <a:gd name="T74" fmla="*/ 441 w 780"/>
                  <a:gd name="T75" fmla="*/ 110 h 216"/>
                  <a:gd name="T76" fmla="*/ 431 w 780"/>
                  <a:gd name="T77" fmla="*/ 105 h 216"/>
                  <a:gd name="T78" fmla="*/ 437 w 780"/>
                  <a:gd name="T79" fmla="*/ 99 h 216"/>
                  <a:gd name="T80" fmla="*/ 529 w 780"/>
                  <a:gd name="T81" fmla="*/ 72 h 216"/>
                  <a:gd name="T82" fmla="*/ 563 w 780"/>
                  <a:gd name="T83" fmla="*/ 73 h 216"/>
                  <a:gd name="T84" fmla="*/ 511 w 780"/>
                  <a:gd name="T85" fmla="*/ 97 h 216"/>
                  <a:gd name="T86" fmla="*/ 711 w 780"/>
                  <a:gd name="T87" fmla="*/ 104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780" h="216">
                    <a:moveTo>
                      <a:pt x="390" y="0"/>
                    </a:moveTo>
                    <a:cubicBezTo>
                      <a:pt x="174" y="0"/>
                      <a:pt x="0" y="48"/>
                      <a:pt x="0" y="108"/>
                    </a:cubicBezTo>
                    <a:cubicBezTo>
                      <a:pt x="0" y="168"/>
                      <a:pt x="174" y="216"/>
                      <a:pt x="390" y="216"/>
                    </a:cubicBezTo>
                    <a:cubicBezTo>
                      <a:pt x="605" y="216"/>
                      <a:pt x="780" y="168"/>
                      <a:pt x="780" y="108"/>
                    </a:cubicBezTo>
                    <a:cubicBezTo>
                      <a:pt x="780" y="48"/>
                      <a:pt x="605" y="0"/>
                      <a:pt x="390" y="0"/>
                    </a:cubicBezTo>
                    <a:close/>
                    <a:moveTo>
                      <a:pt x="278" y="38"/>
                    </a:moveTo>
                    <a:cubicBezTo>
                      <a:pt x="366" y="12"/>
                      <a:pt x="366" y="12"/>
                      <a:pt x="366" y="12"/>
                    </a:cubicBezTo>
                    <a:cubicBezTo>
                      <a:pt x="368" y="12"/>
                      <a:pt x="369" y="12"/>
                      <a:pt x="371" y="11"/>
                    </a:cubicBezTo>
                    <a:cubicBezTo>
                      <a:pt x="375" y="10"/>
                      <a:pt x="380" y="10"/>
                      <a:pt x="386" y="10"/>
                    </a:cubicBezTo>
                    <a:cubicBezTo>
                      <a:pt x="390" y="10"/>
                      <a:pt x="390" y="10"/>
                      <a:pt x="390" y="10"/>
                    </a:cubicBezTo>
                    <a:cubicBezTo>
                      <a:pt x="397" y="10"/>
                      <a:pt x="403" y="11"/>
                      <a:pt x="407" y="12"/>
                    </a:cubicBezTo>
                    <a:cubicBezTo>
                      <a:pt x="408" y="12"/>
                      <a:pt x="408" y="12"/>
                      <a:pt x="409" y="12"/>
                    </a:cubicBezTo>
                    <a:cubicBezTo>
                      <a:pt x="498" y="38"/>
                      <a:pt x="498" y="38"/>
                      <a:pt x="498" y="38"/>
                    </a:cubicBezTo>
                    <a:cubicBezTo>
                      <a:pt x="506" y="41"/>
                      <a:pt x="506" y="45"/>
                      <a:pt x="498" y="47"/>
                    </a:cubicBezTo>
                    <a:cubicBezTo>
                      <a:pt x="494" y="48"/>
                      <a:pt x="494" y="48"/>
                      <a:pt x="494" y="48"/>
                    </a:cubicBezTo>
                    <a:cubicBezTo>
                      <a:pt x="486" y="51"/>
                      <a:pt x="472" y="51"/>
                      <a:pt x="463" y="48"/>
                    </a:cubicBezTo>
                    <a:cubicBezTo>
                      <a:pt x="412" y="33"/>
                      <a:pt x="412" y="33"/>
                      <a:pt x="412" y="33"/>
                    </a:cubicBezTo>
                    <a:cubicBezTo>
                      <a:pt x="412" y="85"/>
                      <a:pt x="412" y="85"/>
                      <a:pt x="412" y="85"/>
                    </a:cubicBezTo>
                    <a:cubicBezTo>
                      <a:pt x="412" y="89"/>
                      <a:pt x="402" y="91"/>
                      <a:pt x="390" y="91"/>
                    </a:cubicBezTo>
                    <a:cubicBezTo>
                      <a:pt x="386" y="91"/>
                      <a:pt x="386" y="91"/>
                      <a:pt x="386" y="91"/>
                    </a:cubicBezTo>
                    <a:cubicBezTo>
                      <a:pt x="374" y="91"/>
                      <a:pt x="364" y="89"/>
                      <a:pt x="364" y="85"/>
                    </a:cubicBezTo>
                    <a:cubicBezTo>
                      <a:pt x="364" y="33"/>
                      <a:pt x="364" y="33"/>
                      <a:pt x="364" y="33"/>
                    </a:cubicBezTo>
                    <a:cubicBezTo>
                      <a:pt x="312" y="48"/>
                      <a:pt x="312" y="48"/>
                      <a:pt x="312" y="48"/>
                    </a:cubicBezTo>
                    <a:cubicBezTo>
                      <a:pt x="303" y="51"/>
                      <a:pt x="289" y="51"/>
                      <a:pt x="281" y="48"/>
                    </a:cubicBezTo>
                    <a:cubicBezTo>
                      <a:pt x="278" y="47"/>
                      <a:pt x="278" y="47"/>
                      <a:pt x="278" y="47"/>
                    </a:cubicBezTo>
                    <a:cubicBezTo>
                      <a:pt x="269" y="45"/>
                      <a:pt x="269" y="41"/>
                      <a:pt x="278" y="38"/>
                    </a:cubicBezTo>
                    <a:close/>
                    <a:moveTo>
                      <a:pt x="215" y="136"/>
                    </a:moveTo>
                    <a:cubicBezTo>
                      <a:pt x="212" y="135"/>
                      <a:pt x="212" y="135"/>
                      <a:pt x="212" y="135"/>
                    </a:cubicBezTo>
                    <a:cubicBezTo>
                      <a:pt x="203" y="133"/>
                      <a:pt x="203" y="129"/>
                      <a:pt x="212" y="126"/>
                    </a:cubicBezTo>
                    <a:cubicBezTo>
                      <a:pt x="263" y="111"/>
                      <a:pt x="263" y="111"/>
                      <a:pt x="263" y="111"/>
                    </a:cubicBezTo>
                    <a:cubicBezTo>
                      <a:pt x="87" y="111"/>
                      <a:pt x="87" y="111"/>
                      <a:pt x="87" y="111"/>
                    </a:cubicBezTo>
                    <a:cubicBezTo>
                      <a:pt x="74" y="111"/>
                      <a:pt x="65" y="108"/>
                      <a:pt x="65" y="105"/>
                    </a:cubicBezTo>
                    <a:cubicBezTo>
                      <a:pt x="65" y="104"/>
                      <a:pt x="65" y="104"/>
                      <a:pt x="65" y="104"/>
                    </a:cubicBezTo>
                    <a:cubicBezTo>
                      <a:pt x="65" y="100"/>
                      <a:pt x="74" y="97"/>
                      <a:pt x="87" y="97"/>
                    </a:cubicBezTo>
                    <a:cubicBezTo>
                      <a:pt x="264" y="97"/>
                      <a:pt x="264" y="97"/>
                      <a:pt x="264" y="97"/>
                    </a:cubicBezTo>
                    <a:cubicBezTo>
                      <a:pt x="212" y="82"/>
                      <a:pt x="212" y="82"/>
                      <a:pt x="212" y="82"/>
                    </a:cubicBezTo>
                    <a:cubicBezTo>
                      <a:pt x="203" y="80"/>
                      <a:pt x="203" y="75"/>
                      <a:pt x="212" y="73"/>
                    </a:cubicBezTo>
                    <a:cubicBezTo>
                      <a:pt x="215" y="72"/>
                      <a:pt x="215" y="72"/>
                      <a:pt x="215" y="72"/>
                    </a:cubicBezTo>
                    <a:cubicBezTo>
                      <a:pt x="224" y="70"/>
                      <a:pt x="238" y="70"/>
                      <a:pt x="246" y="72"/>
                    </a:cubicBezTo>
                    <a:cubicBezTo>
                      <a:pt x="335" y="98"/>
                      <a:pt x="335" y="98"/>
                      <a:pt x="335" y="98"/>
                    </a:cubicBezTo>
                    <a:cubicBezTo>
                      <a:pt x="336" y="98"/>
                      <a:pt x="337" y="99"/>
                      <a:pt x="338" y="99"/>
                    </a:cubicBezTo>
                    <a:cubicBezTo>
                      <a:pt x="342" y="100"/>
                      <a:pt x="344" y="102"/>
                      <a:pt x="344" y="104"/>
                    </a:cubicBezTo>
                    <a:cubicBezTo>
                      <a:pt x="344" y="105"/>
                      <a:pt x="344" y="105"/>
                      <a:pt x="344" y="105"/>
                    </a:cubicBezTo>
                    <a:cubicBezTo>
                      <a:pt x="344" y="107"/>
                      <a:pt x="341" y="109"/>
                      <a:pt x="336" y="110"/>
                    </a:cubicBezTo>
                    <a:cubicBezTo>
                      <a:pt x="336" y="110"/>
                      <a:pt x="335" y="110"/>
                      <a:pt x="335" y="110"/>
                    </a:cubicBezTo>
                    <a:cubicBezTo>
                      <a:pt x="246" y="136"/>
                      <a:pt x="246" y="136"/>
                      <a:pt x="246" y="136"/>
                    </a:cubicBezTo>
                    <a:cubicBezTo>
                      <a:pt x="238" y="139"/>
                      <a:pt x="224" y="139"/>
                      <a:pt x="215" y="136"/>
                    </a:cubicBezTo>
                    <a:close/>
                    <a:moveTo>
                      <a:pt x="498" y="170"/>
                    </a:moveTo>
                    <a:cubicBezTo>
                      <a:pt x="409" y="196"/>
                      <a:pt x="409" y="196"/>
                      <a:pt x="409" y="196"/>
                    </a:cubicBezTo>
                    <a:cubicBezTo>
                      <a:pt x="408" y="196"/>
                      <a:pt x="408" y="196"/>
                      <a:pt x="407" y="196"/>
                    </a:cubicBezTo>
                    <a:cubicBezTo>
                      <a:pt x="403" y="198"/>
                      <a:pt x="397" y="199"/>
                      <a:pt x="390" y="199"/>
                    </a:cubicBezTo>
                    <a:cubicBezTo>
                      <a:pt x="386" y="199"/>
                      <a:pt x="386" y="199"/>
                      <a:pt x="386" y="199"/>
                    </a:cubicBezTo>
                    <a:cubicBezTo>
                      <a:pt x="380" y="199"/>
                      <a:pt x="375" y="198"/>
                      <a:pt x="371" y="197"/>
                    </a:cubicBezTo>
                    <a:cubicBezTo>
                      <a:pt x="369" y="197"/>
                      <a:pt x="368" y="196"/>
                      <a:pt x="366" y="196"/>
                    </a:cubicBezTo>
                    <a:cubicBezTo>
                      <a:pt x="278" y="170"/>
                      <a:pt x="278" y="170"/>
                      <a:pt x="278" y="170"/>
                    </a:cubicBezTo>
                    <a:cubicBezTo>
                      <a:pt x="269" y="167"/>
                      <a:pt x="269" y="163"/>
                      <a:pt x="278" y="161"/>
                    </a:cubicBezTo>
                    <a:cubicBezTo>
                      <a:pt x="281" y="160"/>
                      <a:pt x="281" y="160"/>
                      <a:pt x="281" y="160"/>
                    </a:cubicBezTo>
                    <a:cubicBezTo>
                      <a:pt x="289" y="157"/>
                      <a:pt x="303" y="157"/>
                      <a:pt x="312" y="160"/>
                    </a:cubicBezTo>
                    <a:cubicBezTo>
                      <a:pt x="364" y="175"/>
                      <a:pt x="364" y="175"/>
                      <a:pt x="364" y="175"/>
                    </a:cubicBezTo>
                    <a:cubicBezTo>
                      <a:pt x="364" y="123"/>
                      <a:pt x="364" y="123"/>
                      <a:pt x="364" y="123"/>
                    </a:cubicBezTo>
                    <a:cubicBezTo>
                      <a:pt x="364" y="120"/>
                      <a:pt x="374" y="117"/>
                      <a:pt x="386" y="117"/>
                    </a:cubicBezTo>
                    <a:cubicBezTo>
                      <a:pt x="390" y="117"/>
                      <a:pt x="390" y="117"/>
                      <a:pt x="390" y="117"/>
                    </a:cubicBezTo>
                    <a:cubicBezTo>
                      <a:pt x="402" y="117"/>
                      <a:pt x="412" y="120"/>
                      <a:pt x="412" y="123"/>
                    </a:cubicBezTo>
                    <a:cubicBezTo>
                      <a:pt x="412" y="175"/>
                      <a:pt x="412" y="175"/>
                      <a:pt x="412" y="175"/>
                    </a:cubicBezTo>
                    <a:cubicBezTo>
                      <a:pt x="463" y="160"/>
                      <a:pt x="463" y="160"/>
                      <a:pt x="463" y="160"/>
                    </a:cubicBezTo>
                    <a:cubicBezTo>
                      <a:pt x="472" y="157"/>
                      <a:pt x="486" y="157"/>
                      <a:pt x="494" y="160"/>
                    </a:cubicBezTo>
                    <a:cubicBezTo>
                      <a:pt x="498" y="161"/>
                      <a:pt x="498" y="161"/>
                      <a:pt x="498" y="161"/>
                    </a:cubicBezTo>
                    <a:cubicBezTo>
                      <a:pt x="506" y="163"/>
                      <a:pt x="506" y="167"/>
                      <a:pt x="498" y="170"/>
                    </a:cubicBezTo>
                    <a:close/>
                    <a:moveTo>
                      <a:pt x="711" y="105"/>
                    </a:moveTo>
                    <a:cubicBezTo>
                      <a:pt x="711" y="108"/>
                      <a:pt x="701" y="111"/>
                      <a:pt x="689" y="111"/>
                    </a:cubicBezTo>
                    <a:cubicBezTo>
                      <a:pt x="512" y="111"/>
                      <a:pt x="512" y="111"/>
                      <a:pt x="512" y="111"/>
                    </a:cubicBezTo>
                    <a:cubicBezTo>
                      <a:pt x="563" y="126"/>
                      <a:pt x="563" y="126"/>
                      <a:pt x="563" y="126"/>
                    </a:cubicBezTo>
                    <a:cubicBezTo>
                      <a:pt x="572" y="129"/>
                      <a:pt x="572" y="133"/>
                      <a:pt x="563" y="135"/>
                    </a:cubicBezTo>
                    <a:cubicBezTo>
                      <a:pt x="560" y="136"/>
                      <a:pt x="560" y="136"/>
                      <a:pt x="560" y="136"/>
                    </a:cubicBezTo>
                    <a:cubicBezTo>
                      <a:pt x="552" y="139"/>
                      <a:pt x="538" y="139"/>
                      <a:pt x="529" y="136"/>
                    </a:cubicBezTo>
                    <a:cubicBezTo>
                      <a:pt x="441" y="110"/>
                      <a:pt x="441" y="110"/>
                      <a:pt x="441" y="110"/>
                    </a:cubicBezTo>
                    <a:cubicBezTo>
                      <a:pt x="440" y="110"/>
                      <a:pt x="440" y="110"/>
                      <a:pt x="439" y="110"/>
                    </a:cubicBezTo>
                    <a:cubicBezTo>
                      <a:pt x="434" y="109"/>
                      <a:pt x="431" y="107"/>
                      <a:pt x="431" y="105"/>
                    </a:cubicBezTo>
                    <a:cubicBezTo>
                      <a:pt x="431" y="104"/>
                      <a:pt x="431" y="104"/>
                      <a:pt x="431" y="104"/>
                    </a:cubicBezTo>
                    <a:cubicBezTo>
                      <a:pt x="431" y="102"/>
                      <a:pt x="434" y="100"/>
                      <a:pt x="437" y="99"/>
                    </a:cubicBezTo>
                    <a:cubicBezTo>
                      <a:pt x="438" y="99"/>
                      <a:pt x="439" y="98"/>
                      <a:pt x="441" y="98"/>
                    </a:cubicBezTo>
                    <a:cubicBezTo>
                      <a:pt x="529" y="72"/>
                      <a:pt x="529" y="72"/>
                      <a:pt x="529" y="72"/>
                    </a:cubicBezTo>
                    <a:cubicBezTo>
                      <a:pt x="538" y="70"/>
                      <a:pt x="552" y="70"/>
                      <a:pt x="560" y="72"/>
                    </a:cubicBezTo>
                    <a:cubicBezTo>
                      <a:pt x="563" y="73"/>
                      <a:pt x="563" y="73"/>
                      <a:pt x="563" y="73"/>
                    </a:cubicBezTo>
                    <a:cubicBezTo>
                      <a:pt x="572" y="75"/>
                      <a:pt x="572" y="80"/>
                      <a:pt x="563" y="82"/>
                    </a:cubicBezTo>
                    <a:cubicBezTo>
                      <a:pt x="511" y="97"/>
                      <a:pt x="511" y="97"/>
                      <a:pt x="511" y="97"/>
                    </a:cubicBezTo>
                    <a:cubicBezTo>
                      <a:pt x="689" y="97"/>
                      <a:pt x="689" y="97"/>
                      <a:pt x="689" y="97"/>
                    </a:cubicBezTo>
                    <a:cubicBezTo>
                      <a:pt x="701" y="97"/>
                      <a:pt x="711" y="100"/>
                      <a:pt x="711" y="104"/>
                    </a:cubicBezTo>
                    <a:lnTo>
                      <a:pt x="711" y="10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19" name="Group 118"/>
            <p:cNvGrpSpPr>
              <a:grpSpLocks noChangeAspect="1"/>
            </p:cNvGrpSpPr>
            <p:nvPr userDrawn="1"/>
          </p:nvGrpSpPr>
          <p:grpSpPr>
            <a:xfrm>
              <a:off x="6289378" y="3805517"/>
              <a:ext cx="118872" cy="74172"/>
              <a:chOff x="4239542" y="3229492"/>
              <a:chExt cx="329989" cy="205901"/>
            </a:xfrm>
            <a:solidFill>
              <a:schemeClr val="bg1">
                <a:lumMod val="85000"/>
                <a:alpha val="30000"/>
              </a:schemeClr>
            </a:solidFill>
          </p:grpSpPr>
          <p:sp>
            <p:nvSpPr>
              <p:cNvPr id="120" name="Freeform 5"/>
              <p:cNvSpPr>
                <a:spLocks noEditPoints="1"/>
              </p:cNvSpPr>
              <p:nvPr/>
            </p:nvSpPr>
            <p:spPr bwMode="auto">
              <a:xfrm>
                <a:off x="4239542" y="3297799"/>
                <a:ext cx="329989" cy="137594"/>
              </a:xfrm>
              <a:custGeom>
                <a:avLst/>
                <a:gdLst>
                  <a:gd name="T0" fmla="*/ 706 w 711"/>
                  <a:gd name="T1" fmla="*/ 108 h 296"/>
                  <a:gd name="T2" fmla="*/ 602 w 711"/>
                  <a:gd name="T3" fmla="*/ 4 h 296"/>
                  <a:gd name="T4" fmla="*/ 592 w 711"/>
                  <a:gd name="T5" fmla="*/ 0 h 296"/>
                  <a:gd name="T6" fmla="*/ 498 w 711"/>
                  <a:gd name="T7" fmla="*/ 0 h 296"/>
                  <a:gd name="T8" fmla="*/ 484 w 711"/>
                  <a:gd name="T9" fmla="*/ 14 h 296"/>
                  <a:gd name="T10" fmla="*/ 498 w 711"/>
                  <a:gd name="T11" fmla="*/ 28 h 296"/>
                  <a:gd name="T12" fmla="*/ 586 w 711"/>
                  <a:gd name="T13" fmla="*/ 28 h 296"/>
                  <a:gd name="T14" fmla="*/ 662 w 711"/>
                  <a:gd name="T15" fmla="*/ 104 h 296"/>
                  <a:gd name="T16" fmla="*/ 343 w 711"/>
                  <a:gd name="T17" fmla="*/ 105 h 296"/>
                  <a:gd name="T18" fmla="*/ 49 w 711"/>
                  <a:gd name="T19" fmla="*/ 104 h 296"/>
                  <a:gd name="T20" fmla="*/ 125 w 711"/>
                  <a:gd name="T21" fmla="*/ 28 h 296"/>
                  <a:gd name="T22" fmla="*/ 213 w 711"/>
                  <a:gd name="T23" fmla="*/ 28 h 296"/>
                  <a:gd name="T24" fmla="*/ 227 w 711"/>
                  <a:gd name="T25" fmla="*/ 14 h 296"/>
                  <a:gd name="T26" fmla="*/ 213 w 711"/>
                  <a:gd name="T27" fmla="*/ 0 h 296"/>
                  <a:gd name="T28" fmla="*/ 119 w 711"/>
                  <a:gd name="T29" fmla="*/ 0 h 296"/>
                  <a:gd name="T30" fmla="*/ 109 w 711"/>
                  <a:gd name="T31" fmla="*/ 4 h 296"/>
                  <a:gd name="T32" fmla="*/ 5 w 711"/>
                  <a:gd name="T33" fmla="*/ 108 h 296"/>
                  <a:gd name="T34" fmla="*/ 2 w 711"/>
                  <a:gd name="T35" fmla="*/ 124 h 296"/>
                  <a:gd name="T36" fmla="*/ 15 w 711"/>
                  <a:gd name="T37" fmla="*/ 132 h 296"/>
                  <a:gd name="T38" fmla="*/ 31 w 711"/>
                  <a:gd name="T39" fmla="*/ 132 h 296"/>
                  <a:gd name="T40" fmla="*/ 31 w 711"/>
                  <a:gd name="T41" fmla="*/ 281 h 296"/>
                  <a:gd name="T42" fmla="*/ 45 w 711"/>
                  <a:gd name="T43" fmla="*/ 295 h 296"/>
                  <a:gd name="T44" fmla="*/ 336 w 711"/>
                  <a:gd name="T45" fmla="*/ 296 h 296"/>
                  <a:gd name="T46" fmla="*/ 666 w 711"/>
                  <a:gd name="T47" fmla="*/ 295 h 296"/>
                  <a:gd name="T48" fmla="*/ 680 w 711"/>
                  <a:gd name="T49" fmla="*/ 281 h 296"/>
                  <a:gd name="T50" fmla="*/ 680 w 711"/>
                  <a:gd name="T51" fmla="*/ 132 h 296"/>
                  <a:gd name="T52" fmla="*/ 696 w 711"/>
                  <a:gd name="T53" fmla="*/ 132 h 296"/>
                  <a:gd name="T54" fmla="*/ 709 w 711"/>
                  <a:gd name="T55" fmla="*/ 124 h 296"/>
                  <a:gd name="T56" fmla="*/ 706 w 711"/>
                  <a:gd name="T57" fmla="*/ 108 h 296"/>
                  <a:gd name="T58" fmla="*/ 652 w 711"/>
                  <a:gd name="T59" fmla="*/ 267 h 296"/>
                  <a:gd name="T60" fmla="*/ 336 w 711"/>
                  <a:gd name="T61" fmla="*/ 268 h 296"/>
                  <a:gd name="T62" fmla="*/ 59 w 711"/>
                  <a:gd name="T63" fmla="*/ 267 h 296"/>
                  <a:gd name="T64" fmla="*/ 59 w 711"/>
                  <a:gd name="T65" fmla="*/ 132 h 296"/>
                  <a:gd name="T66" fmla="*/ 343 w 711"/>
                  <a:gd name="T67" fmla="*/ 133 h 296"/>
                  <a:gd name="T68" fmla="*/ 652 w 711"/>
                  <a:gd name="T69" fmla="*/ 132 h 296"/>
                  <a:gd name="T70" fmla="*/ 652 w 711"/>
                  <a:gd name="T71" fmla="*/ 267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711" h="296">
                    <a:moveTo>
                      <a:pt x="706" y="108"/>
                    </a:moveTo>
                    <a:cubicBezTo>
                      <a:pt x="602" y="4"/>
                      <a:pt x="602" y="4"/>
                      <a:pt x="602" y="4"/>
                    </a:cubicBezTo>
                    <a:cubicBezTo>
                      <a:pt x="599" y="2"/>
                      <a:pt x="595" y="0"/>
                      <a:pt x="592" y="0"/>
                    </a:cubicBezTo>
                    <a:cubicBezTo>
                      <a:pt x="498" y="0"/>
                      <a:pt x="498" y="0"/>
                      <a:pt x="498" y="0"/>
                    </a:cubicBezTo>
                    <a:cubicBezTo>
                      <a:pt x="491" y="0"/>
                      <a:pt x="484" y="7"/>
                      <a:pt x="484" y="14"/>
                    </a:cubicBezTo>
                    <a:cubicBezTo>
                      <a:pt x="484" y="22"/>
                      <a:pt x="491" y="28"/>
                      <a:pt x="498" y="28"/>
                    </a:cubicBezTo>
                    <a:cubicBezTo>
                      <a:pt x="586" y="28"/>
                      <a:pt x="586" y="28"/>
                      <a:pt x="586" y="28"/>
                    </a:cubicBezTo>
                    <a:cubicBezTo>
                      <a:pt x="662" y="104"/>
                      <a:pt x="662" y="104"/>
                      <a:pt x="662" y="104"/>
                    </a:cubicBezTo>
                    <a:cubicBezTo>
                      <a:pt x="343" y="105"/>
                      <a:pt x="343" y="105"/>
                      <a:pt x="343" y="105"/>
                    </a:cubicBezTo>
                    <a:cubicBezTo>
                      <a:pt x="49" y="104"/>
                      <a:pt x="49" y="104"/>
                      <a:pt x="49" y="104"/>
                    </a:cubicBezTo>
                    <a:cubicBezTo>
                      <a:pt x="125" y="28"/>
                      <a:pt x="125" y="28"/>
                      <a:pt x="125" y="28"/>
                    </a:cubicBezTo>
                    <a:cubicBezTo>
                      <a:pt x="213" y="28"/>
                      <a:pt x="213" y="28"/>
                      <a:pt x="213" y="28"/>
                    </a:cubicBezTo>
                    <a:cubicBezTo>
                      <a:pt x="220" y="28"/>
                      <a:pt x="227" y="22"/>
                      <a:pt x="227" y="14"/>
                    </a:cubicBezTo>
                    <a:cubicBezTo>
                      <a:pt x="227" y="7"/>
                      <a:pt x="220" y="0"/>
                      <a:pt x="213" y="0"/>
                    </a:cubicBezTo>
                    <a:cubicBezTo>
                      <a:pt x="119" y="0"/>
                      <a:pt x="119" y="0"/>
                      <a:pt x="119" y="0"/>
                    </a:cubicBezTo>
                    <a:cubicBezTo>
                      <a:pt x="116" y="0"/>
                      <a:pt x="112" y="2"/>
                      <a:pt x="109" y="4"/>
                    </a:cubicBezTo>
                    <a:cubicBezTo>
                      <a:pt x="5" y="108"/>
                      <a:pt x="5" y="108"/>
                      <a:pt x="5" y="108"/>
                    </a:cubicBezTo>
                    <a:cubicBezTo>
                      <a:pt x="1" y="112"/>
                      <a:pt x="0" y="118"/>
                      <a:pt x="2" y="124"/>
                    </a:cubicBezTo>
                    <a:cubicBezTo>
                      <a:pt x="5" y="129"/>
                      <a:pt x="10" y="132"/>
                      <a:pt x="15" y="132"/>
                    </a:cubicBezTo>
                    <a:cubicBezTo>
                      <a:pt x="31" y="132"/>
                      <a:pt x="31" y="132"/>
                      <a:pt x="31" y="132"/>
                    </a:cubicBezTo>
                    <a:cubicBezTo>
                      <a:pt x="31" y="281"/>
                      <a:pt x="31" y="281"/>
                      <a:pt x="31" y="281"/>
                    </a:cubicBezTo>
                    <a:cubicBezTo>
                      <a:pt x="31" y="289"/>
                      <a:pt x="37" y="295"/>
                      <a:pt x="45" y="295"/>
                    </a:cubicBezTo>
                    <a:cubicBezTo>
                      <a:pt x="336" y="296"/>
                      <a:pt x="336" y="296"/>
                      <a:pt x="336" y="296"/>
                    </a:cubicBezTo>
                    <a:cubicBezTo>
                      <a:pt x="666" y="295"/>
                      <a:pt x="666" y="295"/>
                      <a:pt x="666" y="295"/>
                    </a:cubicBezTo>
                    <a:cubicBezTo>
                      <a:pt x="674" y="295"/>
                      <a:pt x="680" y="289"/>
                      <a:pt x="680" y="281"/>
                    </a:cubicBezTo>
                    <a:cubicBezTo>
                      <a:pt x="680" y="132"/>
                      <a:pt x="680" y="132"/>
                      <a:pt x="680" y="132"/>
                    </a:cubicBezTo>
                    <a:cubicBezTo>
                      <a:pt x="696" y="132"/>
                      <a:pt x="696" y="132"/>
                      <a:pt x="696" y="132"/>
                    </a:cubicBezTo>
                    <a:cubicBezTo>
                      <a:pt x="701" y="132"/>
                      <a:pt x="707" y="129"/>
                      <a:pt x="709" y="124"/>
                    </a:cubicBezTo>
                    <a:cubicBezTo>
                      <a:pt x="711" y="118"/>
                      <a:pt x="710" y="112"/>
                      <a:pt x="706" y="108"/>
                    </a:cubicBezTo>
                    <a:close/>
                    <a:moveTo>
                      <a:pt x="652" y="267"/>
                    </a:moveTo>
                    <a:cubicBezTo>
                      <a:pt x="336" y="268"/>
                      <a:pt x="336" y="268"/>
                      <a:pt x="336" y="268"/>
                    </a:cubicBezTo>
                    <a:cubicBezTo>
                      <a:pt x="59" y="267"/>
                      <a:pt x="59" y="267"/>
                      <a:pt x="59" y="267"/>
                    </a:cubicBezTo>
                    <a:cubicBezTo>
                      <a:pt x="59" y="132"/>
                      <a:pt x="59" y="132"/>
                      <a:pt x="59" y="132"/>
                    </a:cubicBezTo>
                    <a:cubicBezTo>
                      <a:pt x="343" y="133"/>
                      <a:pt x="343" y="133"/>
                      <a:pt x="343" y="133"/>
                    </a:cubicBezTo>
                    <a:cubicBezTo>
                      <a:pt x="652" y="132"/>
                      <a:pt x="652" y="132"/>
                      <a:pt x="652" y="132"/>
                    </a:cubicBezTo>
                    <a:lnTo>
                      <a:pt x="652" y="26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676767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21" name="Freeform 6"/>
              <p:cNvSpPr>
                <a:spLocks/>
              </p:cNvSpPr>
              <p:nvPr/>
            </p:nvSpPr>
            <p:spPr bwMode="auto">
              <a:xfrm>
                <a:off x="4408060" y="3279205"/>
                <a:ext cx="67720" cy="57542"/>
              </a:xfrm>
              <a:custGeom>
                <a:avLst/>
                <a:gdLst>
                  <a:gd name="T0" fmla="*/ 74 w 146"/>
                  <a:gd name="T1" fmla="*/ 0 h 124"/>
                  <a:gd name="T2" fmla="*/ 69 w 146"/>
                  <a:gd name="T3" fmla="*/ 4 h 124"/>
                  <a:gd name="T4" fmla="*/ 0 w 146"/>
                  <a:gd name="T5" fmla="*/ 20 h 124"/>
                  <a:gd name="T6" fmla="*/ 0 w 146"/>
                  <a:gd name="T7" fmla="*/ 124 h 124"/>
                  <a:gd name="T8" fmla="*/ 93 w 146"/>
                  <a:gd name="T9" fmla="*/ 124 h 124"/>
                  <a:gd name="T10" fmla="*/ 95 w 146"/>
                  <a:gd name="T11" fmla="*/ 101 h 124"/>
                  <a:gd name="T12" fmla="*/ 134 w 146"/>
                  <a:gd name="T13" fmla="*/ 101 h 124"/>
                  <a:gd name="T14" fmla="*/ 146 w 146"/>
                  <a:gd name="T15" fmla="*/ 90 h 124"/>
                  <a:gd name="T16" fmla="*/ 135 w 146"/>
                  <a:gd name="T17" fmla="*/ 79 h 124"/>
                  <a:gd name="T18" fmla="*/ 95 w 146"/>
                  <a:gd name="T19" fmla="*/ 79 h 124"/>
                  <a:gd name="T20" fmla="*/ 91 w 146"/>
                  <a:gd name="T21" fmla="*/ 46 h 124"/>
                  <a:gd name="T22" fmla="*/ 129 w 146"/>
                  <a:gd name="T23" fmla="*/ 29 h 124"/>
                  <a:gd name="T24" fmla="*/ 134 w 146"/>
                  <a:gd name="T25" fmla="*/ 15 h 124"/>
                  <a:gd name="T26" fmla="*/ 120 w 146"/>
                  <a:gd name="T27" fmla="*/ 9 h 124"/>
                  <a:gd name="T28" fmla="*/ 84 w 146"/>
                  <a:gd name="T29" fmla="*/ 23 h 124"/>
                  <a:gd name="T30" fmla="*/ 74 w 146"/>
                  <a:gd name="T31" fmla="*/ 0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46" h="124">
                    <a:moveTo>
                      <a:pt x="74" y="0"/>
                    </a:moveTo>
                    <a:cubicBezTo>
                      <a:pt x="72" y="1"/>
                      <a:pt x="70" y="2"/>
                      <a:pt x="69" y="4"/>
                    </a:cubicBezTo>
                    <a:cubicBezTo>
                      <a:pt x="50" y="13"/>
                      <a:pt x="27" y="20"/>
                      <a:pt x="0" y="20"/>
                    </a:cubicBezTo>
                    <a:cubicBezTo>
                      <a:pt x="0" y="63"/>
                      <a:pt x="0" y="97"/>
                      <a:pt x="0" y="124"/>
                    </a:cubicBezTo>
                    <a:cubicBezTo>
                      <a:pt x="93" y="124"/>
                      <a:pt x="93" y="124"/>
                      <a:pt x="93" y="124"/>
                    </a:cubicBezTo>
                    <a:cubicBezTo>
                      <a:pt x="94" y="117"/>
                      <a:pt x="95" y="109"/>
                      <a:pt x="95" y="101"/>
                    </a:cubicBezTo>
                    <a:cubicBezTo>
                      <a:pt x="134" y="101"/>
                      <a:pt x="134" y="101"/>
                      <a:pt x="134" y="101"/>
                    </a:cubicBezTo>
                    <a:cubicBezTo>
                      <a:pt x="141" y="101"/>
                      <a:pt x="145" y="95"/>
                      <a:pt x="146" y="90"/>
                    </a:cubicBezTo>
                    <a:cubicBezTo>
                      <a:pt x="146" y="83"/>
                      <a:pt x="141" y="79"/>
                      <a:pt x="135" y="79"/>
                    </a:cubicBezTo>
                    <a:cubicBezTo>
                      <a:pt x="95" y="79"/>
                      <a:pt x="95" y="79"/>
                      <a:pt x="95" y="79"/>
                    </a:cubicBezTo>
                    <a:cubicBezTo>
                      <a:pt x="95" y="67"/>
                      <a:pt x="93" y="56"/>
                      <a:pt x="91" y="46"/>
                    </a:cubicBezTo>
                    <a:cubicBezTo>
                      <a:pt x="129" y="29"/>
                      <a:pt x="129" y="29"/>
                      <a:pt x="129" y="29"/>
                    </a:cubicBezTo>
                    <a:cubicBezTo>
                      <a:pt x="134" y="27"/>
                      <a:pt x="136" y="20"/>
                      <a:pt x="134" y="15"/>
                    </a:cubicBezTo>
                    <a:cubicBezTo>
                      <a:pt x="132" y="9"/>
                      <a:pt x="125" y="7"/>
                      <a:pt x="120" y="9"/>
                    </a:cubicBezTo>
                    <a:cubicBezTo>
                      <a:pt x="84" y="23"/>
                      <a:pt x="84" y="23"/>
                      <a:pt x="84" y="23"/>
                    </a:cubicBezTo>
                    <a:cubicBezTo>
                      <a:pt x="82" y="16"/>
                      <a:pt x="79" y="8"/>
                      <a:pt x="7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676767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22" name="Freeform 7"/>
              <p:cNvSpPr>
                <a:spLocks/>
              </p:cNvSpPr>
              <p:nvPr/>
            </p:nvSpPr>
            <p:spPr bwMode="auto">
              <a:xfrm>
                <a:off x="4333685" y="3279205"/>
                <a:ext cx="68307" cy="57542"/>
              </a:xfrm>
              <a:custGeom>
                <a:avLst/>
                <a:gdLst>
                  <a:gd name="T0" fmla="*/ 11 w 147"/>
                  <a:gd name="T1" fmla="*/ 101 h 124"/>
                  <a:gd name="T2" fmla="*/ 52 w 147"/>
                  <a:gd name="T3" fmla="*/ 101 h 124"/>
                  <a:gd name="T4" fmla="*/ 54 w 147"/>
                  <a:gd name="T5" fmla="*/ 124 h 124"/>
                  <a:gd name="T6" fmla="*/ 147 w 147"/>
                  <a:gd name="T7" fmla="*/ 124 h 124"/>
                  <a:gd name="T8" fmla="*/ 147 w 147"/>
                  <a:gd name="T9" fmla="*/ 20 h 124"/>
                  <a:gd name="T10" fmla="*/ 78 w 147"/>
                  <a:gd name="T11" fmla="*/ 4 h 124"/>
                  <a:gd name="T12" fmla="*/ 73 w 147"/>
                  <a:gd name="T13" fmla="*/ 0 h 124"/>
                  <a:gd name="T14" fmla="*/ 62 w 147"/>
                  <a:gd name="T15" fmla="*/ 25 h 124"/>
                  <a:gd name="T16" fmla="*/ 25 w 147"/>
                  <a:gd name="T17" fmla="*/ 9 h 124"/>
                  <a:gd name="T18" fmla="*/ 11 w 147"/>
                  <a:gd name="T19" fmla="*/ 15 h 124"/>
                  <a:gd name="T20" fmla="*/ 18 w 147"/>
                  <a:gd name="T21" fmla="*/ 29 h 124"/>
                  <a:gd name="T22" fmla="*/ 56 w 147"/>
                  <a:gd name="T23" fmla="*/ 46 h 124"/>
                  <a:gd name="T24" fmla="*/ 52 w 147"/>
                  <a:gd name="T25" fmla="*/ 79 h 124"/>
                  <a:gd name="T26" fmla="*/ 11 w 147"/>
                  <a:gd name="T27" fmla="*/ 79 h 124"/>
                  <a:gd name="T28" fmla="*/ 0 w 147"/>
                  <a:gd name="T29" fmla="*/ 90 h 124"/>
                  <a:gd name="T30" fmla="*/ 11 w 147"/>
                  <a:gd name="T31" fmla="*/ 101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47" h="124">
                    <a:moveTo>
                      <a:pt x="11" y="101"/>
                    </a:moveTo>
                    <a:cubicBezTo>
                      <a:pt x="52" y="101"/>
                      <a:pt x="52" y="101"/>
                      <a:pt x="52" y="101"/>
                    </a:cubicBezTo>
                    <a:cubicBezTo>
                      <a:pt x="52" y="109"/>
                      <a:pt x="53" y="117"/>
                      <a:pt x="54" y="124"/>
                    </a:cubicBezTo>
                    <a:cubicBezTo>
                      <a:pt x="147" y="124"/>
                      <a:pt x="147" y="124"/>
                      <a:pt x="147" y="124"/>
                    </a:cubicBezTo>
                    <a:cubicBezTo>
                      <a:pt x="147" y="20"/>
                      <a:pt x="147" y="20"/>
                      <a:pt x="147" y="20"/>
                    </a:cubicBezTo>
                    <a:cubicBezTo>
                      <a:pt x="120" y="20"/>
                      <a:pt x="97" y="13"/>
                      <a:pt x="78" y="4"/>
                    </a:cubicBezTo>
                    <a:cubicBezTo>
                      <a:pt x="77" y="2"/>
                      <a:pt x="75" y="1"/>
                      <a:pt x="73" y="0"/>
                    </a:cubicBezTo>
                    <a:cubicBezTo>
                      <a:pt x="68" y="8"/>
                      <a:pt x="65" y="16"/>
                      <a:pt x="62" y="25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0" y="7"/>
                      <a:pt x="13" y="9"/>
                      <a:pt x="11" y="15"/>
                    </a:cubicBezTo>
                    <a:cubicBezTo>
                      <a:pt x="9" y="20"/>
                      <a:pt x="12" y="27"/>
                      <a:pt x="18" y="29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4" y="57"/>
                      <a:pt x="52" y="68"/>
                      <a:pt x="52" y="79"/>
                    </a:cubicBezTo>
                    <a:cubicBezTo>
                      <a:pt x="11" y="79"/>
                      <a:pt x="11" y="79"/>
                      <a:pt x="11" y="79"/>
                    </a:cubicBezTo>
                    <a:cubicBezTo>
                      <a:pt x="4" y="79"/>
                      <a:pt x="0" y="83"/>
                      <a:pt x="0" y="90"/>
                    </a:cubicBezTo>
                    <a:cubicBezTo>
                      <a:pt x="0" y="95"/>
                      <a:pt x="4" y="101"/>
                      <a:pt x="11" y="10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676767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23" name="Freeform 8"/>
              <p:cNvSpPr>
                <a:spLocks/>
              </p:cNvSpPr>
              <p:nvPr/>
            </p:nvSpPr>
            <p:spPr bwMode="auto">
              <a:xfrm>
                <a:off x="4355998" y="3229492"/>
                <a:ext cx="97079" cy="53432"/>
              </a:xfrm>
              <a:custGeom>
                <a:avLst/>
                <a:gdLst>
                  <a:gd name="T0" fmla="*/ 19 w 209"/>
                  <a:gd name="T1" fmla="*/ 39 h 115"/>
                  <a:gd name="T2" fmla="*/ 24 w 209"/>
                  <a:gd name="T3" fmla="*/ 39 h 115"/>
                  <a:gd name="T4" fmla="*/ 52 w 209"/>
                  <a:gd name="T5" fmla="*/ 73 h 115"/>
                  <a:gd name="T6" fmla="*/ 33 w 209"/>
                  <a:gd name="T7" fmla="*/ 96 h 115"/>
                  <a:gd name="T8" fmla="*/ 37 w 209"/>
                  <a:gd name="T9" fmla="*/ 99 h 115"/>
                  <a:gd name="T10" fmla="*/ 106 w 209"/>
                  <a:gd name="T11" fmla="*/ 115 h 115"/>
                  <a:gd name="T12" fmla="*/ 174 w 209"/>
                  <a:gd name="T13" fmla="*/ 99 h 115"/>
                  <a:gd name="T14" fmla="*/ 179 w 209"/>
                  <a:gd name="T15" fmla="*/ 96 h 115"/>
                  <a:gd name="T16" fmla="*/ 156 w 209"/>
                  <a:gd name="T17" fmla="*/ 72 h 115"/>
                  <a:gd name="T18" fmla="*/ 185 w 209"/>
                  <a:gd name="T19" fmla="*/ 39 h 115"/>
                  <a:gd name="T20" fmla="*/ 189 w 209"/>
                  <a:gd name="T21" fmla="*/ 39 h 115"/>
                  <a:gd name="T22" fmla="*/ 209 w 209"/>
                  <a:gd name="T23" fmla="*/ 19 h 115"/>
                  <a:gd name="T24" fmla="*/ 189 w 209"/>
                  <a:gd name="T25" fmla="*/ 0 h 115"/>
                  <a:gd name="T26" fmla="*/ 170 w 209"/>
                  <a:gd name="T27" fmla="*/ 19 h 115"/>
                  <a:gd name="T28" fmla="*/ 172 w 209"/>
                  <a:gd name="T29" fmla="*/ 28 h 115"/>
                  <a:gd name="T30" fmla="*/ 142 w 209"/>
                  <a:gd name="T31" fmla="*/ 62 h 115"/>
                  <a:gd name="T32" fmla="*/ 106 w 209"/>
                  <a:gd name="T33" fmla="*/ 53 h 115"/>
                  <a:gd name="T34" fmla="*/ 67 w 209"/>
                  <a:gd name="T35" fmla="*/ 63 h 115"/>
                  <a:gd name="T36" fmla="*/ 37 w 209"/>
                  <a:gd name="T37" fmla="*/ 28 h 115"/>
                  <a:gd name="T38" fmla="*/ 39 w 209"/>
                  <a:gd name="T39" fmla="*/ 19 h 115"/>
                  <a:gd name="T40" fmla="*/ 19 w 209"/>
                  <a:gd name="T41" fmla="*/ 0 h 115"/>
                  <a:gd name="T42" fmla="*/ 0 w 209"/>
                  <a:gd name="T43" fmla="*/ 19 h 115"/>
                  <a:gd name="T44" fmla="*/ 19 w 209"/>
                  <a:gd name="T45" fmla="*/ 3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09" h="115">
                    <a:moveTo>
                      <a:pt x="19" y="39"/>
                    </a:moveTo>
                    <a:cubicBezTo>
                      <a:pt x="21" y="39"/>
                      <a:pt x="22" y="39"/>
                      <a:pt x="24" y="39"/>
                    </a:cubicBezTo>
                    <a:cubicBezTo>
                      <a:pt x="52" y="73"/>
                      <a:pt x="52" y="73"/>
                      <a:pt x="52" y="73"/>
                    </a:cubicBezTo>
                    <a:cubicBezTo>
                      <a:pt x="45" y="80"/>
                      <a:pt x="38" y="87"/>
                      <a:pt x="33" y="96"/>
                    </a:cubicBezTo>
                    <a:cubicBezTo>
                      <a:pt x="34" y="97"/>
                      <a:pt x="35" y="98"/>
                      <a:pt x="37" y="99"/>
                    </a:cubicBezTo>
                    <a:cubicBezTo>
                      <a:pt x="55" y="108"/>
                      <a:pt x="79" y="115"/>
                      <a:pt x="106" y="115"/>
                    </a:cubicBezTo>
                    <a:cubicBezTo>
                      <a:pt x="132" y="115"/>
                      <a:pt x="156" y="108"/>
                      <a:pt x="174" y="99"/>
                    </a:cubicBezTo>
                    <a:cubicBezTo>
                      <a:pt x="176" y="98"/>
                      <a:pt x="177" y="97"/>
                      <a:pt x="179" y="96"/>
                    </a:cubicBezTo>
                    <a:cubicBezTo>
                      <a:pt x="173" y="86"/>
                      <a:pt x="165" y="78"/>
                      <a:pt x="156" y="72"/>
                    </a:cubicBezTo>
                    <a:cubicBezTo>
                      <a:pt x="177" y="49"/>
                      <a:pt x="183" y="41"/>
                      <a:pt x="185" y="39"/>
                    </a:cubicBezTo>
                    <a:cubicBezTo>
                      <a:pt x="187" y="39"/>
                      <a:pt x="188" y="39"/>
                      <a:pt x="189" y="39"/>
                    </a:cubicBezTo>
                    <a:cubicBezTo>
                      <a:pt x="200" y="39"/>
                      <a:pt x="209" y="30"/>
                      <a:pt x="209" y="19"/>
                    </a:cubicBezTo>
                    <a:cubicBezTo>
                      <a:pt x="209" y="9"/>
                      <a:pt x="200" y="0"/>
                      <a:pt x="189" y="0"/>
                    </a:cubicBezTo>
                    <a:cubicBezTo>
                      <a:pt x="178" y="0"/>
                      <a:pt x="170" y="9"/>
                      <a:pt x="170" y="19"/>
                    </a:cubicBezTo>
                    <a:cubicBezTo>
                      <a:pt x="170" y="23"/>
                      <a:pt x="170" y="25"/>
                      <a:pt x="172" y="28"/>
                    </a:cubicBezTo>
                    <a:cubicBezTo>
                      <a:pt x="142" y="62"/>
                      <a:pt x="142" y="62"/>
                      <a:pt x="142" y="62"/>
                    </a:cubicBezTo>
                    <a:cubicBezTo>
                      <a:pt x="131" y="56"/>
                      <a:pt x="119" y="53"/>
                      <a:pt x="106" y="53"/>
                    </a:cubicBezTo>
                    <a:cubicBezTo>
                      <a:pt x="92" y="53"/>
                      <a:pt x="79" y="56"/>
                      <a:pt x="67" y="63"/>
                    </a:cubicBezTo>
                    <a:cubicBezTo>
                      <a:pt x="45" y="38"/>
                      <a:pt x="38" y="30"/>
                      <a:pt x="37" y="28"/>
                    </a:cubicBezTo>
                    <a:cubicBezTo>
                      <a:pt x="38" y="26"/>
                      <a:pt x="39" y="23"/>
                      <a:pt x="39" y="19"/>
                    </a:cubicBezTo>
                    <a:cubicBezTo>
                      <a:pt x="39" y="9"/>
                      <a:pt x="30" y="0"/>
                      <a:pt x="19" y="0"/>
                    </a:cubicBezTo>
                    <a:cubicBezTo>
                      <a:pt x="8" y="0"/>
                      <a:pt x="0" y="9"/>
                      <a:pt x="0" y="19"/>
                    </a:cubicBezTo>
                    <a:cubicBezTo>
                      <a:pt x="0" y="30"/>
                      <a:pt x="8" y="39"/>
                      <a:pt x="19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676767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24" name="Group 123"/>
            <p:cNvGrpSpPr>
              <a:grpSpLocks noChangeAspect="1"/>
            </p:cNvGrpSpPr>
            <p:nvPr userDrawn="1"/>
          </p:nvGrpSpPr>
          <p:grpSpPr>
            <a:xfrm>
              <a:off x="3729622" y="4064138"/>
              <a:ext cx="118872" cy="118973"/>
              <a:chOff x="4625056" y="2061397"/>
              <a:chExt cx="269544" cy="269774"/>
            </a:xfrm>
            <a:solidFill>
              <a:schemeClr val="bg1">
                <a:lumMod val="85000"/>
                <a:alpha val="30000"/>
              </a:schemeClr>
            </a:solidFill>
          </p:grpSpPr>
          <p:sp>
            <p:nvSpPr>
              <p:cNvPr id="125" name="Freeform 5"/>
              <p:cNvSpPr>
                <a:spLocks noEditPoints="1"/>
              </p:cNvSpPr>
              <p:nvPr/>
            </p:nvSpPr>
            <p:spPr bwMode="auto">
              <a:xfrm>
                <a:off x="4625056" y="2061397"/>
                <a:ext cx="269544" cy="269774"/>
              </a:xfrm>
              <a:custGeom>
                <a:avLst/>
                <a:gdLst>
                  <a:gd name="T0" fmla="*/ 614 w 632"/>
                  <a:gd name="T1" fmla="*/ 299 h 633"/>
                  <a:gd name="T2" fmla="*/ 586 w 632"/>
                  <a:gd name="T3" fmla="*/ 299 h 633"/>
                  <a:gd name="T4" fmla="*/ 334 w 632"/>
                  <a:gd name="T5" fmla="*/ 48 h 633"/>
                  <a:gd name="T6" fmla="*/ 334 w 632"/>
                  <a:gd name="T7" fmla="*/ 18 h 633"/>
                  <a:gd name="T8" fmla="*/ 316 w 632"/>
                  <a:gd name="T9" fmla="*/ 0 h 633"/>
                  <a:gd name="T10" fmla="*/ 298 w 632"/>
                  <a:gd name="T11" fmla="*/ 18 h 633"/>
                  <a:gd name="T12" fmla="*/ 298 w 632"/>
                  <a:gd name="T13" fmla="*/ 48 h 633"/>
                  <a:gd name="T14" fmla="*/ 46 w 632"/>
                  <a:gd name="T15" fmla="*/ 299 h 633"/>
                  <a:gd name="T16" fmla="*/ 18 w 632"/>
                  <a:gd name="T17" fmla="*/ 299 h 633"/>
                  <a:gd name="T18" fmla="*/ 0 w 632"/>
                  <a:gd name="T19" fmla="*/ 317 h 633"/>
                  <a:gd name="T20" fmla="*/ 18 w 632"/>
                  <a:gd name="T21" fmla="*/ 335 h 633"/>
                  <a:gd name="T22" fmla="*/ 46 w 632"/>
                  <a:gd name="T23" fmla="*/ 335 h 633"/>
                  <a:gd name="T24" fmla="*/ 298 w 632"/>
                  <a:gd name="T25" fmla="*/ 587 h 633"/>
                  <a:gd name="T26" fmla="*/ 298 w 632"/>
                  <a:gd name="T27" fmla="*/ 615 h 633"/>
                  <a:gd name="T28" fmla="*/ 316 w 632"/>
                  <a:gd name="T29" fmla="*/ 633 h 633"/>
                  <a:gd name="T30" fmla="*/ 334 w 632"/>
                  <a:gd name="T31" fmla="*/ 615 h 633"/>
                  <a:gd name="T32" fmla="*/ 334 w 632"/>
                  <a:gd name="T33" fmla="*/ 587 h 633"/>
                  <a:gd name="T34" fmla="*/ 586 w 632"/>
                  <a:gd name="T35" fmla="*/ 335 h 633"/>
                  <a:gd name="T36" fmla="*/ 614 w 632"/>
                  <a:gd name="T37" fmla="*/ 335 h 633"/>
                  <a:gd name="T38" fmla="*/ 632 w 632"/>
                  <a:gd name="T39" fmla="*/ 317 h 633"/>
                  <a:gd name="T40" fmla="*/ 614 w 632"/>
                  <a:gd name="T41" fmla="*/ 299 h 633"/>
                  <a:gd name="T42" fmla="*/ 334 w 632"/>
                  <a:gd name="T43" fmla="*/ 559 h 633"/>
                  <a:gd name="T44" fmla="*/ 334 w 632"/>
                  <a:gd name="T45" fmla="*/ 531 h 633"/>
                  <a:gd name="T46" fmla="*/ 316 w 632"/>
                  <a:gd name="T47" fmla="*/ 513 h 633"/>
                  <a:gd name="T48" fmla="*/ 298 w 632"/>
                  <a:gd name="T49" fmla="*/ 531 h 633"/>
                  <a:gd name="T50" fmla="*/ 298 w 632"/>
                  <a:gd name="T51" fmla="*/ 559 h 633"/>
                  <a:gd name="T52" fmla="*/ 74 w 632"/>
                  <a:gd name="T53" fmla="*/ 335 h 633"/>
                  <a:gd name="T54" fmla="*/ 101 w 632"/>
                  <a:gd name="T55" fmla="*/ 335 h 633"/>
                  <a:gd name="T56" fmla="*/ 119 w 632"/>
                  <a:gd name="T57" fmla="*/ 317 h 633"/>
                  <a:gd name="T58" fmla="*/ 101 w 632"/>
                  <a:gd name="T59" fmla="*/ 299 h 633"/>
                  <a:gd name="T60" fmla="*/ 75 w 632"/>
                  <a:gd name="T61" fmla="*/ 299 h 633"/>
                  <a:gd name="T62" fmla="*/ 298 w 632"/>
                  <a:gd name="T63" fmla="*/ 76 h 633"/>
                  <a:gd name="T64" fmla="*/ 298 w 632"/>
                  <a:gd name="T65" fmla="*/ 102 h 633"/>
                  <a:gd name="T66" fmla="*/ 316 w 632"/>
                  <a:gd name="T67" fmla="*/ 120 h 633"/>
                  <a:gd name="T68" fmla="*/ 334 w 632"/>
                  <a:gd name="T69" fmla="*/ 102 h 633"/>
                  <a:gd name="T70" fmla="*/ 334 w 632"/>
                  <a:gd name="T71" fmla="*/ 76 h 633"/>
                  <a:gd name="T72" fmla="*/ 558 w 632"/>
                  <a:gd name="T73" fmla="*/ 299 h 633"/>
                  <a:gd name="T74" fmla="*/ 531 w 632"/>
                  <a:gd name="T75" fmla="*/ 299 h 633"/>
                  <a:gd name="T76" fmla="*/ 513 w 632"/>
                  <a:gd name="T77" fmla="*/ 317 h 633"/>
                  <a:gd name="T78" fmla="*/ 531 w 632"/>
                  <a:gd name="T79" fmla="*/ 335 h 633"/>
                  <a:gd name="T80" fmla="*/ 558 w 632"/>
                  <a:gd name="T81" fmla="*/ 335 h 633"/>
                  <a:gd name="T82" fmla="*/ 334 w 632"/>
                  <a:gd name="T83" fmla="*/ 559 h 6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32" h="633">
                    <a:moveTo>
                      <a:pt x="614" y="299"/>
                    </a:moveTo>
                    <a:cubicBezTo>
                      <a:pt x="586" y="299"/>
                      <a:pt x="586" y="299"/>
                      <a:pt x="586" y="299"/>
                    </a:cubicBezTo>
                    <a:cubicBezTo>
                      <a:pt x="576" y="164"/>
                      <a:pt x="469" y="57"/>
                      <a:pt x="334" y="48"/>
                    </a:cubicBezTo>
                    <a:cubicBezTo>
                      <a:pt x="334" y="18"/>
                      <a:pt x="334" y="18"/>
                      <a:pt x="334" y="18"/>
                    </a:cubicBezTo>
                    <a:cubicBezTo>
                      <a:pt x="334" y="9"/>
                      <a:pt x="326" y="0"/>
                      <a:pt x="316" y="0"/>
                    </a:cubicBezTo>
                    <a:cubicBezTo>
                      <a:pt x="306" y="0"/>
                      <a:pt x="298" y="9"/>
                      <a:pt x="298" y="18"/>
                    </a:cubicBezTo>
                    <a:cubicBezTo>
                      <a:pt x="298" y="48"/>
                      <a:pt x="298" y="48"/>
                      <a:pt x="298" y="48"/>
                    </a:cubicBezTo>
                    <a:cubicBezTo>
                      <a:pt x="164" y="57"/>
                      <a:pt x="56" y="164"/>
                      <a:pt x="46" y="299"/>
                    </a:cubicBezTo>
                    <a:cubicBezTo>
                      <a:pt x="18" y="299"/>
                      <a:pt x="18" y="299"/>
                      <a:pt x="18" y="299"/>
                    </a:cubicBezTo>
                    <a:cubicBezTo>
                      <a:pt x="8" y="299"/>
                      <a:pt x="0" y="307"/>
                      <a:pt x="0" y="317"/>
                    </a:cubicBezTo>
                    <a:cubicBezTo>
                      <a:pt x="0" y="327"/>
                      <a:pt x="8" y="335"/>
                      <a:pt x="18" y="335"/>
                    </a:cubicBezTo>
                    <a:cubicBezTo>
                      <a:pt x="46" y="335"/>
                      <a:pt x="46" y="335"/>
                      <a:pt x="46" y="335"/>
                    </a:cubicBezTo>
                    <a:cubicBezTo>
                      <a:pt x="55" y="470"/>
                      <a:pt x="163" y="578"/>
                      <a:pt x="298" y="587"/>
                    </a:cubicBezTo>
                    <a:cubicBezTo>
                      <a:pt x="298" y="615"/>
                      <a:pt x="298" y="615"/>
                      <a:pt x="298" y="615"/>
                    </a:cubicBezTo>
                    <a:cubicBezTo>
                      <a:pt x="298" y="625"/>
                      <a:pt x="306" y="633"/>
                      <a:pt x="316" y="633"/>
                    </a:cubicBezTo>
                    <a:cubicBezTo>
                      <a:pt x="326" y="633"/>
                      <a:pt x="334" y="625"/>
                      <a:pt x="334" y="615"/>
                    </a:cubicBezTo>
                    <a:cubicBezTo>
                      <a:pt x="334" y="587"/>
                      <a:pt x="334" y="587"/>
                      <a:pt x="334" y="587"/>
                    </a:cubicBezTo>
                    <a:cubicBezTo>
                      <a:pt x="469" y="578"/>
                      <a:pt x="577" y="470"/>
                      <a:pt x="586" y="335"/>
                    </a:cubicBezTo>
                    <a:cubicBezTo>
                      <a:pt x="614" y="335"/>
                      <a:pt x="614" y="335"/>
                      <a:pt x="614" y="335"/>
                    </a:cubicBezTo>
                    <a:cubicBezTo>
                      <a:pt x="624" y="335"/>
                      <a:pt x="632" y="327"/>
                      <a:pt x="632" y="317"/>
                    </a:cubicBezTo>
                    <a:cubicBezTo>
                      <a:pt x="632" y="307"/>
                      <a:pt x="624" y="299"/>
                      <a:pt x="614" y="299"/>
                    </a:cubicBezTo>
                    <a:close/>
                    <a:moveTo>
                      <a:pt x="334" y="559"/>
                    </a:moveTo>
                    <a:cubicBezTo>
                      <a:pt x="334" y="531"/>
                      <a:pt x="334" y="531"/>
                      <a:pt x="334" y="531"/>
                    </a:cubicBezTo>
                    <a:cubicBezTo>
                      <a:pt x="334" y="522"/>
                      <a:pt x="326" y="513"/>
                      <a:pt x="316" y="513"/>
                    </a:cubicBezTo>
                    <a:cubicBezTo>
                      <a:pt x="306" y="513"/>
                      <a:pt x="298" y="522"/>
                      <a:pt x="298" y="531"/>
                    </a:cubicBezTo>
                    <a:cubicBezTo>
                      <a:pt x="298" y="559"/>
                      <a:pt x="298" y="559"/>
                      <a:pt x="298" y="559"/>
                    </a:cubicBezTo>
                    <a:cubicBezTo>
                      <a:pt x="179" y="550"/>
                      <a:pt x="83" y="454"/>
                      <a:pt x="74" y="335"/>
                    </a:cubicBezTo>
                    <a:cubicBezTo>
                      <a:pt x="101" y="335"/>
                      <a:pt x="101" y="335"/>
                      <a:pt x="101" y="335"/>
                    </a:cubicBezTo>
                    <a:cubicBezTo>
                      <a:pt x="111" y="335"/>
                      <a:pt x="119" y="327"/>
                      <a:pt x="119" y="317"/>
                    </a:cubicBezTo>
                    <a:cubicBezTo>
                      <a:pt x="119" y="307"/>
                      <a:pt x="111" y="299"/>
                      <a:pt x="101" y="299"/>
                    </a:cubicBezTo>
                    <a:cubicBezTo>
                      <a:pt x="75" y="299"/>
                      <a:pt x="75" y="299"/>
                      <a:pt x="75" y="299"/>
                    </a:cubicBezTo>
                    <a:cubicBezTo>
                      <a:pt x="84" y="180"/>
                      <a:pt x="179" y="85"/>
                      <a:pt x="298" y="76"/>
                    </a:cubicBezTo>
                    <a:cubicBezTo>
                      <a:pt x="298" y="102"/>
                      <a:pt x="298" y="102"/>
                      <a:pt x="298" y="102"/>
                    </a:cubicBezTo>
                    <a:cubicBezTo>
                      <a:pt x="298" y="112"/>
                      <a:pt x="306" y="120"/>
                      <a:pt x="316" y="120"/>
                    </a:cubicBezTo>
                    <a:cubicBezTo>
                      <a:pt x="326" y="120"/>
                      <a:pt x="334" y="112"/>
                      <a:pt x="334" y="102"/>
                    </a:cubicBezTo>
                    <a:cubicBezTo>
                      <a:pt x="334" y="76"/>
                      <a:pt x="334" y="76"/>
                      <a:pt x="334" y="76"/>
                    </a:cubicBezTo>
                    <a:cubicBezTo>
                      <a:pt x="453" y="85"/>
                      <a:pt x="549" y="180"/>
                      <a:pt x="558" y="299"/>
                    </a:cubicBezTo>
                    <a:cubicBezTo>
                      <a:pt x="531" y="299"/>
                      <a:pt x="531" y="299"/>
                      <a:pt x="531" y="299"/>
                    </a:cubicBezTo>
                    <a:cubicBezTo>
                      <a:pt x="521" y="299"/>
                      <a:pt x="513" y="307"/>
                      <a:pt x="513" y="317"/>
                    </a:cubicBezTo>
                    <a:cubicBezTo>
                      <a:pt x="513" y="327"/>
                      <a:pt x="521" y="335"/>
                      <a:pt x="531" y="335"/>
                    </a:cubicBezTo>
                    <a:cubicBezTo>
                      <a:pt x="558" y="335"/>
                      <a:pt x="558" y="335"/>
                      <a:pt x="558" y="335"/>
                    </a:cubicBezTo>
                    <a:cubicBezTo>
                      <a:pt x="549" y="454"/>
                      <a:pt x="453" y="550"/>
                      <a:pt x="334" y="5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FFFFFF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26" name="Freeform 6"/>
              <p:cNvSpPr>
                <a:spLocks/>
              </p:cNvSpPr>
              <p:nvPr/>
            </p:nvSpPr>
            <p:spPr bwMode="auto">
              <a:xfrm>
                <a:off x="4694682" y="2165722"/>
                <a:ext cx="62503" cy="96053"/>
              </a:xfrm>
              <a:custGeom>
                <a:avLst/>
                <a:gdLst>
                  <a:gd name="T0" fmla="*/ 73 w 147"/>
                  <a:gd name="T1" fmla="*/ 0 h 225"/>
                  <a:gd name="T2" fmla="*/ 62 w 147"/>
                  <a:gd name="T3" fmla="*/ 25 h 225"/>
                  <a:gd name="T4" fmla="*/ 25 w 147"/>
                  <a:gd name="T5" fmla="*/ 9 h 225"/>
                  <a:gd name="T6" fmla="*/ 11 w 147"/>
                  <a:gd name="T7" fmla="*/ 15 h 225"/>
                  <a:gd name="T8" fmla="*/ 18 w 147"/>
                  <a:gd name="T9" fmla="*/ 29 h 225"/>
                  <a:gd name="T10" fmla="*/ 56 w 147"/>
                  <a:gd name="T11" fmla="*/ 46 h 225"/>
                  <a:gd name="T12" fmla="*/ 52 w 147"/>
                  <a:gd name="T13" fmla="*/ 79 h 225"/>
                  <a:gd name="T14" fmla="*/ 11 w 147"/>
                  <a:gd name="T15" fmla="*/ 79 h 225"/>
                  <a:gd name="T16" fmla="*/ 0 w 147"/>
                  <a:gd name="T17" fmla="*/ 90 h 225"/>
                  <a:gd name="T18" fmla="*/ 11 w 147"/>
                  <a:gd name="T19" fmla="*/ 101 h 225"/>
                  <a:gd name="T20" fmla="*/ 52 w 147"/>
                  <a:gd name="T21" fmla="*/ 101 h 225"/>
                  <a:gd name="T22" fmla="*/ 56 w 147"/>
                  <a:gd name="T23" fmla="*/ 134 h 225"/>
                  <a:gd name="T24" fmla="*/ 18 w 147"/>
                  <a:gd name="T25" fmla="*/ 151 h 225"/>
                  <a:gd name="T26" fmla="*/ 11 w 147"/>
                  <a:gd name="T27" fmla="*/ 166 h 225"/>
                  <a:gd name="T28" fmla="*/ 22 w 147"/>
                  <a:gd name="T29" fmla="*/ 173 h 225"/>
                  <a:gd name="T30" fmla="*/ 25 w 147"/>
                  <a:gd name="T31" fmla="*/ 172 h 225"/>
                  <a:gd name="T32" fmla="*/ 64 w 147"/>
                  <a:gd name="T33" fmla="*/ 155 h 225"/>
                  <a:gd name="T34" fmla="*/ 147 w 147"/>
                  <a:gd name="T35" fmla="*/ 225 h 225"/>
                  <a:gd name="T36" fmla="*/ 147 w 147"/>
                  <a:gd name="T37" fmla="*/ 20 h 225"/>
                  <a:gd name="T38" fmla="*/ 78 w 147"/>
                  <a:gd name="T39" fmla="*/ 4 h 225"/>
                  <a:gd name="T40" fmla="*/ 73 w 147"/>
                  <a:gd name="T41" fmla="*/ 0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47" h="225">
                    <a:moveTo>
                      <a:pt x="73" y="0"/>
                    </a:moveTo>
                    <a:cubicBezTo>
                      <a:pt x="68" y="8"/>
                      <a:pt x="65" y="16"/>
                      <a:pt x="62" y="25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0" y="7"/>
                      <a:pt x="13" y="9"/>
                      <a:pt x="11" y="15"/>
                    </a:cubicBezTo>
                    <a:cubicBezTo>
                      <a:pt x="9" y="20"/>
                      <a:pt x="12" y="27"/>
                      <a:pt x="18" y="29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4" y="57"/>
                      <a:pt x="52" y="68"/>
                      <a:pt x="52" y="79"/>
                    </a:cubicBezTo>
                    <a:cubicBezTo>
                      <a:pt x="11" y="79"/>
                      <a:pt x="11" y="79"/>
                      <a:pt x="11" y="79"/>
                    </a:cubicBezTo>
                    <a:cubicBezTo>
                      <a:pt x="4" y="79"/>
                      <a:pt x="0" y="83"/>
                      <a:pt x="0" y="90"/>
                    </a:cubicBezTo>
                    <a:cubicBezTo>
                      <a:pt x="0" y="95"/>
                      <a:pt x="4" y="101"/>
                      <a:pt x="11" y="101"/>
                    </a:cubicBezTo>
                    <a:cubicBezTo>
                      <a:pt x="52" y="101"/>
                      <a:pt x="52" y="101"/>
                      <a:pt x="52" y="101"/>
                    </a:cubicBezTo>
                    <a:cubicBezTo>
                      <a:pt x="52" y="113"/>
                      <a:pt x="54" y="124"/>
                      <a:pt x="56" y="134"/>
                    </a:cubicBezTo>
                    <a:cubicBezTo>
                      <a:pt x="18" y="151"/>
                      <a:pt x="18" y="151"/>
                      <a:pt x="18" y="151"/>
                    </a:cubicBezTo>
                    <a:cubicBezTo>
                      <a:pt x="11" y="154"/>
                      <a:pt x="9" y="161"/>
                      <a:pt x="11" y="166"/>
                    </a:cubicBezTo>
                    <a:cubicBezTo>
                      <a:pt x="13" y="169"/>
                      <a:pt x="18" y="173"/>
                      <a:pt x="22" y="173"/>
                    </a:cubicBezTo>
                    <a:cubicBezTo>
                      <a:pt x="23" y="173"/>
                      <a:pt x="24" y="172"/>
                      <a:pt x="25" y="172"/>
                    </a:cubicBezTo>
                    <a:cubicBezTo>
                      <a:pt x="64" y="155"/>
                      <a:pt x="64" y="155"/>
                      <a:pt x="64" y="155"/>
                    </a:cubicBezTo>
                    <a:cubicBezTo>
                      <a:pt x="79" y="190"/>
                      <a:pt x="109" y="211"/>
                      <a:pt x="147" y="225"/>
                    </a:cubicBezTo>
                    <a:cubicBezTo>
                      <a:pt x="147" y="20"/>
                      <a:pt x="147" y="20"/>
                      <a:pt x="147" y="20"/>
                    </a:cubicBezTo>
                    <a:cubicBezTo>
                      <a:pt x="120" y="20"/>
                      <a:pt x="97" y="13"/>
                      <a:pt x="78" y="4"/>
                    </a:cubicBezTo>
                    <a:cubicBezTo>
                      <a:pt x="77" y="2"/>
                      <a:pt x="75" y="1"/>
                      <a:pt x="7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FFFFFF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27" name="Freeform 7"/>
              <p:cNvSpPr>
                <a:spLocks/>
              </p:cNvSpPr>
              <p:nvPr/>
            </p:nvSpPr>
            <p:spPr bwMode="auto">
              <a:xfrm>
                <a:off x="4762700" y="2165722"/>
                <a:ext cx="62273" cy="96053"/>
              </a:xfrm>
              <a:custGeom>
                <a:avLst/>
                <a:gdLst>
                  <a:gd name="T0" fmla="*/ 134 w 146"/>
                  <a:gd name="T1" fmla="*/ 101 h 225"/>
                  <a:gd name="T2" fmla="*/ 146 w 146"/>
                  <a:gd name="T3" fmla="*/ 90 h 225"/>
                  <a:gd name="T4" fmla="*/ 135 w 146"/>
                  <a:gd name="T5" fmla="*/ 79 h 225"/>
                  <a:gd name="T6" fmla="*/ 95 w 146"/>
                  <a:gd name="T7" fmla="*/ 79 h 225"/>
                  <a:gd name="T8" fmla="*/ 91 w 146"/>
                  <a:gd name="T9" fmla="*/ 46 h 225"/>
                  <a:gd name="T10" fmla="*/ 129 w 146"/>
                  <a:gd name="T11" fmla="*/ 29 h 225"/>
                  <a:gd name="T12" fmla="*/ 134 w 146"/>
                  <a:gd name="T13" fmla="*/ 15 h 225"/>
                  <a:gd name="T14" fmla="*/ 120 w 146"/>
                  <a:gd name="T15" fmla="*/ 9 h 225"/>
                  <a:gd name="T16" fmla="*/ 84 w 146"/>
                  <a:gd name="T17" fmla="*/ 23 h 225"/>
                  <a:gd name="T18" fmla="*/ 74 w 146"/>
                  <a:gd name="T19" fmla="*/ 0 h 225"/>
                  <a:gd name="T20" fmla="*/ 69 w 146"/>
                  <a:gd name="T21" fmla="*/ 4 h 225"/>
                  <a:gd name="T22" fmla="*/ 0 w 146"/>
                  <a:gd name="T23" fmla="*/ 20 h 225"/>
                  <a:gd name="T24" fmla="*/ 0 w 146"/>
                  <a:gd name="T25" fmla="*/ 225 h 225"/>
                  <a:gd name="T26" fmla="*/ 83 w 146"/>
                  <a:gd name="T27" fmla="*/ 156 h 225"/>
                  <a:gd name="T28" fmla="*/ 120 w 146"/>
                  <a:gd name="T29" fmla="*/ 172 h 225"/>
                  <a:gd name="T30" fmla="*/ 124 w 146"/>
                  <a:gd name="T31" fmla="*/ 173 h 225"/>
                  <a:gd name="T32" fmla="*/ 134 w 146"/>
                  <a:gd name="T33" fmla="*/ 166 h 225"/>
                  <a:gd name="T34" fmla="*/ 129 w 146"/>
                  <a:gd name="T35" fmla="*/ 151 h 225"/>
                  <a:gd name="T36" fmla="*/ 90 w 146"/>
                  <a:gd name="T37" fmla="*/ 135 h 225"/>
                  <a:gd name="T38" fmla="*/ 95 w 146"/>
                  <a:gd name="T39" fmla="*/ 101 h 225"/>
                  <a:gd name="T40" fmla="*/ 134 w 146"/>
                  <a:gd name="T41" fmla="*/ 101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46" h="225">
                    <a:moveTo>
                      <a:pt x="134" y="101"/>
                    </a:moveTo>
                    <a:cubicBezTo>
                      <a:pt x="141" y="101"/>
                      <a:pt x="145" y="95"/>
                      <a:pt x="146" y="90"/>
                    </a:cubicBezTo>
                    <a:cubicBezTo>
                      <a:pt x="146" y="83"/>
                      <a:pt x="141" y="79"/>
                      <a:pt x="135" y="79"/>
                    </a:cubicBezTo>
                    <a:cubicBezTo>
                      <a:pt x="95" y="79"/>
                      <a:pt x="95" y="79"/>
                      <a:pt x="95" y="79"/>
                    </a:cubicBezTo>
                    <a:cubicBezTo>
                      <a:pt x="95" y="67"/>
                      <a:pt x="93" y="56"/>
                      <a:pt x="91" y="46"/>
                    </a:cubicBezTo>
                    <a:cubicBezTo>
                      <a:pt x="129" y="29"/>
                      <a:pt x="129" y="29"/>
                      <a:pt x="129" y="29"/>
                    </a:cubicBezTo>
                    <a:cubicBezTo>
                      <a:pt x="134" y="27"/>
                      <a:pt x="136" y="20"/>
                      <a:pt x="134" y="15"/>
                    </a:cubicBezTo>
                    <a:cubicBezTo>
                      <a:pt x="132" y="9"/>
                      <a:pt x="125" y="7"/>
                      <a:pt x="120" y="9"/>
                    </a:cubicBezTo>
                    <a:cubicBezTo>
                      <a:pt x="84" y="23"/>
                      <a:pt x="84" y="23"/>
                      <a:pt x="84" y="23"/>
                    </a:cubicBezTo>
                    <a:cubicBezTo>
                      <a:pt x="82" y="16"/>
                      <a:pt x="79" y="8"/>
                      <a:pt x="74" y="0"/>
                    </a:cubicBezTo>
                    <a:cubicBezTo>
                      <a:pt x="72" y="1"/>
                      <a:pt x="70" y="2"/>
                      <a:pt x="69" y="4"/>
                    </a:cubicBezTo>
                    <a:cubicBezTo>
                      <a:pt x="50" y="13"/>
                      <a:pt x="27" y="20"/>
                      <a:pt x="0" y="20"/>
                    </a:cubicBezTo>
                    <a:cubicBezTo>
                      <a:pt x="0" y="225"/>
                      <a:pt x="0" y="225"/>
                      <a:pt x="0" y="225"/>
                    </a:cubicBezTo>
                    <a:cubicBezTo>
                      <a:pt x="37" y="213"/>
                      <a:pt x="67" y="190"/>
                      <a:pt x="83" y="156"/>
                    </a:cubicBezTo>
                    <a:cubicBezTo>
                      <a:pt x="120" y="172"/>
                      <a:pt x="120" y="172"/>
                      <a:pt x="120" y="172"/>
                    </a:cubicBezTo>
                    <a:cubicBezTo>
                      <a:pt x="121" y="172"/>
                      <a:pt x="123" y="173"/>
                      <a:pt x="124" y="173"/>
                    </a:cubicBezTo>
                    <a:cubicBezTo>
                      <a:pt x="129" y="173"/>
                      <a:pt x="133" y="169"/>
                      <a:pt x="134" y="166"/>
                    </a:cubicBezTo>
                    <a:cubicBezTo>
                      <a:pt x="136" y="161"/>
                      <a:pt x="134" y="154"/>
                      <a:pt x="129" y="151"/>
                    </a:cubicBezTo>
                    <a:cubicBezTo>
                      <a:pt x="90" y="135"/>
                      <a:pt x="90" y="135"/>
                      <a:pt x="90" y="135"/>
                    </a:cubicBezTo>
                    <a:cubicBezTo>
                      <a:pt x="93" y="124"/>
                      <a:pt x="95" y="113"/>
                      <a:pt x="95" y="101"/>
                    </a:cubicBezTo>
                    <a:lnTo>
                      <a:pt x="134" y="10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FFFFFF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28" name="Freeform 8"/>
              <p:cNvSpPr>
                <a:spLocks/>
              </p:cNvSpPr>
              <p:nvPr/>
            </p:nvSpPr>
            <p:spPr bwMode="auto">
              <a:xfrm>
                <a:off x="4715134" y="2120223"/>
                <a:ext cx="88929" cy="48946"/>
              </a:xfrm>
              <a:custGeom>
                <a:avLst/>
                <a:gdLst>
                  <a:gd name="T0" fmla="*/ 179 w 209"/>
                  <a:gd name="T1" fmla="*/ 96 h 115"/>
                  <a:gd name="T2" fmla="*/ 156 w 209"/>
                  <a:gd name="T3" fmla="*/ 72 h 115"/>
                  <a:gd name="T4" fmla="*/ 185 w 209"/>
                  <a:gd name="T5" fmla="*/ 39 h 115"/>
                  <a:gd name="T6" fmla="*/ 189 w 209"/>
                  <a:gd name="T7" fmla="*/ 39 h 115"/>
                  <a:gd name="T8" fmla="*/ 209 w 209"/>
                  <a:gd name="T9" fmla="*/ 19 h 115"/>
                  <a:gd name="T10" fmla="*/ 189 w 209"/>
                  <a:gd name="T11" fmla="*/ 0 h 115"/>
                  <a:gd name="T12" fmla="*/ 170 w 209"/>
                  <a:gd name="T13" fmla="*/ 19 h 115"/>
                  <a:gd name="T14" fmla="*/ 172 w 209"/>
                  <a:gd name="T15" fmla="*/ 28 h 115"/>
                  <a:gd name="T16" fmla="*/ 142 w 209"/>
                  <a:gd name="T17" fmla="*/ 62 h 115"/>
                  <a:gd name="T18" fmla="*/ 106 w 209"/>
                  <a:gd name="T19" fmla="*/ 53 h 115"/>
                  <a:gd name="T20" fmla="*/ 67 w 209"/>
                  <a:gd name="T21" fmla="*/ 63 h 115"/>
                  <a:gd name="T22" fmla="*/ 37 w 209"/>
                  <a:gd name="T23" fmla="*/ 28 h 115"/>
                  <a:gd name="T24" fmla="*/ 39 w 209"/>
                  <a:gd name="T25" fmla="*/ 19 h 115"/>
                  <a:gd name="T26" fmla="*/ 19 w 209"/>
                  <a:gd name="T27" fmla="*/ 0 h 115"/>
                  <a:gd name="T28" fmla="*/ 0 w 209"/>
                  <a:gd name="T29" fmla="*/ 19 h 115"/>
                  <a:gd name="T30" fmla="*/ 19 w 209"/>
                  <a:gd name="T31" fmla="*/ 39 h 115"/>
                  <a:gd name="T32" fmla="*/ 24 w 209"/>
                  <a:gd name="T33" fmla="*/ 39 h 115"/>
                  <a:gd name="T34" fmla="*/ 52 w 209"/>
                  <a:gd name="T35" fmla="*/ 73 h 115"/>
                  <a:gd name="T36" fmla="*/ 33 w 209"/>
                  <a:gd name="T37" fmla="*/ 96 h 115"/>
                  <a:gd name="T38" fmla="*/ 37 w 209"/>
                  <a:gd name="T39" fmla="*/ 99 h 115"/>
                  <a:gd name="T40" fmla="*/ 106 w 209"/>
                  <a:gd name="T41" fmla="*/ 115 h 115"/>
                  <a:gd name="T42" fmla="*/ 174 w 209"/>
                  <a:gd name="T43" fmla="*/ 99 h 115"/>
                  <a:gd name="T44" fmla="*/ 179 w 209"/>
                  <a:gd name="T45" fmla="*/ 96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09" h="115">
                    <a:moveTo>
                      <a:pt x="179" y="96"/>
                    </a:moveTo>
                    <a:cubicBezTo>
                      <a:pt x="173" y="86"/>
                      <a:pt x="165" y="78"/>
                      <a:pt x="156" y="72"/>
                    </a:cubicBezTo>
                    <a:cubicBezTo>
                      <a:pt x="177" y="49"/>
                      <a:pt x="183" y="41"/>
                      <a:pt x="185" y="39"/>
                    </a:cubicBezTo>
                    <a:cubicBezTo>
                      <a:pt x="187" y="39"/>
                      <a:pt x="188" y="39"/>
                      <a:pt x="189" y="39"/>
                    </a:cubicBezTo>
                    <a:cubicBezTo>
                      <a:pt x="200" y="39"/>
                      <a:pt x="209" y="30"/>
                      <a:pt x="209" y="19"/>
                    </a:cubicBezTo>
                    <a:cubicBezTo>
                      <a:pt x="209" y="9"/>
                      <a:pt x="200" y="0"/>
                      <a:pt x="189" y="0"/>
                    </a:cubicBezTo>
                    <a:cubicBezTo>
                      <a:pt x="178" y="0"/>
                      <a:pt x="170" y="9"/>
                      <a:pt x="170" y="19"/>
                    </a:cubicBezTo>
                    <a:cubicBezTo>
                      <a:pt x="170" y="23"/>
                      <a:pt x="170" y="25"/>
                      <a:pt x="172" y="28"/>
                    </a:cubicBezTo>
                    <a:cubicBezTo>
                      <a:pt x="142" y="62"/>
                      <a:pt x="142" y="62"/>
                      <a:pt x="142" y="62"/>
                    </a:cubicBezTo>
                    <a:cubicBezTo>
                      <a:pt x="131" y="56"/>
                      <a:pt x="119" y="53"/>
                      <a:pt x="106" y="53"/>
                    </a:cubicBezTo>
                    <a:cubicBezTo>
                      <a:pt x="92" y="53"/>
                      <a:pt x="79" y="56"/>
                      <a:pt x="67" y="63"/>
                    </a:cubicBezTo>
                    <a:cubicBezTo>
                      <a:pt x="45" y="38"/>
                      <a:pt x="38" y="30"/>
                      <a:pt x="37" y="28"/>
                    </a:cubicBezTo>
                    <a:cubicBezTo>
                      <a:pt x="38" y="26"/>
                      <a:pt x="39" y="23"/>
                      <a:pt x="39" y="19"/>
                    </a:cubicBezTo>
                    <a:cubicBezTo>
                      <a:pt x="39" y="9"/>
                      <a:pt x="30" y="0"/>
                      <a:pt x="19" y="0"/>
                    </a:cubicBezTo>
                    <a:cubicBezTo>
                      <a:pt x="8" y="0"/>
                      <a:pt x="0" y="9"/>
                      <a:pt x="0" y="19"/>
                    </a:cubicBezTo>
                    <a:cubicBezTo>
                      <a:pt x="0" y="30"/>
                      <a:pt x="8" y="39"/>
                      <a:pt x="19" y="39"/>
                    </a:cubicBezTo>
                    <a:cubicBezTo>
                      <a:pt x="21" y="39"/>
                      <a:pt x="22" y="39"/>
                      <a:pt x="24" y="39"/>
                    </a:cubicBezTo>
                    <a:cubicBezTo>
                      <a:pt x="52" y="73"/>
                      <a:pt x="52" y="73"/>
                      <a:pt x="52" y="73"/>
                    </a:cubicBezTo>
                    <a:cubicBezTo>
                      <a:pt x="45" y="80"/>
                      <a:pt x="38" y="87"/>
                      <a:pt x="33" y="96"/>
                    </a:cubicBezTo>
                    <a:cubicBezTo>
                      <a:pt x="34" y="97"/>
                      <a:pt x="35" y="98"/>
                      <a:pt x="37" y="99"/>
                    </a:cubicBezTo>
                    <a:cubicBezTo>
                      <a:pt x="55" y="108"/>
                      <a:pt x="79" y="115"/>
                      <a:pt x="106" y="115"/>
                    </a:cubicBezTo>
                    <a:cubicBezTo>
                      <a:pt x="132" y="115"/>
                      <a:pt x="156" y="108"/>
                      <a:pt x="174" y="99"/>
                    </a:cubicBezTo>
                    <a:cubicBezTo>
                      <a:pt x="176" y="98"/>
                      <a:pt x="177" y="97"/>
                      <a:pt x="179" y="9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FFFFFF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29" name="Group 128"/>
            <p:cNvGrpSpPr>
              <a:grpSpLocks noChangeAspect="1"/>
            </p:cNvGrpSpPr>
            <p:nvPr userDrawn="1"/>
          </p:nvGrpSpPr>
          <p:grpSpPr>
            <a:xfrm>
              <a:off x="5539746" y="2615141"/>
              <a:ext cx="133600" cy="118872"/>
              <a:chOff x="2338919" y="1243924"/>
              <a:chExt cx="257056" cy="228719"/>
            </a:xfrm>
            <a:solidFill>
              <a:schemeClr val="bg1">
                <a:lumMod val="85000"/>
                <a:alpha val="30000"/>
              </a:schemeClr>
            </a:solidFill>
          </p:grpSpPr>
          <p:sp>
            <p:nvSpPr>
              <p:cNvPr id="130" name="Freeform 17"/>
              <p:cNvSpPr>
                <a:spLocks noEditPoints="1"/>
              </p:cNvSpPr>
              <p:nvPr/>
            </p:nvSpPr>
            <p:spPr bwMode="auto">
              <a:xfrm>
                <a:off x="2375351" y="1243924"/>
                <a:ext cx="184190" cy="228719"/>
              </a:xfrm>
              <a:custGeom>
                <a:avLst/>
                <a:gdLst>
                  <a:gd name="T0" fmla="*/ 84 w 458"/>
                  <a:gd name="T1" fmla="*/ 33 h 566"/>
                  <a:gd name="T2" fmla="*/ 84 w 458"/>
                  <a:gd name="T3" fmla="*/ 33 h 566"/>
                  <a:gd name="T4" fmla="*/ 84 w 458"/>
                  <a:gd name="T5" fmla="*/ 64 h 566"/>
                  <a:gd name="T6" fmla="*/ 176 w 458"/>
                  <a:gd name="T7" fmla="*/ 42 h 566"/>
                  <a:gd name="T8" fmla="*/ 176 w 458"/>
                  <a:gd name="T9" fmla="*/ 11 h 566"/>
                  <a:gd name="T10" fmla="*/ 229 w 458"/>
                  <a:gd name="T11" fmla="*/ 0 h 566"/>
                  <a:gd name="T12" fmla="*/ 281 w 458"/>
                  <a:gd name="T13" fmla="*/ 11 h 566"/>
                  <a:gd name="T14" fmla="*/ 281 w 458"/>
                  <a:gd name="T15" fmla="*/ 42 h 566"/>
                  <a:gd name="T16" fmla="*/ 374 w 458"/>
                  <a:gd name="T17" fmla="*/ 64 h 566"/>
                  <a:gd name="T18" fmla="*/ 374 w 458"/>
                  <a:gd name="T19" fmla="*/ 33 h 566"/>
                  <a:gd name="T20" fmla="*/ 458 w 458"/>
                  <a:gd name="T21" fmla="*/ 51 h 566"/>
                  <a:gd name="T22" fmla="*/ 458 w 458"/>
                  <a:gd name="T23" fmla="*/ 220 h 566"/>
                  <a:gd name="T24" fmla="*/ 229 w 458"/>
                  <a:gd name="T25" fmla="*/ 566 h 566"/>
                  <a:gd name="T26" fmla="*/ 0 w 458"/>
                  <a:gd name="T27" fmla="*/ 220 h 566"/>
                  <a:gd name="T28" fmla="*/ 0 w 458"/>
                  <a:gd name="T29" fmla="*/ 51 h 566"/>
                  <a:gd name="T30" fmla="*/ 84 w 458"/>
                  <a:gd name="T31" fmla="*/ 33 h 566"/>
                  <a:gd name="T32" fmla="*/ 63 w 458"/>
                  <a:gd name="T33" fmla="*/ 220 h 566"/>
                  <a:gd name="T34" fmla="*/ 63 w 458"/>
                  <a:gd name="T35" fmla="*/ 220 h 566"/>
                  <a:gd name="T36" fmla="*/ 70 w 458"/>
                  <a:gd name="T37" fmla="*/ 282 h 566"/>
                  <a:gd name="T38" fmla="*/ 229 w 458"/>
                  <a:gd name="T39" fmla="*/ 282 h 566"/>
                  <a:gd name="T40" fmla="*/ 229 w 458"/>
                  <a:gd name="T41" fmla="*/ 495 h 566"/>
                  <a:gd name="T42" fmla="*/ 388 w 458"/>
                  <a:gd name="T43" fmla="*/ 282 h 566"/>
                  <a:gd name="T44" fmla="*/ 229 w 458"/>
                  <a:gd name="T45" fmla="*/ 282 h 566"/>
                  <a:gd name="T46" fmla="*/ 229 w 458"/>
                  <a:gd name="T47" fmla="*/ 97 h 566"/>
                  <a:gd name="T48" fmla="*/ 63 w 458"/>
                  <a:gd name="T49" fmla="*/ 137 h 566"/>
                  <a:gd name="T50" fmla="*/ 63 w 458"/>
                  <a:gd name="T51" fmla="*/ 220 h 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58" h="566">
                    <a:moveTo>
                      <a:pt x="84" y="33"/>
                    </a:moveTo>
                    <a:lnTo>
                      <a:pt x="84" y="33"/>
                    </a:lnTo>
                    <a:lnTo>
                      <a:pt x="84" y="64"/>
                    </a:lnTo>
                    <a:lnTo>
                      <a:pt x="176" y="42"/>
                    </a:lnTo>
                    <a:lnTo>
                      <a:pt x="176" y="11"/>
                    </a:lnTo>
                    <a:lnTo>
                      <a:pt x="229" y="0"/>
                    </a:lnTo>
                    <a:lnTo>
                      <a:pt x="281" y="11"/>
                    </a:lnTo>
                    <a:lnTo>
                      <a:pt x="281" y="42"/>
                    </a:lnTo>
                    <a:lnTo>
                      <a:pt x="374" y="64"/>
                    </a:lnTo>
                    <a:lnTo>
                      <a:pt x="374" y="33"/>
                    </a:lnTo>
                    <a:lnTo>
                      <a:pt x="458" y="51"/>
                    </a:lnTo>
                    <a:lnTo>
                      <a:pt x="458" y="220"/>
                    </a:lnTo>
                    <a:cubicBezTo>
                      <a:pt x="458" y="377"/>
                      <a:pt x="364" y="509"/>
                      <a:pt x="229" y="566"/>
                    </a:cubicBezTo>
                    <a:cubicBezTo>
                      <a:pt x="94" y="509"/>
                      <a:pt x="0" y="377"/>
                      <a:pt x="0" y="220"/>
                    </a:cubicBezTo>
                    <a:lnTo>
                      <a:pt x="0" y="51"/>
                    </a:lnTo>
                    <a:lnTo>
                      <a:pt x="84" y="33"/>
                    </a:lnTo>
                    <a:close/>
                    <a:moveTo>
                      <a:pt x="63" y="220"/>
                    </a:moveTo>
                    <a:lnTo>
                      <a:pt x="63" y="220"/>
                    </a:lnTo>
                    <a:cubicBezTo>
                      <a:pt x="63" y="242"/>
                      <a:pt x="64" y="262"/>
                      <a:pt x="70" y="282"/>
                    </a:cubicBezTo>
                    <a:lnTo>
                      <a:pt x="229" y="282"/>
                    </a:lnTo>
                    <a:lnTo>
                      <a:pt x="229" y="495"/>
                    </a:lnTo>
                    <a:cubicBezTo>
                      <a:pt x="311" y="451"/>
                      <a:pt x="371" y="373"/>
                      <a:pt x="388" y="282"/>
                    </a:cubicBezTo>
                    <a:lnTo>
                      <a:pt x="229" y="282"/>
                    </a:lnTo>
                    <a:lnTo>
                      <a:pt x="229" y="97"/>
                    </a:lnTo>
                    <a:lnTo>
                      <a:pt x="63" y="137"/>
                    </a:lnTo>
                    <a:lnTo>
                      <a:pt x="63" y="22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CA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31" name="Freeform 18"/>
              <p:cNvSpPr>
                <a:spLocks noEditPoints="1"/>
              </p:cNvSpPr>
              <p:nvPr/>
            </p:nvSpPr>
            <p:spPr bwMode="auto">
              <a:xfrm>
                <a:off x="2338919" y="1290478"/>
                <a:ext cx="257056" cy="156865"/>
              </a:xfrm>
              <a:custGeom>
                <a:avLst/>
                <a:gdLst>
                  <a:gd name="T0" fmla="*/ 75 w 636"/>
                  <a:gd name="T1" fmla="*/ 105 h 388"/>
                  <a:gd name="T2" fmla="*/ 75 w 636"/>
                  <a:gd name="T3" fmla="*/ 105 h 388"/>
                  <a:gd name="T4" fmla="*/ 0 w 636"/>
                  <a:gd name="T5" fmla="*/ 105 h 388"/>
                  <a:gd name="T6" fmla="*/ 0 w 636"/>
                  <a:gd name="T7" fmla="*/ 179 h 388"/>
                  <a:gd name="T8" fmla="*/ 82 w 636"/>
                  <a:gd name="T9" fmla="*/ 179 h 388"/>
                  <a:gd name="T10" fmla="*/ 75 w 636"/>
                  <a:gd name="T11" fmla="*/ 105 h 388"/>
                  <a:gd name="T12" fmla="*/ 89 w 636"/>
                  <a:gd name="T13" fmla="*/ 209 h 388"/>
                  <a:gd name="T14" fmla="*/ 89 w 636"/>
                  <a:gd name="T15" fmla="*/ 209 h 388"/>
                  <a:gd name="T16" fmla="*/ 0 w 636"/>
                  <a:gd name="T17" fmla="*/ 209 h 388"/>
                  <a:gd name="T18" fmla="*/ 0 w 636"/>
                  <a:gd name="T19" fmla="*/ 282 h 388"/>
                  <a:gd name="T20" fmla="*/ 117 w 636"/>
                  <a:gd name="T21" fmla="*/ 282 h 388"/>
                  <a:gd name="T22" fmla="*/ 89 w 636"/>
                  <a:gd name="T23" fmla="*/ 209 h 388"/>
                  <a:gd name="T24" fmla="*/ 75 w 636"/>
                  <a:gd name="T25" fmla="*/ 0 h 388"/>
                  <a:gd name="T26" fmla="*/ 75 w 636"/>
                  <a:gd name="T27" fmla="*/ 0 h 388"/>
                  <a:gd name="T28" fmla="*/ 0 w 636"/>
                  <a:gd name="T29" fmla="*/ 0 h 388"/>
                  <a:gd name="T30" fmla="*/ 0 w 636"/>
                  <a:gd name="T31" fmla="*/ 73 h 388"/>
                  <a:gd name="T32" fmla="*/ 75 w 636"/>
                  <a:gd name="T33" fmla="*/ 73 h 388"/>
                  <a:gd name="T34" fmla="*/ 75 w 636"/>
                  <a:gd name="T35" fmla="*/ 0 h 388"/>
                  <a:gd name="T36" fmla="*/ 43 w 636"/>
                  <a:gd name="T37" fmla="*/ 314 h 388"/>
                  <a:gd name="T38" fmla="*/ 43 w 636"/>
                  <a:gd name="T39" fmla="*/ 314 h 388"/>
                  <a:gd name="T40" fmla="*/ 0 w 636"/>
                  <a:gd name="T41" fmla="*/ 314 h 388"/>
                  <a:gd name="T42" fmla="*/ 0 w 636"/>
                  <a:gd name="T43" fmla="*/ 388 h 388"/>
                  <a:gd name="T44" fmla="*/ 43 w 636"/>
                  <a:gd name="T45" fmla="*/ 388 h 388"/>
                  <a:gd name="T46" fmla="*/ 53 w 636"/>
                  <a:gd name="T47" fmla="*/ 388 h 388"/>
                  <a:gd name="T48" fmla="*/ 196 w 636"/>
                  <a:gd name="T49" fmla="*/ 388 h 388"/>
                  <a:gd name="T50" fmla="*/ 135 w 636"/>
                  <a:gd name="T51" fmla="*/ 314 h 388"/>
                  <a:gd name="T52" fmla="*/ 43 w 636"/>
                  <a:gd name="T53" fmla="*/ 314 h 388"/>
                  <a:gd name="T54" fmla="*/ 561 w 636"/>
                  <a:gd name="T55" fmla="*/ 73 h 388"/>
                  <a:gd name="T56" fmla="*/ 561 w 636"/>
                  <a:gd name="T57" fmla="*/ 73 h 388"/>
                  <a:gd name="T58" fmla="*/ 636 w 636"/>
                  <a:gd name="T59" fmla="*/ 73 h 388"/>
                  <a:gd name="T60" fmla="*/ 636 w 636"/>
                  <a:gd name="T61" fmla="*/ 0 h 388"/>
                  <a:gd name="T62" fmla="*/ 561 w 636"/>
                  <a:gd name="T63" fmla="*/ 0 h 388"/>
                  <a:gd name="T64" fmla="*/ 561 w 636"/>
                  <a:gd name="T65" fmla="*/ 73 h 388"/>
                  <a:gd name="T66" fmla="*/ 554 w 636"/>
                  <a:gd name="T67" fmla="*/ 179 h 388"/>
                  <a:gd name="T68" fmla="*/ 554 w 636"/>
                  <a:gd name="T69" fmla="*/ 179 h 388"/>
                  <a:gd name="T70" fmla="*/ 636 w 636"/>
                  <a:gd name="T71" fmla="*/ 179 h 388"/>
                  <a:gd name="T72" fmla="*/ 636 w 636"/>
                  <a:gd name="T73" fmla="*/ 105 h 388"/>
                  <a:gd name="T74" fmla="*/ 561 w 636"/>
                  <a:gd name="T75" fmla="*/ 105 h 388"/>
                  <a:gd name="T76" fmla="*/ 554 w 636"/>
                  <a:gd name="T77" fmla="*/ 179 h 388"/>
                  <a:gd name="T78" fmla="*/ 440 w 636"/>
                  <a:gd name="T79" fmla="*/ 388 h 388"/>
                  <a:gd name="T80" fmla="*/ 440 w 636"/>
                  <a:gd name="T81" fmla="*/ 388 h 388"/>
                  <a:gd name="T82" fmla="*/ 636 w 636"/>
                  <a:gd name="T83" fmla="*/ 388 h 388"/>
                  <a:gd name="T84" fmla="*/ 636 w 636"/>
                  <a:gd name="T85" fmla="*/ 314 h 388"/>
                  <a:gd name="T86" fmla="*/ 500 w 636"/>
                  <a:gd name="T87" fmla="*/ 314 h 388"/>
                  <a:gd name="T88" fmla="*/ 440 w 636"/>
                  <a:gd name="T89" fmla="*/ 388 h 388"/>
                  <a:gd name="T90" fmla="*/ 518 w 636"/>
                  <a:gd name="T91" fmla="*/ 282 h 388"/>
                  <a:gd name="T92" fmla="*/ 518 w 636"/>
                  <a:gd name="T93" fmla="*/ 282 h 388"/>
                  <a:gd name="T94" fmla="*/ 636 w 636"/>
                  <a:gd name="T95" fmla="*/ 282 h 388"/>
                  <a:gd name="T96" fmla="*/ 636 w 636"/>
                  <a:gd name="T97" fmla="*/ 209 h 388"/>
                  <a:gd name="T98" fmla="*/ 547 w 636"/>
                  <a:gd name="T99" fmla="*/ 209 h 388"/>
                  <a:gd name="T100" fmla="*/ 518 w 636"/>
                  <a:gd name="T101" fmla="*/ 282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36" h="388">
                    <a:moveTo>
                      <a:pt x="75" y="105"/>
                    </a:moveTo>
                    <a:lnTo>
                      <a:pt x="75" y="105"/>
                    </a:lnTo>
                    <a:lnTo>
                      <a:pt x="0" y="105"/>
                    </a:lnTo>
                    <a:lnTo>
                      <a:pt x="0" y="179"/>
                    </a:lnTo>
                    <a:lnTo>
                      <a:pt x="82" y="179"/>
                    </a:lnTo>
                    <a:cubicBezTo>
                      <a:pt x="77" y="155"/>
                      <a:pt x="75" y="131"/>
                      <a:pt x="75" y="105"/>
                    </a:cubicBezTo>
                    <a:close/>
                    <a:moveTo>
                      <a:pt x="89" y="209"/>
                    </a:moveTo>
                    <a:lnTo>
                      <a:pt x="89" y="209"/>
                    </a:lnTo>
                    <a:lnTo>
                      <a:pt x="0" y="209"/>
                    </a:lnTo>
                    <a:lnTo>
                      <a:pt x="0" y="282"/>
                    </a:lnTo>
                    <a:lnTo>
                      <a:pt x="117" y="282"/>
                    </a:lnTo>
                    <a:cubicBezTo>
                      <a:pt x="105" y="259"/>
                      <a:pt x="96" y="234"/>
                      <a:pt x="89" y="209"/>
                    </a:cubicBezTo>
                    <a:close/>
                    <a:moveTo>
                      <a:pt x="75" y="0"/>
                    </a:moveTo>
                    <a:lnTo>
                      <a:pt x="75" y="0"/>
                    </a:lnTo>
                    <a:lnTo>
                      <a:pt x="0" y="0"/>
                    </a:lnTo>
                    <a:lnTo>
                      <a:pt x="0" y="73"/>
                    </a:lnTo>
                    <a:lnTo>
                      <a:pt x="75" y="73"/>
                    </a:lnTo>
                    <a:lnTo>
                      <a:pt x="75" y="0"/>
                    </a:lnTo>
                    <a:close/>
                    <a:moveTo>
                      <a:pt x="43" y="314"/>
                    </a:moveTo>
                    <a:lnTo>
                      <a:pt x="43" y="314"/>
                    </a:lnTo>
                    <a:lnTo>
                      <a:pt x="0" y="314"/>
                    </a:lnTo>
                    <a:lnTo>
                      <a:pt x="0" y="388"/>
                    </a:lnTo>
                    <a:lnTo>
                      <a:pt x="43" y="388"/>
                    </a:lnTo>
                    <a:lnTo>
                      <a:pt x="53" y="388"/>
                    </a:lnTo>
                    <a:lnTo>
                      <a:pt x="196" y="388"/>
                    </a:lnTo>
                    <a:cubicBezTo>
                      <a:pt x="173" y="366"/>
                      <a:pt x="152" y="341"/>
                      <a:pt x="135" y="314"/>
                    </a:cubicBezTo>
                    <a:lnTo>
                      <a:pt x="43" y="314"/>
                    </a:lnTo>
                    <a:close/>
                    <a:moveTo>
                      <a:pt x="561" y="73"/>
                    </a:moveTo>
                    <a:lnTo>
                      <a:pt x="561" y="73"/>
                    </a:lnTo>
                    <a:lnTo>
                      <a:pt x="636" y="73"/>
                    </a:lnTo>
                    <a:lnTo>
                      <a:pt x="636" y="0"/>
                    </a:lnTo>
                    <a:lnTo>
                      <a:pt x="561" y="0"/>
                    </a:lnTo>
                    <a:lnTo>
                      <a:pt x="561" y="73"/>
                    </a:lnTo>
                    <a:close/>
                    <a:moveTo>
                      <a:pt x="554" y="179"/>
                    </a:moveTo>
                    <a:lnTo>
                      <a:pt x="554" y="179"/>
                    </a:lnTo>
                    <a:lnTo>
                      <a:pt x="636" y="179"/>
                    </a:lnTo>
                    <a:lnTo>
                      <a:pt x="636" y="105"/>
                    </a:lnTo>
                    <a:lnTo>
                      <a:pt x="561" y="105"/>
                    </a:lnTo>
                    <a:cubicBezTo>
                      <a:pt x="561" y="131"/>
                      <a:pt x="558" y="155"/>
                      <a:pt x="554" y="179"/>
                    </a:cubicBezTo>
                    <a:close/>
                    <a:moveTo>
                      <a:pt x="440" y="388"/>
                    </a:moveTo>
                    <a:lnTo>
                      <a:pt x="440" y="388"/>
                    </a:lnTo>
                    <a:lnTo>
                      <a:pt x="636" y="388"/>
                    </a:lnTo>
                    <a:lnTo>
                      <a:pt x="636" y="314"/>
                    </a:lnTo>
                    <a:lnTo>
                      <a:pt x="500" y="314"/>
                    </a:lnTo>
                    <a:cubicBezTo>
                      <a:pt x="483" y="341"/>
                      <a:pt x="463" y="366"/>
                      <a:pt x="440" y="388"/>
                    </a:cubicBezTo>
                    <a:close/>
                    <a:moveTo>
                      <a:pt x="518" y="282"/>
                    </a:moveTo>
                    <a:lnTo>
                      <a:pt x="518" y="282"/>
                    </a:lnTo>
                    <a:lnTo>
                      <a:pt x="636" y="282"/>
                    </a:lnTo>
                    <a:lnTo>
                      <a:pt x="636" y="209"/>
                    </a:lnTo>
                    <a:lnTo>
                      <a:pt x="547" y="209"/>
                    </a:lnTo>
                    <a:cubicBezTo>
                      <a:pt x="540" y="234"/>
                      <a:pt x="530" y="259"/>
                      <a:pt x="518" y="28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CA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32" name="Group 131"/>
            <p:cNvGrpSpPr>
              <a:grpSpLocks noChangeAspect="1"/>
            </p:cNvGrpSpPr>
            <p:nvPr userDrawn="1"/>
          </p:nvGrpSpPr>
          <p:grpSpPr>
            <a:xfrm>
              <a:off x="3847227" y="4446330"/>
              <a:ext cx="91440" cy="108765"/>
              <a:chOff x="3610092" y="905368"/>
              <a:chExt cx="240140" cy="285637"/>
            </a:xfrm>
            <a:solidFill>
              <a:schemeClr val="bg1">
                <a:lumMod val="85000"/>
                <a:alpha val="30000"/>
              </a:schemeClr>
            </a:solidFill>
          </p:grpSpPr>
          <p:sp>
            <p:nvSpPr>
              <p:cNvPr id="133" name="Freeform 15"/>
              <p:cNvSpPr>
                <a:spLocks noChangeAspect="1" noEditPoints="1"/>
              </p:cNvSpPr>
              <p:nvPr/>
            </p:nvSpPr>
            <p:spPr bwMode="auto">
              <a:xfrm>
                <a:off x="3634568" y="940237"/>
                <a:ext cx="190958" cy="223061"/>
              </a:xfrm>
              <a:custGeom>
                <a:avLst/>
                <a:gdLst/>
                <a:ahLst/>
                <a:cxnLst>
                  <a:cxn ang="0">
                    <a:pos x="321" y="59"/>
                  </a:cxn>
                  <a:cxn ang="0">
                    <a:pos x="176" y="0"/>
                  </a:cxn>
                  <a:cxn ang="0">
                    <a:pos x="31" y="59"/>
                  </a:cxn>
                  <a:cxn ang="0">
                    <a:pos x="0" y="57"/>
                  </a:cxn>
                  <a:cxn ang="0">
                    <a:pos x="5" y="92"/>
                  </a:cxn>
                  <a:cxn ang="0">
                    <a:pos x="24" y="199"/>
                  </a:cxn>
                  <a:cxn ang="0">
                    <a:pos x="81" y="328"/>
                  </a:cxn>
                  <a:cxn ang="0">
                    <a:pos x="130" y="239"/>
                  </a:cxn>
                  <a:cxn ang="0">
                    <a:pos x="139" y="244"/>
                  </a:cxn>
                  <a:cxn ang="0">
                    <a:pos x="150" y="223"/>
                  </a:cxn>
                  <a:cxn ang="0">
                    <a:pos x="126" y="115"/>
                  </a:cxn>
                  <a:cxn ang="0">
                    <a:pos x="241" y="80"/>
                  </a:cxn>
                  <a:cxn ang="0">
                    <a:pos x="276" y="195"/>
                  </a:cxn>
                  <a:cxn ang="0">
                    <a:pos x="174" y="236"/>
                  </a:cxn>
                  <a:cxn ang="0">
                    <a:pos x="162" y="257"/>
                  </a:cxn>
                  <a:cxn ang="0">
                    <a:pos x="172" y="263"/>
                  </a:cxn>
                  <a:cxn ang="0">
                    <a:pos x="116" y="368"/>
                  </a:cxn>
                  <a:cxn ang="0">
                    <a:pos x="176" y="409"/>
                  </a:cxn>
                  <a:cxn ang="0">
                    <a:pos x="348" y="92"/>
                  </a:cxn>
                  <a:cxn ang="0">
                    <a:pos x="350" y="57"/>
                  </a:cxn>
                  <a:cxn ang="0">
                    <a:pos x="321" y="59"/>
                  </a:cxn>
                  <a:cxn ang="0">
                    <a:pos x="255" y="184"/>
                  </a:cxn>
                  <a:cxn ang="0">
                    <a:pos x="229" y="102"/>
                  </a:cxn>
                  <a:cxn ang="0">
                    <a:pos x="148" y="127"/>
                  </a:cxn>
                  <a:cxn ang="0">
                    <a:pos x="172" y="209"/>
                  </a:cxn>
                  <a:cxn ang="0">
                    <a:pos x="255" y="184"/>
                  </a:cxn>
                  <a:cxn ang="0">
                    <a:pos x="158" y="149"/>
                  </a:cxn>
                  <a:cxn ang="0">
                    <a:pos x="158" y="149"/>
                  </a:cxn>
                  <a:cxn ang="0">
                    <a:pos x="153" y="153"/>
                  </a:cxn>
                  <a:cxn ang="0">
                    <a:pos x="149" y="147"/>
                  </a:cxn>
                  <a:cxn ang="0">
                    <a:pos x="217" y="106"/>
                  </a:cxn>
                  <a:cxn ang="0">
                    <a:pos x="220" y="111"/>
                  </a:cxn>
                  <a:cxn ang="0">
                    <a:pos x="216" y="114"/>
                  </a:cxn>
                  <a:cxn ang="0">
                    <a:pos x="158" y="149"/>
                  </a:cxn>
                </a:cxnLst>
                <a:rect l="0" t="0" r="r" b="b"/>
                <a:pathLst>
                  <a:path w="350" h="409">
                    <a:moveTo>
                      <a:pt x="321" y="59"/>
                    </a:moveTo>
                    <a:cubicBezTo>
                      <a:pt x="238" y="59"/>
                      <a:pt x="194" y="19"/>
                      <a:pt x="176" y="0"/>
                    </a:cubicBezTo>
                    <a:cubicBezTo>
                      <a:pt x="159" y="19"/>
                      <a:pt x="112" y="59"/>
                      <a:pt x="31" y="59"/>
                    </a:cubicBezTo>
                    <a:cubicBezTo>
                      <a:pt x="20" y="59"/>
                      <a:pt x="11" y="57"/>
                      <a:pt x="0" y="57"/>
                    </a:cubicBezTo>
                    <a:cubicBezTo>
                      <a:pt x="2" y="65"/>
                      <a:pt x="2" y="76"/>
                      <a:pt x="5" y="92"/>
                    </a:cubicBezTo>
                    <a:cubicBezTo>
                      <a:pt x="7" y="120"/>
                      <a:pt x="11" y="159"/>
                      <a:pt x="24" y="199"/>
                    </a:cubicBezTo>
                    <a:cubicBezTo>
                      <a:pt x="36" y="243"/>
                      <a:pt x="54" y="289"/>
                      <a:pt x="81" y="328"/>
                    </a:cubicBezTo>
                    <a:cubicBezTo>
                      <a:pt x="85" y="321"/>
                      <a:pt x="96" y="300"/>
                      <a:pt x="130" y="239"/>
                    </a:cubicBezTo>
                    <a:cubicBezTo>
                      <a:pt x="139" y="244"/>
                      <a:pt x="139" y="244"/>
                      <a:pt x="139" y="244"/>
                    </a:cubicBezTo>
                    <a:cubicBezTo>
                      <a:pt x="150" y="223"/>
                      <a:pt x="150" y="223"/>
                      <a:pt x="150" y="223"/>
                    </a:cubicBezTo>
                    <a:cubicBezTo>
                      <a:pt x="117" y="199"/>
                      <a:pt x="106" y="153"/>
                      <a:pt x="126" y="115"/>
                    </a:cubicBezTo>
                    <a:cubicBezTo>
                      <a:pt x="148" y="74"/>
                      <a:pt x="199" y="58"/>
                      <a:pt x="241" y="80"/>
                    </a:cubicBezTo>
                    <a:cubicBezTo>
                      <a:pt x="282" y="102"/>
                      <a:pt x="298" y="154"/>
                      <a:pt x="276" y="195"/>
                    </a:cubicBezTo>
                    <a:cubicBezTo>
                      <a:pt x="256" y="232"/>
                      <a:pt x="213" y="248"/>
                      <a:pt x="174" y="236"/>
                    </a:cubicBezTo>
                    <a:cubicBezTo>
                      <a:pt x="162" y="257"/>
                      <a:pt x="162" y="257"/>
                      <a:pt x="162" y="257"/>
                    </a:cubicBezTo>
                    <a:cubicBezTo>
                      <a:pt x="172" y="263"/>
                      <a:pt x="172" y="263"/>
                      <a:pt x="172" y="263"/>
                    </a:cubicBezTo>
                    <a:cubicBezTo>
                      <a:pt x="172" y="263"/>
                      <a:pt x="163" y="281"/>
                      <a:pt x="116" y="368"/>
                    </a:cubicBezTo>
                    <a:cubicBezTo>
                      <a:pt x="133" y="384"/>
                      <a:pt x="153" y="398"/>
                      <a:pt x="176" y="409"/>
                    </a:cubicBezTo>
                    <a:cubicBezTo>
                      <a:pt x="304" y="350"/>
                      <a:pt x="339" y="177"/>
                      <a:pt x="348" y="92"/>
                    </a:cubicBezTo>
                    <a:cubicBezTo>
                      <a:pt x="350" y="76"/>
                      <a:pt x="350" y="65"/>
                      <a:pt x="350" y="57"/>
                    </a:cubicBezTo>
                    <a:cubicBezTo>
                      <a:pt x="339" y="57"/>
                      <a:pt x="330" y="59"/>
                      <a:pt x="321" y="59"/>
                    </a:cubicBezTo>
                    <a:close/>
                    <a:moveTo>
                      <a:pt x="255" y="184"/>
                    </a:moveTo>
                    <a:cubicBezTo>
                      <a:pt x="270" y="155"/>
                      <a:pt x="259" y="118"/>
                      <a:pt x="229" y="102"/>
                    </a:cubicBezTo>
                    <a:cubicBezTo>
                      <a:pt x="200" y="87"/>
                      <a:pt x="163" y="98"/>
                      <a:pt x="148" y="127"/>
                    </a:cubicBezTo>
                    <a:cubicBezTo>
                      <a:pt x="132" y="156"/>
                      <a:pt x="143" y="194"/>
                      <a:pt x="172" y="209"/>
                    </a:cubicBezTo>
                    <a:cubicBezTo>
                      <a:pt x="202" y="225"/>
                      <a:pt x="239" y="213"/>
                      <a:pt x="255" y="184"/>
                    </a:cubicBezTo>
                    <a:close/>
                    <a:moveTo>
                      <a:pt x="158" y="149"/>
                    </a:moveTo>
                    <a:cubicBezTo>
                      <a:pt x="158" y="149"/>
                      <a:pt x="158" y="149"/>
                      <a:pt x="158" y="149"/>
                    </a:cubicBezTo>
                    <a:cubicBezTo>
                      <a:pt x="157" y="151"/>
                      <a:pt x="155" y="153"/>
                      <a:pt x="153" y="153"/>
                    </a:cubicBezTo>
                    <a:cubicBezTo>
                      <a:pt x="150" y="152"/>
                      <a:pt x="149" y="149"/>
                      <a:pt x="149" y="147"/>
                    </a:cubicBezTo>
                    <a:cubicBezTo>
                      <a:pt x="158" y="119"/>
                      <a:pt x="187" y="100"/>
                      <a:pt x="217" y="106"/>
                    </a:cubicBezTo>
                    <a:cubicBezTo>
                      <a:pt x="220" y="106"/>
                      <a:pt x="221" y="109"/>
                      <a:pt x="220" y="111"/>
                    </a:cubicBezTo>
                    <a:cubicBezTo>
                      <a:pt x="220" y="114"/>
                      <a:pt x="218" y="115"/>
                      <a:pt x="216" y="114"/>
                    </a:cubicBezTo>
                    <a:cubicBezTo>
                      <a:pt x="190" y="111"/>
                      <a:pt x="166" y="125"/>
                      <a:pt x="158" y="149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0096D6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34" name="Freeform 14"/>
              <p:cNvSpPr>
                <a:spLocks noChangeAspect="1" noEditPoints="1"/>
              </p:cNvSpPr>
              <p:nvPr/>
            </p:nvSpPr>
            <p:spPr bwMode="auto">
              <a:xfrm>
                <a:off x="3610092" y="905368"/>
                <a:ext cx="240140" cy="285637"/>
              </a:xfrm>
              <a:custGeom>
                <a:avLst/>
                <a:gdLst/>
                <a:ahLst/>
                <a:cxnLst>
                  <a:cxn ang="0">
                    <a:pos x="428" y="77"/>
                  </a:cxn>
                  <a:cxn ang="0">
                    <a:pos x="385" y="79"/>
                  </a:cxn>
                  <a:cxn ang="0">
                    <a:pos x="264" y="47"/>
                  </a:cxn>
                  <a:cxn ang="0">
                    <a:pos x="239" y="25"/>
                  </a:cxn>
                  <a:cxn ang="0">
                    <a:pos x="231" y="18"/>
                  </a:cxn>
                  <a:cxn ang="0">
                    <a:pos x="231" y="15"/>
                  </a:cxn>
                  <a:cxn ang="0">
                    <a:pos x="221" y="0"/>
                  </a:cxn>
                  <a:cxn ang="0">
                    <a:pos x="212" y="15"/>
                  </a:cxn>
                  <a:cxn ang="0">
                    <a:pos x="209" y="18"/>
                  </a:cxn>
                  <a:cxn ang="0">
                    <a:pos x="57" y="79"/>
                  </a:cxn>
                  <a:cxn ang="0">
                    <a:pos x="13" y="77"/>
                  </a:cxn>
                  <a:cxn ang="0">
                    <a:pos x="0" y="77"/>
                  </a:cxn>
                  <a:cxn ang="0">
                    <a:pos x="0" y="89"/>
                  </a:cxn>
                  <a:cxn ang="0">
                    <a:pos x="28" y="269"/>
                  </a:cxn>
                  <a:cxn ang="0">
                    <a:pos x="217" y="524"/>
                  </a:cxn>
                  <a:cxn ang="0">
                    <a:pos x="221" y="524"/>
                  </a:cxn>
                  <a:cxn ang="0">
                    <a:pos x="226" y="524"/>
                  </a:cxn>
                  <a:cxn ang="0">
                    <a:pos x="415" y="269"/>
                  </a:cxn>
                  <a:cxn ang="0">
                    <a:pos x="440" y="89"/>
                  </a:cxn>
                  <a:cxn ang="0">
                    <a:pos x="440" y="77"/>
                  </a:cxn>
                  <a:cxn ang="0">
                    <a:pos x="428" y="77"/>
                  </a:cxn>
                  <a:cxn ang="0">
                    <a:pos x="415" y="141"/>
                  </a:cxn>
                  <a:cxn ang="0">
                    <a:pos x="221" y="499"/>
                  </a:cxn>
                  <a:cxn ang="0">
                    <a:pos x="50" y="262"/>
                  </a:cxn>
                  <a:cxn ang="0">
                    <a:pos x="28" y="141"/>
                  </a:cxn>
                  <a:cxn ang="0">
                    <a:pos x="23" y="101"/>
                  </a:cxn>
                  <a:cxn ang="0">
                    <a:pos x="57" y="104"/>
                  </a:cxn>
                  <a:cxn ang="0">
                    <a:pos x="221" y="37"/>
                  </a:cxn>
                  <a:cxn ang="0">
                    <a:pos x="385" y="104"/>
                  </a:cxn>
                  <a:cxn ang="0">
                    <a:pos x="418" y="101"/>
                  </a:cxn>
                  <a:cxn ang="0">
                    <a:pos x="415" y="141"/>
                  </a:cxn>
                </a:cxnLst>
                <a:rect l="0" t="0" r="r" b="b"/>
                <a:pathLst>
                  <a:path w="440" h="524">
                    <a:moveTo>
                      <a:pt x="428" y="77"/>
                    </a:moveTo>
                    <a:cubicBezTo>
                      <a:pt x="413" y="79"/>
                      <a:pt x="398" y="79"/>
                      <a:pt x="385" y="79"/>
                    </a:cubicBezTo>
                    <a:cubicBezTo>
                      <a:pt x="328" y="79"/>
                      <a:pt x="289" y="65"/>
                      <a:pt x="264" y="47"/>
                    </a:cubicBezTo>
                    <a:cubicBezTo>
                      <a:pt x="251" y="37"/>
                      <a:pt x="244" y="30"/>
                      <a:pt x="239" y="25"/>
                    </a:cubicBezTo>
                    <a:cubicBezTo>
                      <a:pt x="236" y="20"/>
                      <a:pt x="234" y="18"/>
                      <a:pt x="231" y="18"/>
                    </a:cubicBezTo>
                    <a:cubicBezTo>
                      <a:pt x="231" y="15"/>
                      <a:pt x="231" y="15"/>
                      <a:pt x="231" y="15"/>
                    </a:cubicBezTo>
                    <a:cubicBezTo>
                      <a:pt x="221" y="0"/>
                      <a:pt x="221" y="0"/>
                      <a:pt x="221" y="0"/>
                    </a:cubicBezTo>
                    <a:cubicBezTo>
                      <a:pt x="212" y="15"/>
                      <a:pt x="212" y="15"/>
                      <a:pt x="212" y="15"/>
                    </a:cubicBezTo>
                    <a:cubicBezTo>
                      <a:pt x="212" y="15"/>
                      <a:pt x="212" y="15"/>
                      <a:pt x="209" y="18"/>
                    </a:cubicBezTo>
                    <a:cubicBezTo>
                      <a:pt x="199" y="27"/>
                      <a:pt x="157" y="79"/>
                      <a:pt x="57" y="79"/>
                    </a:cubicBezTo>
                    <a:cubicBezTo>
                      <a:pt x="43" y="79"/>
                      <a:pt x="28" y="79"/>
                      <a:pt x="13" y="77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0" y="89"/>
                      <a:pt x="0" y="173"/>
                      <a:pt x="28" y="269"/>
                    </a:cubicBezTo>
                    <a:cubicBezTo>
                      <a:pt x="52" y="366"/>
                      <a:pt x="107" y="474"/>
                      <a:pt x="217" y="524"/>
                    </a:cubicBezTo>
                    <a:cubicBezTo>
                      <a:pt x="221" y="524"/>
                      <a:pt x="221" y="524"/>
                      <a:pt x="221" y="524"/>
                    </a:cubicBezTo>
                    <a:cubicBezTo>
                      <a:pt x="226" y="524"/>
                      <a:pt x="226" y="524"/>
                      <a:pt x="226" y="524"/>
                    </a:cubicBezTo>
                    <a:cubicBezTo>
                      <a:pt x="336" y="474"/>
                      <a:pt x="388" y="366"/>
                      <a:pt x="415" y="269"/>
                    </a:cubicBezTo>
                    <a:cubicBezTo>
                      <a:pt x="440" y="173"/>
                      <a:pt x="440" y="89"/>
                      <a:pt x="440" y="89"/>
                    </a:cubicBezTo>
                    <a:cubicBezTo>
                      <a:pt x="440" y="77"/>
                      <a:pt x="440" y="77"/>
                      <a:pt x="440" y="77"/>
                    </a:cubicBezTo>
                    <a:lnTo>
                      <a:pt x="428" y="77"/>
                    </a:lnTo>
                    <a:close/>
                    <a:moveTo>
                      <a:pt x="415" y="141"/>
                    </a:moveTo>
                    <a:cubicBezTo>
                      <a:pt x="405" y="237"/>
                      <a:pt x="365" y="432"/>
                      <a:pt x="221" y="499"/>
                    </a:cubicBezTo>
                    <a:cubicBezTo>
                      <a:pt x="125" y="455"/>
                      <a:pt x="75" y="356"/>
                      <a:pt x="50" y="262"/>
                    </a:cubicBezTo>
                    <a:cubicBezTo>
                      <a:pt x="35" y="218"/>
                      <a:pt x="30" y="173"/>
                      <a:pt x="28" y="141"/>
                    </a:cubicBezTo>
                    <a:cubicBezTo>
                      <a:pt x="25" y="124"/>
                      <a:pt x="25" y="111"/>
                      <a:pt x="23" y="101"/>
                    </a:cubicBezTo>
                    <a:cubicBezTo>
                      <a:pt x="35" y="101"/>
                      <a:pt x="45" y="104"/>
                      <a:pt x="57" y="104"/>
                    </a:cubicBezTo>
                    <a:cubicBezTo>
                      <a:pt x="149" y="104"/>
                      <a:pt x="202" y="60"/>
                      <a:pt x="221" y="37"/>
                    </a:cubicBezTo>
                    <a:cubicBezTo>
                      <a:pt x="241" y="60"/>
                      <a:pt x="291" y="104"/>
                      <a:pt x="385" y="104"/>
                    </a:cubicBezTo>
                    <a:cubicBezTo>
                      <a:pt x="395" y="104"/>
                      <a:pt x="405" y="101"/>
                      <a:pt x="418" y="101"/>
                    </a:cubicBezTo>
                    <a:cubicBezTo>
                      <a:pt x="418" y="111"/>
                      <a:pt x="418" y="124"/>
                      <a:pt x="415" y="14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0096D6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35" name="Group 134"/>
            <p:cNvGrpSpPr>
              <a:grpSpLocks noChangeAspect="1"/>
            </p:cNvGrpSpPr>
            <p:nvPr userDrawn="1"/>
          </p:nvGrpSpPr>
          <p:grpSpPr>
            <a:xfrm>
              <a:off x="2400409" y="3297192"/>
              <a:ext cx="91440" cy="131308"/>
              <a:chOff x="4276350" y="2057868"/>
              <a:chExt cx="181590" cy="260763"/>
            </a:xfrm>
            <a:solidFill>
              <a:schemeClr val="bg1">
                <a:lumMod val="85000"/>
                <a:alpha val="30000"/>
              </a:schemeClr>
            </a:solidFill>
          </p:grpSpPr>
          <p:sp>
            <p:nvSpPr>
              <p:cNvPr id="136" name="Freeform 579"/>
              <p:cNvSpPr>
                <a:spLocks/>
              </p:cNvSpPr>
              <p:nvPr/>
            </p:nvSpPr>
            <p:spPr bwMode="auto">
              <a:xfrm>
                <a:off x="4355720" y="2061078"/>
                <a:ext cx="19362" cy="9418"/>
              </a:xfrm>
              <a:custGeom>
                <a:avLst/>
                <a:gdLst>
                  <a:gd name="T0" fmla="*/ 32 w 115"/>
                  <a:gd name="T1" fmla="*/ 0 h 56"/>
                  <a:gd name="T2" fmla="*/ 72 w 115"/>
                  <a:gd name="T3" fmla="*/ 0 h 56"/>
                  <a:gd name="T4" fmla="*/ 0 w 115"/>
                  <a:gd name="T5" fmla="*/ 24 h 56"/>
                  <a:gd name="T6" fmla="*/ 32 w 115"/>
                  <a:gd name="T7" fmla="*/ 0 h 5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15"/>
                  <a:gd name="T13" fmla="*/ 0 h 56"/>
                  <a:gd name="T14" fmla="*/ 115 w 115"/>
                  <a:gd name="T15" fmla="*/ 56 h 5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15" h="56">
                    <a:moveTo>
                      <a:pt x="32" y="0"/>
                    </a:moveTo>
                    <a:cubicBezTo>
                      <a:pt x="45" y="0"/>
                      <a:pt x="59" y="0"/>
                      <a:pt x="72" y="0"/>
                    </a:cubicBezTo>
                    <a:cubicBezTo>
                      <a:pt x="115" y="34"/>
                      <a:pt x="15" y="56"/>
                      <a:pt x="0" y="24"/>
                    </a:cubicBezTo>
                    <a:cubicBezTo>
                      <a:pt x="0" y="5"/>
                      <a:pt x="22" y="8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7" name="Freeform 580"/>
              <p:cNvSpPr>
                <a:spLocks/>
              </p:cNvSpPr>
              <p:nvPr/>
            </p:nvSpPr>
            <p:spPr bwMode="auto">
              <a:xfrm>
                <a:off x="4327460" y="2057868"/>
                <a:ext cx="92824" cy="34887"/>
              </a:xfrm>
              <a:custGeom>
                <a:avLst/>
                <a:gdLst>
                  <a:gd name="T0" fmla="*/ 376 w 552"/>
                  <a:gd name="T1" fmla="*/ 75 h 207"/>
                  <a:gd name="T2" fmla="*/ 308 w 552"/>
                  <a:gd name="T3" fmla="*/ 79 h 207"/>
                  <a:gd name="T4" fmla="*/ 452 w 552"/>
                  <a:gd name="T5" fmla="*/ 123 h 207"/>
                  <a:gd name="T6" fmla="*/ 552 w 552"/>
                  <a:gd name="T7" fmla="*/ 207 h 207"/>
                  <a:gd name="T8" fmla="*/ 428 w 552"/>
                  <a:gd name="T9" fmla="*/ 155 h 207"/>
                  <a:gd name="T10" fmla="*/ 200 w 552"/>
                  <a:gd name="T11" fmla="*/ 127 h 207"/>
                  <a:gd name="T12" fmla="*/ 124 w 552"/>
                  <a:gd name="T13" fmla="*/ 111 h 207"/>
                  <a:gd name="T14" fmla="*/ 0 w 552"/>
                  <a:gd name="T15" fmla="*/ 131 h 207"/>
                  <a:gd name="T16" fmla="*/ 224 w 552"/>
                  <a:gd name="T17" fmla="*/ 71 h 207"/>
                  <a:gd name="T18" fmla="*/ 376 w 552"/>
                  <a:gd name="T19" fmla="*/ 75 h 20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52"/>
                  <a:gd name="T31" fmla="*/ 0 h 207"/>
                  <a:gd name="T32" fmla="*/ 552 w 552"/>
                  <a:gd name="T33" fmla="*/ 207 h 207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52" h="207">
                    <a:moveTo>
                      <a:pt x="376" y="75"/>
                    </a:moveTo>
                    <a:cubicBezTo>
                      <a:pt x="349" y="75"/>
                      <a:pt x="328" y="67"/>
                      <a:pt x="308" y="79"/>
                    </a:cubicBezTo>
                    <a:cubicBezTo>
                      <a:pt x="347" y="104"/>
                      <a:pt x="405" y="105"/>
                      <a:pt x="452" y="123"/>
                    </a:cubicBezTo>
                    <a:cubicBezTo>
                      <a:pt x="494" y="139"/>
                      <a:pt x="548" y="155"/>
                      <a:pt x="552" y="207"/>
                    </a:cubicBezTo>
                    <a:cubicBezTo>
                      <a:pt x="510" y="197"/>
                      <a:pt x="473" y="171"/>
                      <a:pt x="428" y="155"/>
                    </a:cubicBezTo>
                    <a:cubicBezTo>
                      <a:pt x="359" y="130"/>
                      <a:pt x="295" y="137"/>
                      <a:pt x="200" y="127"/>
                    </a:cubicBezTo>
                    <a:cubicBezTo>
                      <a:pt x="174" y="124"/>
                      <a:pt x="150" y="111"/>
                      <a:pt x="124" y="111"/>
                    </a:cubicBezTo>
                    <a:cubicBezTo>
                      <a:pt x="77" y="112"/>
                      <a:pt x="41" y="154"/>
                      <a:pt x="0" y="131"/>
                    </a:cubicBezTo>
                    <a:cubicBezTo>
                      <a:pt x="17" y="48"/>
                      <a:pt x="142" y="83"/>
                      <a:pt x="224" y="71"/>
                    </a:cubicBezTo>
                    <a:cubicBezTo>
                      <a:pt x="275" y="64"/>
                      <a:pt x="359" y="0"/>
                      <a:pt x="376" y="75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8" name="Freeform 581"/>
              <p:cNvSpPr>
                <a:spLocks/>
              </p:cNvSpPr>
              <p:nvPr/>
            </p:nvSpPr>
            <p:spPr bwMode="auto">
              <a:xfrm>
                <a:off x="4395441" y="2065645"/>
                <a:ext cx="14450" cy="12485"/>
              </a:xfrm>
              <a:custGeom>
                <a:avLst/>
                <a:gdLst>
                  <a:gd name="T0" fmla="*/ 80 w 86"/>
                  <a:gd name="T1" fmla="*/ 65 h 74"/>
                  <a:gd name="T2" fmla="*/ 0 w 86"/>
                  <a:gd name="T3" fmla="*/ 41 h 74"/>
                  <a:gd name="T4" fmla="*/ 80 w 86"/>
                  <a:gd name="T5" fmla="*/ 65 h 74"/>
                  <a:gd name="T6" fmla="*/ 0 60000 65536"/>
                  <a:gd name="T7" fmla="*/ 0 60000 65536"/>
                  <a:gd name="T8" fmla="*/ 0 60000 65536"/>
                  <a:gd name="T9" fmla="*/ 0 w 86"/>
                  <a:gd name="T10" fmla="*/ 0 h 74"/>
                  <a:gd name="T11" fmla="*/ 86 w 86"/>
                  <a:gd name="T12" fmla="*/ 74 h 7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6" h="74">
                    <a:moveTo>
                      <a:pt x="80" y="65"/>
                    </a:moveTo>
                    <a:cubicBezTo>
                      <a:pt x="52" y="74"/>
                      <a:pt x="18" y="55"/>
                      <a:pt x="0" y="41"/>
                    </a:cubicBezTo>
                    <a:cubicBezTo>
                      <a:pt x="8" y="0"/>
                      <a:pt x="86" y="28"/>
                      <a:pt x="80" y="65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9" name="Freeform 582"/>
              <p:cNvSpPr>
                <a:spLocks/>
              </p:cNvSpPr>
              <p:nvPr/>
            </p:nvSpPr>
            <p:spPr bwMode="auto">
              <a:xfrm>
                <a:off x="4296709" y="2079271"/>
                <a:ext cx="153330" cy="73484"/>
              </a:xfrm>
              <a:custGeom>
                <a:avLst/>
                <a:gdLst>
                  <a:gd name="T0" fmla="*/ 895 w 912"/>
                  <a:gd name="T1" fmla="*/ 436 h 436"/>
                  <a:gd name="T2" fmla="*/ 831 w 912"/>
                  <a:gd name="T3" fmla="*/ 336 h 436"/>
                  <a:gd name="T4" fmla="*/ 759 w 912"/>
                  <a:gd name="T5" fmla="*/ 248 h 436"/>
                  <a:gd name="T6" fmla="*/ 747 w 912"/>
                  <a:gd name="T7" fmla="*/ 184 h 436"/>
                  <a:gd name="T8" fmla="*/ 491 w 912"/>
                  <a:gd name="T9" fmla="*/ 64 h 436"/>
                  <a:gd name="T10" fmla="*/ 295 w 912"/>
                  <a:gd name="T11" fmla="*/ 44 h 436"/>
                  <a:gd name="T12" fmla="*/ 479 w 912"/>
                  <a:gd name="T13" fmla="*/ 84 h 436"/>
                  <a:gd name="T14" fmla="*/ 727 w 912"/>
                  <a:gd name="T15" fmla="*/ 220 h 436"/>
                  <a:gd name="T16" fmla="*/ 471 w 912"/>
                  <a:gd name="T17" fmla="*/ 120 h 436"/>
                  <a:gd name="T18" fmla="*/ 363 w 912"/>
                  <a:gd name="T19" fmla="*/ 120 h 436"/>
                  <a:gd name="T20" fmla="*/ 275 w 912"/>
                  <a:gd name="T21" fmla="*/ 92 h 436"/>
                  <a:gd name="T22" fmla="*/ 7 w 912"/>
                  <a:gd name="T23" fmla="*/ 216 h 436"/>
                  <a:gd name="T24" fmla="*/ 99 w 912"/>
                  <a:gd name="T25" fmla="*/ 132 h 436"/>
                  <a:gd name="T26" fmla="*/ 251 w 912"/>
                  <a:gd name="T27" fmla="*/ 24 h 436"/>
                  <a:gd name="T28" fmla="*/ 387 w 912"/>
                  <a:gd name="T29" fmla="*/ 24 h 436"/>
                  <a:gd name="T30" fmla="*/ 503 w 912"/>
                  <a:gd name="T31" fmla="*/ 28 h 436"/>
                  <a:gd name="T32" fmla="*/ 779 w 912"/>
                  <a:gd name="T33" fmla="*/ 148 h 436"/>
                  <a:gd name="T34" fmla="*/ 803 w 912"/>
                  <a:gd name="T35" fmla="*/ 228 h 436"/>
                  <a:gd name="T36" fmla="*/ 847 w 912"/>
                  <a:gd name="T37" fmla="*/ 276 h 436"/>
                  <a:gd name="T38" fmla="*/ 895 w 912"/>
                  <a:gd name="T39" fmla="*/ 436 h 4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912"/>
                  <a:gd name="T61" fmla="*/ 0 h 436"/>
                  <a:gd name="T62" fmla="*/ 912 w 912"/>
                  <a:gd name="T63" fmla="*/ 436 h 4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912" h="436">
                    <a:moveTo>
                      <a:pt x="895" y="436"/>
                    </a:moveTo>
                    <a:cubicBezTo>
                      <a:pt x="864" y="406"/>
                      <a:pt x="854" y="371"/>
                      <a:pt x="831" y="336"/>
                    </a:cubicBezTo>
                    <a:cubicBezTo>
                      <a:pt x="811" y="305"/>
                      <a:pt x="772" y="280"/>
                      <a:pt x="759" y="248"/>
                    </a:cubicBezTo>
                    <a:cubicBezTo>
                      <a:pt x="752" y="230"/>
                      <a:pt x="756" y="204"/>
                      <a:pt x="747" y="184"/>
                    </a:cubicBezTo>
                    <a:cubicBezTo>
                      <a:pt x="721" y="123"/>
                      <a:pt x="586" y="71"/>
                      <a:pt x="491" y="64"/>
                    </a:cubicBezTo>
                    <a:cubicBezTo>
                      <a:pt x="413" y="58"/>
                      <a:pt x="362" y="58"/>
                      <a:pt x="295" y="44"/>
                    </a:cubicBezTo>
                    <a:cubicBezTo>
                      <a:pt x="321" y="92"/>
                      <a:pt x="409" y="79"/>
                      <a:pt x="479" y="84"/>
                    </a:cubicBezTo>
                    <a:cubicBezTo>
                      <a:pt x="591" y="92"/>
                      <a:pt x="712" y="133"/>
                      <a:pt x="727" y="220"/>
                    </a:cubicBezTo>
                    <a:cubicBezTo>
                      <a:pt x="646" y="185"/>
                      <a:pt x="577" y="128"/>
                      <a:pt x="471" y="120"/>
                    </a:cubicBezTo>
                    <a:cubicBezTo>
                      <a:pt x="437" y="117"/>
                      <a:pt x="399" y="124"/>
                      <a:pt x="363" y="120"/>
                    </a:cubicBezTo>
                    <a:cubicBezTo>
                      <a:pt x="333" y="116"/>
                      <a:pt x="305" y="94"/>
                      <a:pt x="275" y="92"/>
                    </a:cubicBezTo>
                    <a:cubicBezTo>
                      <a:pt x="165" y="84"/>
                      <a:pt x="112" y="218"/>
                      <a:pt x="7" y="216"/>
                    </a:cubicBezTo>
                    <a:cubicBezTo>
                      <a:pt x="0" y="168"/>
                      <a:pt x="63" y="154"/>
                      <a:pt x="99" y="132"/>
                    </a:cubicBezTo>
                    <a:cubicBezTo>
                      <a:pt x="142" y="106"/>
                      <a:pt x="199" y="55"/>
                      <a:pt x="251" y="24"/>
                    </a:cubicBezTo>
                    <a:cubicBezTo>
                      <a:pt x="292" y="0"/>
                      <a:pt x="338" y="16"/>
                      <a:pt x="387" y="24"/>
                    </a:cubicBezTo>
                    <a:cubicBezTo>
                      <a:pt x="425" y="30"/>
                      <a:pt x="464" y="25"/>
                      <a:pt x="503" y="28"/>
                    </a:cubicBezTo>
                    <a:cubicBezTo>
                      <a:pt x="592" y="34"/>
                      <a:pt x="736" y="87"/>
                      <a:pt x="779" y="148"/>
                    </a:cubicBezTo>
                    <a:cubicBezTo>
                      <a:pt x="796" y="173"/>
                      <a:pt x="793" y="202"/>
                      <a:pt x="803" y="228"/>
                    </a:cubicBezTo>
                    <a:cubicBezTo>
                      <a:pt x="811" y="248"/>
                      <a:pt x="831" y="256"/>
                      <a:pt x="847" y="276"/>
                    </a:cubicBezTo>
                    <a:cubicBezTo>
                      <a:pt x="880" y="315"/>
                      <a:pt x="912" y="375"/>
                      <a:pt x="895" y="436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0" name="Freeform 583"/>
              <p:cNvSpPr>
                <a:spLocks/>
              </p:cNvSpPr>
              <p:nvPr/>
            </p:nvSpPr>
            <p:spPr bwMode="auto">
              <a:xfrm>
                <a:off x="4308668" y="2082981"/>
                <a:ext cx="18152" cy="13841"/>
              </a:xfrm>
              <a:custGeom>
                <a:avLst/>
                <a:gdLst>
                  <a:gd name="T0" fmla="*/ 108 w 108"/>
                  <a:gd name="T1" fmla="*/ 10 h 82"/>
                  <a:gd name="T2" fmla="*/ 0 w 108"/>
                  <a:gd name="T3" fmla="*/ 82 h 82"/>
                  <a:gd name="T4" fmla="*/ 108 w 108"/>
                  <a:gd name="T5" fmla="*/ 10 h 82"/>
                  <a:gd name="T6" fmla="*/ 0 60000 65536"/>
                  <a:gd name="T7" fmla="*/ 0 60000 65536"/>
                  <a:gd name="T8" fmla="*/ 0 60000 65536"/>
                  <a:gd name="T9" fmla="*/ 0 w 108"/>
                  <a:gd name="T10" fmla="*/ 0 h 82"/>
                  <a:gd name="T11" fmla="*/ 108 w 108"/>
                  <a:gd name="T12" fmla="*/ 82 h 8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08" h="82">
                    <a:moveTo>
                      <a:pt x="108" y="10"/>
                    </a:moveTo>
                    <a:cubicBezTo>
                      <a:pt x="93" y="53"/>
                      <a:pt x="43" y="81"/>
                      <a:pt x="0" y="82"/>
                    </a:cubicBezTo>
                    <a:cubicBezTo>
                      <a:pt x="14" y="38"/>
                      <a:pt x="53" y="0"/>
                      <a:pt x="108" y="1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1" name="Freeform 584"/>
              <p:cNvSpPr>
                <a:spLocks/>
              </p:cNvSpPr>
              <p:nvPr/>
            </p:nvSpPr>
            <p:spPr bwMode="auto">
              <a:xfrm>
                <a:off x="4281760" y="2094824"/>
                <a:ext cx="65204" cy="61284"/>
              </a:xfrm>
              <a:custGeom>
                <a:avLst/>
                <a:gdLst>
                  <a:gd name="T0" fmla="*/ 388 w 388"/>
                  <a:gd name="T1" fmla="*/ 36 h 364"/>
                  <a:gd name="T2" fmla="*/ 220 w 388"/>
                  <a:gd name="T3" fmla="*/ 148 h 364"/>
                  <a:gd name="T4" fmla="*/ 192 w 388"/>
                  <a:gd name="T5" fmla="*/ 200 h 364"/>
                  <a:gd name="T6" fmla="*/ 96 w 388"/>
                  <a:gd name="T7" fmla="*/ 276 h 364"/>
                  <a:gd name="T8" fmla="*/ 12 w 388"/>
                  <a:gd name="T9" fmla="*/ 364 h 364"/>
                  <a:gd name="T10" fmla="*/ 88 w 388"/>
                  <a:gd name="T11" fmla="*/ 232 h 364"/>
                  <a:gd name="T12" fmla="*/ 160 w 388"/>
                  <a:gd name="T13" fmla="*/ 184 h 364"/>
                  <a:gd name="T14" fmla="*/ 208 w 388"/>
                  <a:gd name="T15" fmla="*/ 104 h 364"/>
                  <a:gd name="T16" fmla="*/ 388 w 388"/>
                  <a:gd name="T17" fmla="*/ 36 h 36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88"/>
                  <a:gd name="T28" fmla="*/ 0 h 364"/>
                  <a:gd name="T29" fmla="*/ 388 w 388"/>
                  <a:gd name="T30" fmla="*/ 364 h 36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88" h="364">
                    <a:moveTo>
                      <a:pt x="388" y="36"/>
                    </a:moveTo>
                    <a:cubicBezTo>
                      <a:pt x="327" y="76"/>
                      <a:pt x="262" y="93"/>
                      <a:pt x="220" y="148"/>
                    </a:cubicBezTo>
                    <a:cubicBezTo>
                      <a:pt x="208" y="164"/>
                      <a:pt x="205" y="185"/>
                      <a:pt x="192" y="200"/>
                    </a:cubicBezTo>
                    <a:cubicBezTo>
                      <a:pt x="166" y="229"/>
                      <a:pt x="126" y="246"/>
                      <a:pt x="96" y="276"/>
                    </a:cubicBezTo>
                    <a:cubicBezTo>
                      <a:pt x="66" y="306"/>
                      <a:pt x="53" y="347"/>
                      <a:pt x="12" y="364"/>
                    </a:cubicBezTo>
                    <a:cubicBezTo>
                      <a:pt x="0" y="307"/>
                      <a:pt x="48" y="268"/>
                      <a:pt x="88" y="232"/>
                    </a:cubicBezTo>
                    <a:cubicBezTo>
                      <a:pt x="110" y="212"/>
                      <a:pt x="142" y="202"/>
                      <a:pt x="160" y="184"/>
                    </a:cubicBezTo>
                    <a:cubicBezTo>
                      <a:pt x="179" y="165"/>
                      <a:pt x="187" y="127"/>
                      <a:pt x="208" y="104"/>
                    </a:cubicBezTo>
                    <a:cubicBezTo>
                      <a:pt x="245" y="65"/>
                      <a:pt x="341" y="0"/>
                      <a:pt x="388" y="36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2" name="Freeform 585"/>
              <p:cNvSpPr>
                <a:spLocks/>
              </p:cNvSpPr>
              <p:nvPr/>
            </p:nvSpPr>
            <p:spPr bwMode="auto">
              <a:xfrm>
                <a:off x="4321409" y="2100532"/>
                <a:ext cx="136531" cy="134483"/>
              </a:xfrm>
              <a:custGeom>
                <a:avLst/>
                <a:gdLst>
                  <a:gd name="T0" fmla="*/ 812 w 812"/>
                  <a:gd name="T1" fmla="*/ 598 h 798"/>
                  <a:gd name="T2" fmla="*/ 812 w 812"/>
                  <a:gd name="T3" fmla="*/ 682 h 798"/>
                  <a:gd name="T4" fmla="*/ 760 w 812"/>
                  <a:gd name="T5" fmla="*/ 798 h 798"/>
                  <a:gd name="T6" fmla="*/ 772 w 812"/>
                  <a:gd name="T7" fmla="*/ 590 h 798"/>
                  <a:gd name="T8" fmla="*/ 576 w 812"/>
                  <a:gd name="T9" fmla="*/ 182 h 798"/>
                  <a:gd name="T10" fmla="*/ 100 w 812"/>
                  <a:gd name="T11" fmla="*/ 94 h 798"/>
                  <a:gd name="T12" fmla="*/ 0 w 812"/>
                  <a:gd name="T13" fmla="*/ 154 h 798"/>
                  <a:gd name="T14" fmla="*/ 112 w 812"/>
                  <a:gd name="T15" fmla="*/ 50 h 798"/>
                  <a:gd name="T16" fmla="*/ 364 w 812"/>
                  <a:gd name="T17" fmla="*/ 22 h 798"/>
                  <a:gd name="T18" fmla="*/ 812 w 812"/>
                  <a:gd name="T19" fmla="*/ 598 h 79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812"/>
                  <a:gd name="T31" fmla="*/ 0 h 798"/>
                  <a:gd name="T32" fmla="*/ 812 w 812"/>
                  <a:gd name="T33" fmla="*/ 798 h 79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812" h="798">
                    <a:moveTo>
                      <a:pt x="812" y="598"/>
                    </a:moveTo>
                    <a:cubicBezTo>
                      <a:pt x="812" y="626"/>
                      <a:pt x="812" y="654"/>
                      <a:pt x="812" y="682"/>
                    </a:cubicBezTo>
                    <a:cubicBezTo>
                      <a:pt x="796" y="722"/>
                      <a:pt x="801" y="783"/>
                      <a:pt x="760" y="798"/>
                    </a:cubicBezTo>
                    <a:cubicBezTo>
                      <a:pt x="757" y="729"/>
                      <a:pt x="777" y="659"/>
                      <a:pt x="772" y="590"/>
                    </a:cubicBezTo>
                    <a:cubicBezTo>
                      <a:pt x="760" y="437"/>
                      <a:pt x="656" y="264"/>
                      <a:pt x="576" y="182"/>
                    </a:cubicBezTo>
                    <a:cubicBezTo>
                      <a:pt x="477" y="80"/>
                      <a:pt x="267" y="0"/>
                      <a:pt x="100" y="94"/>
                    </a:cubicBezTo>
                    <a:cubicBezTo>
                      <a:pt x="64" y="114"/>
                      <a:pt x="48" y="161"/>
                      <a:pt x="0" y="154"/>
                    </a:cubicBezTo>
                    <a:cubicBezTo>
                      <a:pt x="13" y="101"/>
                      <a:pt x="67" y="72"/>
                      <a:pt x="112" y="50"/>
                    </a:cubicBezTo>
                    <a:cubicBezTo>
                      <a:pt x="181" y="17"/>
                      <a:pt x="283" y="3"/>
                      <a:pt x="364" y="22"/>
                    </a:cubicBezTo>
                    <a:cubicBezTo>
                      <a:pt x="614" y="81"/>
                      <a:pt x="776" y="324"/>
                      <a:pt x="812" y="598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3" name="Freeform 586"/>
              <p:cNvSpPr>
                <a:spLocks/>
              </p:cNvSpPr>
              <p:nvPr/>
            </p:nvSpPr>
            <p:spPr bwMode="auto">
              <a:xfrm>
                <a:off x="4276350" y="2113159"/>
                <a:ext cx="171340" cy="115791"/>
              </a:xfrm>
              <a:custGeom>
                <a:avLst/>
                <a:gdLst>
                  <a:gd name="T0" fmla="*/ 0 w 1019"/>
                  <a:gd name="T1" fmla="*/ 467 h 687"/>
                  <a:gd name="T2" fmla="*/ 0 w 1019"/>
                  <a:gd name="T3" fmla="*/ 435 h 687"/>
                  <a:gd name="T4" fmla="*/ 220 w 1019"/>
                  <a:gd name="T5" fmla="*/ 131 h 687"/>
                  <a:gd name="T6" fmla="*/ 296 w 1019"/>
                  <a:gd name="T7" fmla="*/ 103 h 687"/>
                  <a:gd name="T8" fmla="*/ 380 w 1019"/>
                  <a:gd name="T9" fmla="*/ 43 h 687"/>
                  <a:gd name="T10" fmla="*/ 588 w 1019"/>
                  <a:gd name="T11" fmla="*/ 3 h 687"/>
                  <a:gd name="T12" fmla="*/ 844 w 1019"/>
                  <a:gd name="T13" fmla="*/ 143 h 687"/>
                  <a:gd name="T14" fmla="*/ 1012 w 1019"/>
                  <a:gd name="T15" fmla="*/ 551 h 687"/>
                  <a:gd name="T16" fmla="*/ 976 w 1019"/>
                  <a:gd name="T17" fmla="*/ 687 h 687"/>
                  <a:gd name="T18" fmla="*/ 968 w 1019"/>
                  <a:gd name="T19" fmla="*/ 539 h 687"/>
                  <a:gd name="T20" fmla="*/ 820 w 1019"/>
                  <a:gd name="T21" fmla="*/ 187 h 687"/>
                  <a:gd name="T22" fmla="*/ 412 w 1019"/>
                  <a:gd name="T23" fmla="*/ 75 h 687"/>
                  <a:gd name="T24" fmla="*/ 304 w 1019"/>
                  <a:gd name="T25" fmla="*/ 151 h 687"/>
                  <a:gd name="T26" fmla="*/ 232 w 1019"/>
                  <a:gd name="T27" fmla="*/ 171 h 687"/>
                  <a:gd name="T28" fmla="*/ 68 w 1019"/>
                  <a:gd name="T29" fmla="*/ 371 h 687"/>
                  <a:gd name="T30" fmla="*/ 0 w 1019"/>
                  <a:gd name="T31" fmla="*/ 467 h 687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019"/>
                  <a:gd name="T49" fmla="*/ 0 h 687"/>
                  <a:gd name="T50" fmla="*/ 1019 w 1019"/>
                  <a:gd name="T51" fmla="*/ 687 h 687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019" h="687">
                    <a:moveTo>
                      <a:pt x="0" y="467"/>
                    </a:moveTo>
                    <a:cubicBezTo>
                      <a:pt x="0" y="456"/>
                      <a:pt x="0" y="446"/>
                      <a:pt x="0" y="435"/>
                    </a:cubicBezTo>
                    <a:cubicBezTo>
                      <a:pt x="35" y="319"/>
                      <a:pt x="123" y="178"/>
                      <a:pt x="220" y="131"/>
                    </a:cubicBezTo>
                    <a:cubicBezTo>
                      <a:pt x="245" y="119"/>
                      <a:pt x="272" y="115"/>
                      <a:pt x="296" y="103"/>
                    </a:cubicBezTo>
                    <a:cubicBezTo>
                      <a:pt x="329" y="86"/>
                      <a:pt x="354" y="58"/>
                      <a:pt x="380" y="43"/>
                    </a:cubicBezTo>
                    <a:cubicBezTo>
                      <a:pt x="432" y="14"/>
                      <a:pt x="497" y="0"/>
                      <a:pt x="588" y="3"/>
                    </a:cubicBezTo>
                    <a:cubicBezTo>
                      <a:pt x="693" y="7"/>
                      <a:pt x="788" y="78"/>
                      <a:pt x="844" y="143"/>
                    </a:cubicBezTo>
                    <a:cubicBezTo>
                      <a:pt x="930" y="242"/>
                      <a:pt x="1012" y="387"/>
                      <a:pt x="1012" y="551"/>
                    </a:cubicBezTo>
                    <a:cubicBezTo>
                      <a:pt x="1012" y="598"/>
                      <a:pt x="1019" y="653"/>
                      <a:pt x="976" y="687"/>
                    </a:cubicBezTo>
                    <a:cubicBezTo>
                      <a:pt x="955" y="635"/>
                      <a:pt x="970" y="584"/>
                      <a:pt x="968" y="539"/>
                    </a:cubicBezTo>
                    <a:cubicBezTo>
                      <a:pt x="961" y="392"/>
                      <a:pt x="890" y="271"/>
                      <a:pt x="820" y="187"/>
                    </a:cubicBezTo>
                    <a:cubicBezTo>
                      <a:pt x="740" y="91"/>
                      <a:pt x="571" y="0"/>
                      <a:pt x="412" y="75"/>
                    </a:cubicBezTo>
                    <a:cubicBezTo>
                      <a:pt x="373" y="93"/>
                      <a:pt x="347" y="132"/>
                      <a:pt x="304" y="151"/>
                    </a:cubicBezTo>
                    <a:cubicBezTo>
                      <a:pt x="283" y="160"/>
                      <a:pt x="256" y="159"/>
                      <a:pt x="232" y="171"/>
                    </a:cubicBezTo>
                    <a:cubicBezTo>
                      <a:pt x="156" y="208"/>
                      <a:pt x="102" y="300"/>
                      <a:pt x="68" y="371"/>
                    </a:cubicBezTo>
                    <a:cubicBezTo>
                      <a:pt x="52" y="406"/>
                      <a:pt x="34" y="484"/>
                      <a:pt x="0" y="467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4" name="Freeform 587"/>
              <p:cNvSpPr>
                <a:spLocks/>
              </p:cNvSpPr>
              <p:nvPr/>
            </p:nvSpPr>
            <p:spPr bwMode="auto">
              <a:xfrm>
                <a:off x="4290302" y="2116370"/>
                <a:ext cx="18365" cy="16837"/>
              </a:xfrm>
              <a:custGeom>
                <a:avLst/>
                <a:gdLst>
                  <a:gd name="T0" fmla="*/ 109 w 109"/>
                  <a:gd name="T1" fmla="*/ 0 h 100"/>
                  <a:gd name="T2" fmla="*/ 1 w 109"/>
                  <a:gd name="T3" fmla="*/ 100 h 100"/>
                  <a:gd name="T4" fmla="*/ 109 w 109"/>
                  <a:gd name="T5" fmla="*/ 0 h 100"/>
                  <a:gd name="T6" fmla="*/ 0 60000 65536"/>
                  <a:gd name="T7" fmla="*/ 0 60000 65536"/>
                  <a:gd name="T8" fmla="*/ 0 60000 65536"/>
                  <a:gd name="T9" fmla="*/ 0 w 109"/>
                  <a:gd name="T10" fmla="*/ 0 h 100"/>
                  <a:gd name="T11" fmla="*/ 109 w 109"/>
                  <a:gd name="T12" fmla="*/ 100 h 1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09" h="100">
                    <a:moveTo>
                      <a:pt x="109" y="0"/>
                    </a:moveTo>
                    <a:cubicBezTo>
                      <a:pt x="102" y="62"/>
                      <a:pt x="47" y="77"/>
                      <a:pt x="1" y="100"/>
                    </a:cubicBezTo>
                    <a:cubicBezTo>
                      <a:pt x="0" y="45"/>
                      <a:pt x="52" y="10"/>
                      <a:pt x="109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5" name="Freeform 588"/>
              <p:cNvSpPr>
                <a:spLocks/>
              </p:cNvSpPr>
              <p:nvPr/>
            </p:nvSpPr>
            <p:spPr bwMode="auto">
              <a:xfrm>
                <a:off x="4278699" y="2124931"/>
                <a:ext cx="140232" cy="177504"/>
              </a:xfrm>
              <a:custGeom>
                <a:avLst/>
                <a:gdLst>
                  <a:gd name="T0" fmla="*/ 386 w 834"/>
                  <a:gd name="T1" fmla="*/ 105 h 1053"/>
                  <a:gd name="T2" fmla="*/ 470 w 834"/>
                  <a:gd name="T3" fmla="*/ 85 h 1053"/>
                  <a:gd name="T4" fmla="*/ 834 w 834"/>
                  <a:gd name="T5" fmla="*/ 397 h 1053"/>
                  <a:gd name="T6" fmla="*/ 830 w 834"/>
                  <a:gd name="T7" fmla="*/ 429 h 1053"/>
                  <a:gd name="T8" fmla="*/ 694 w 834"/>
                  <a:gd name="T9" fmla="*/ 869 h 1053"/>
                  <a:gd name="T10" fmla="*/ 542 w 834"/>
                  <a:gd name="T11" fmla="*/ 937 h 1053"/>
                  <a:gd name="T12" fmla="*/ 434 w 834"/>
                  <a:gd name="T13" fmla="*/ 1001 h 1053"/>
                  <a:gd name="T14" fmla="*/ 302 w 834"/>
                  <a:gd name="T15" fmla="*/ 1021 h 1053"/>
                  <a:gd name="T16" fmla="*/ 222 w 834"/>
                  <a:gd name="T17" fmla="*/ 1045 h 1053"/>
                  <a:gd name="T18" fmla="*/ 390 w 834"/>
                  <a:gd name="T19" fmla="*/ 965 h 1053"/>
                  <a:gd name="T20" fmla="*/ 690 w 834"/>
                  <a:gd name="T21" fmla="*/ 625 h 1053"/>
                  <a:gd name="T22" fmla="*/ 714 w 834"/>
                  <a:gd name="T23" fmla="*/ 521 h 1053"/>
                  <a:gd name="T24" fmla="*/ 722 w 834"/>
                  <a:gd name="T25" fmla="*/ 653 h 1053"/>
                  <a:gd name="T26" fmla="*/ 622 w 834"/>
                  <a:gd name="T27" fmla="*/ 861 h 1053"/>
                  <a:gd name="T28" fmla="*/ 766 w 834"/>
                  <a:gd name="T29" fmla="*/ 529 h 1053"/>
                  <a:gd name="T30" fmla="*/ 778 w 834"/>
                  <a:gd name="T31" fmla="*/ 361 h 1053"/>
                  <a:gd name="T32" fmla="*/ 522 w 834"/>
                  <a:gd name="T33" fmla="*/ 133 h 1053"/>
                  <a:gd name="T34" fmla="*/ 326 w 834"/>
                  <a:gd name="T35" fmla="*/ 205 h 1053"/>
                  <a:gd name="T36" fmla="*/ 202 w 834"/>
                  <a:gd name="T37" fmla="*/ 321 h 1053"/>
                  <a:gd name="T38" fmla="*/ 114 w 834"/>
                  <a:gd name="T39" fmla="*/ 505 h 1053"/>
                  <a:gd name="T40" fmla="*/ 18 w 834"/>
                  <a:gd name="T41" fmla="*/ 645 h 1053"/>
                  <a:gd name="T42" fmla="*/ 78 w 834"/>
                  <a:gd name="T43" fmla="*/ 477 h 1053"/>
                  <a:gd name="T44" fmla="*/ 150 w 834"/>
                  <a:gd name="T45" fmla="*/ 309 h 1053"/>
                  <a:gd name="T46" fmla="*/ 266 w 834"/>
                  <a:gd name="T47" fmla="*/ 185 h 1053"/>
                  <a:gd name="T48" fmla="*/ 502 w 834"/>
                  <a:gd name="T49" fmla="*/ 5 h 1053"/>
                  <a:gd name="T50" fmla="*/ 574 w 834"/>
                  <a:gd name="T51" fmla="*/ 25 h 1053"/>
                  <a:gd name="T52" fmla="*/ 470 w 834"/>
                  <a:gd name="T53" fmla="*/ 57 h 1053"/>
                  <a:gd name="T54" fmla="*/ 386 w 834"/>
                  <a:gd name="T55" fmla="*/ 105 h 1053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834"/>
                  <a:gd name="T85" fmla="*/ 0 h 1053"/>
                  <a:gd name="T86" fmla="*/ 834 w 834"/>
                  <a:gd name="T87" fmla="*/ 1053 h 1053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834" h="1053">
                    <a:moveTo>
                      <a:pt x="386" y="105"/>
                    </a:moveTo>
                    <a:cubicBezTo>
                      <a:pt x="419" y="107"/>
                      <a:pt x="441" y="88"/>
                      <a:pt x="470" y="85"/>
                    </a:cubicBezTo>
                    <a:cubicBezTo>
                      <a:pt x="658" y="63"/>
                      <a:pt x="834" y="235"/>
                      <a:pt x="834" y="397"/>
                    </a:cubicBezTo>
                    <a:cubicBezTo>
                      <a:pt x="834" y="407"/>
                      <a:pt x="832" y="420"/>
                      <a:pt x="830" y="429"/>
                    </a:cubicBezTo>
                    <a:cubicBezTo>
                      <a:pt x="792" y="614"/>
                      <a:pt x="805" y="765"/>
                      <a:pt x="694" y="869"/>
                    </a:cubicBezTo>
                    <a:cubicBezTo>
                      <a:pt x="652" y="909"/>
                      <a:pt x="601" y="916"/>
                      <a:pt x="542" y="937"/>
                    </a:cubicBezTo>
                    <a:cubicBezTo>
                      <a:pt x="502" y="951"/>
                      <a:pt x="477" y="984"/>
                      <a:pt x="434" y="1001"/>
                    </a:cubicBezTo>
                    <a:cubicBezTo>
                      <a:pt x="395" y="1017"/>
                      <a:pt x="348" y="1010"/>
                      <a:pt x="302" y="1021"/>
                    </a:cubicBezTo>
                    <a:cubicBezTo>
                      <a:pt x="278" y="1027"/>
                      <a:pt x="256" y="1053"/>
                      <a:pt x="222" y="1045"/>
                    </a:cubicBezTo>
                    <a:cubicBezTo>
                      <a:pt x="220" y="972"/>
                      <a:pt x="328" y="988"/>
                      <a:pt x="390" y="965"/>
                    </a:cubicBezTo>
                    <a:cubicBezTo>
                      <a:pt x="533" y="914"/>
                      <a:pt x="657" y="786"/>
                      <a:pt x="690" y="625"/>
                    </a:cubicBezTo>
                    <a:cubicBezTo>
                      <a:pt x="697" y="593"/>
                      <a:pt x="685" y="552"/>
                      <a:pt x="714" y="521"/>
                    </a:cubicBezTo>
                    <a:cubicBezTo>
                      <a:pt x="764" y="541"/>
                      <a:pt x="733" y="611"/>
                      <a:pt x="722" y="653"/>
                    </a:cubicBezTo>
                    <a:cubicBezTo>
                      <a:pt x="700" y="737"/>
                      <a:pt x="671" y="808"/>
                      <a:pt x="622" y="861"/>
                    </a:cubicBezTo>
                    <a:cubicBezTo>
                      <a:pt x="735" y="819"/>
                      <a:pt x="755" y="678"/>
                      <a:pt x="766" y="529"/>
                    </a:cubicBezTo>
                    <a:cubicBezTo>
                      <a:pt x="771" y="467"/>
                      <a:pt x="790" y="414"/>
                      <a:pt x="778" y="361"/>
                    </a:cubicBezTo>
                    <a:cubicBezTo>
                      <a:pt x="753" y="251"/>
                      <a:pt x="651" y="135"/>
                      <a:pt x="522" y="133"/>
                    </a:cubicBezTo>
                    <a:cubicBezTo>
                      <a:pt x="442" y="132"/>
                      <a:pt x="378" y="164"/>
                      <a:pt x="326" y="205"/>
                    </a:cubicBezTo>
                    <a:cubicBezTo>
                      <a:pt x="288" y="236"/>
                      <a:pt x="235" y="283"/>
                      <a:pt x="202" y="321"/>
                    </a:cubicBezTo>
                    <a:cubicBezTo>
                      <a:pt x="166" y="363"/>
                      <a:pt x="144" y="445"/>
                      <a:pt x="114" y="505"/>
                    </a:cubicBezTo>
                    <a:cubicBezTo>
                      <a:pt x="89" y="556"/>
                      <a:pt x="74" y="622"/>
                      <a:pt x="18" y="645"/>
                    </a:cubicBezTo>
                    <a:cubicBezTo>
                      <a:pt x="0" y="588"/>
                      <a:pt x="50" y="534"/>
                      <a:pt x="78" y="477"/>
                    </a:cubicBezTo>
                    <a:cubicBezTo>
                      <a:pt x="104" y="424"/>
                      <a:pt x="119" y="359"/>
                      <a:pt x="150" y="309"/>
                    </a:cubicBezTo>
                    <a:cubicBezTo>
                      <a:pt x="177" y="264"/>
                      <a:pt x="229" y="225"/>
                      <a:pt x="266" y="185"/>
                    </a:cubicBezTo>
                    <a:cubicBezTo>
                      <a:pt x="341" y="106"/>
                      <a:pt x="369" y="17"/>
                      <a:pt x="502" y="5"/>
                    </a:cubicBezTo>
                    <a:cubicBezTo>
                      <a:pt x="524" y="3"/>
                      <a:pt x="572" y="0"/>
                      <a:pt x="574" y="25"/>
                    </a:cubicBezTo>
                    <a:cubicBezTo>
                      <a:pt x="577" y="58"/>
                      <a:pt x="501" y="50"/>
                      <a:pt x="470" y="57"/>
                    </a:cubicBezTo>
                    <a:cubicBezTo>
                      <a:pt x="435" y="65"/>
                      <a:pt x="401" y="77"/>
                      <a:pt x="386" y="105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6" name="Freeform 589"/>
              <p:cNvSpPr>
                <a:spLocks/>
              </p:cNvSpPr>
              <p:nvPr/>
            </p:nvSpPr>
            <p:spPr bwMode="auto">
              <a:xfrm>
                <a:off x="4377929" y="2125145"/>
                <a:ext cx="58157" cy="103805"/>
              </a:xfrm>
              <a:custGeom>
                <a:avLst/>
                <a:gdLst>
                  <a:gd name="T0" fmla="*/ 304 w 346"/>
                  <a:gd name="T1" fmla="*/ 616 h 616"/>
                  <a:gd name="T2" fmla="*/ 300 w 346"/>
                  <a:gd name="T3" fmla="*/ 464 h 616"/>
                  <a:gd name="T4" fmla="*/ 280 w 346"/>
                  <a:gd name="T5" fmla="*/ 412 h 616"/>
                  <a:gd name="T6" fmla="*/ 232 w 346"/>
                  <a:gd name="T7" fmla="*/ 260 h 616"/>
                  <a:gd name="T8" fmla="*/ 80 w 346"/>
                  <a:gd name="T9" fmla="*/ 92 h 616"/>
                  <a:gd name="T10" fmla="*/ 0 w 346"/>
                  <a:gd name="T11" fmla="*/ 32 h 616"/>
                  <a:gd name="T12" fmla="*/ 200 w 346"/>
                  <a:gd name="T13" fmla="*/ 132 h 616"/>
                  <a:gd name="T14" fmla="*/ 340 w 346"/>
                  <a:gd name="T15" fmla="*/ 448 h 616"/>
                  <a:gd name="T16" fmla="*/ 304 w 346"/>
                  <a:gd name="T17" fmla="*/ 616 h 61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46"/>
                  <a:gd name="T28" fmla="*/ 0 h 616"/>
                  <a:gd name="T29" fmla="*/ 346 w 346"/>
                  <a:gd name="T30" fmla="*/ 616 h 61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46" h="616">
                    <a:moveTo>
                      <a:pt x="304" y="616"/>
                    </a:moveTo>
                    <a:cubicBezTo>
                      <a:pt x="276" y="580"/>
                      <a:pt x="309" y="515"/>
                      <a:pt x="300" y="464"/>
                    </a:cubicBezTo>
                    <a:cubicBezTo>
                      <a:pt x="297" y="445"/>
                      <a:pt x="285" y="430"/>
                      <a:pt x="280" y="412"/>
                    </a:cubicBezTo>
                    <a:cubicBezTo>
                      <a:pt x="264" y="354"/>
                      <a:pt x="258" y="308"/>
                      <a:pt x="232" y="260"/>
                    </a:cubicBezTo>
                    <a:cubicBezTo>
                      <a:pt x="197" y="196"/>
                      <a:pt x="138" y="127"/>
                      <a:pt x="80" y="92"/>
                    </a:cubicBezTo>
                    <a:cubicBezTo>
                      <a:pt x="53" y="76"/>
                      <a:pt x="6" y="77"/>
                      <a:pt x="0" y="32"/>
                    </a:cubicBezTo>
                    <a:cubicBezTo>
                      <a:pt x="46" y="0"/>
                      <a:pt x="161" y="84"/>
                      <a:pt x="200" y="132"/>
                    </a:cubicBezTo>
                    <a:cubicBezTo>
                      <a:pt x="269" y="217"/>
                      <a:pt x="332" y="346"/>
                      <a:pt x="340" y="448"/>
                    </a:cubicBezTo>
                    <a:cubicBezTo>
                      <a:pt x="345" y="509"/>
                      <a:pt x="346" y="588"/>
                      <a:pt x="304" y="616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7" name="Freeform 590"/>
              <p:cNvSpPr>
                <a:spLocks/>
              </p:cNvSpPr>
              <p:nvPr/>
            </p:nvSpPr>
            <p:spPr bwMode="auto">
              <a:xfrm>
                <a:off x="4278414" y="2142625"/>
                <a:ext cx="47195" cy="70845"/>
              </a:xfrm>
              <a:custGeom>
                <a:avLst/>
                <a:gdLst>
                  <a:gd name="T0" fmla="*/ 276 w 281"/>
                  <a:gd name="T1" fmla="*/ 0 h 420"/>
                  <a:gd name="T2" fmla="*/ 184 w 281"/>
                  <a:gd name="T3" fmla="*/ 116 h 420"/>
                  <a:gd name="T4" fmla="*/ 100 w 281"/>
                  <a:gd name="T5" fmla="*/ 244 h 420"/>
                  <a:gd name="T6" fmla="*/ 8 w 281"/>
                  <a:gd name="T7" fmla="*/ 420 h 420"/>
                  <a:gd name="T8" fmla="*/ 48 w 281"/>
                  <a:gd name="T9" fmla="*/ 268 h 420"/>
                  <a:gd name="T10" fmla="*/ 108 w 281"/>
                  <a:gd name="T11" fmla="*/ 128 h 420"/>
                  <a:gd name="T12" fmla="*/ 268 w 281"/>
                  <a:gd name="T13" fmla="*/ 0 h 420"/>
                  <a:gd name="T14" fmla="*/ 276 w 281"/>
                  <a:gd name="T15" fmla="*/ 0 h 42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81"/>
                  <a:gd name="T25" fmla="*/ 0 h 420"/>
                  <a:gd name="T26" fmla="*/ 281 w 281"/>
                  <a:gd name="T27" fmla="*/ 420 h 42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81" h="420">
                    <a:moveTo>
                      <a:pt x="276" y="0"/>
                    </a:moveTo>
                    <a:cubicBezTo>
                      <a:pt x="281" y="60"/>
                      <a:pt x="217" y="82"/>
                      <a:pt x="184" y="116"/>
                    </a:cubicBezTo>
                    <a:cubicBezTo>
                      <a:pt x="151" y="150"/>
                      <a:pt x="120" y="196"/>
                      <a:pt x="100" y="244"/>
                    </a:cubicBezTo>
                    <a:cubicBezTo>
                      <a:pt x="74" y="306"/>
                      <a:pt x="67" y="380"/>
                      <a:pt x="8" y="420"/>
                    </a:cubicBezTo>
                    <a:cubicBezTo>
                      <a:pt x="0" y="366"/>
                      <a:pt x="29" y="315"/>
                      <a:pt x="48" y="268"/>
                    </a:cubicBezTo>
                    <a:cubicBezTo>
                      <a:pt x="67" y="221"/>
                      <a:pt x="83" y="167"/>
                      <a:pt x="108" y="128"/>
                    </a:cubicBezTo>
                    <a:cubicBezTo>
                      <a:pt x="139" y="81"/>
                      <a:pt x="220" y="27"/>
                      <a:pt x="268" y="0"/>
                    </a:cubicBezTo>
                    <a:cubicBezTo>
                      <a:pt x="271" y="0"/>
                      <a:pt x="273" y="0"/>
                      <a:pt x="276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8" name="Freeform 591"/>
              <p:cNvSpPr>
                <a:spLocks/>
              </p:cNvSpPr>
              <p:nvPr/>
            </p:nvSpPr>
            <p:spPr bwMode="auto">
              <a:xfrm>
                <a:off x="4293150" y="2148190"/>
                <a:ext cx="116528" cy="139906"/>
              </a:xfrm>
              <a:custGeom>
                <a:avLst/>
                <a:gdLst>
                  <a:gd name="T0" fmla="*/ 632 w 693"/>
                  <a:gd name="T1" fmla="*/ 363 h 830"/>
                  <a:gd name="T2" fmla="*/ 444 w 693"/>
                  <a:gd name="T3" fmla="*/ 79 h 830"/>
                  <a:gd name="T4" fmla="*/ 260 w 693"/>
                  <a:gd name="T5" fmla="*/ 151 h 830"/>
                  <a:gd name="T6" fmla="*/ 232 w 693"/>
                  <a:gd name="T7" fmla="*/ 187 h 830"/>
                  <a:gd name="T8" fmla="*/ 168 w 693"/>
                  <a:gd name="T9" fmla="*/ 263 h 830"/>
                  <a:gd name="T10" fmla="*/ 524 w 693"/>
                  <a:gd name="T11" fmla="*/ 131 h 830"/>
                  <a:gd name="T12" fmla="*/ 544 w 693"/>
                  <a:gd name="T13" fmla="*/ 571 h 830"/>
                  <a:gd name="T14" fmla="*/ 376 w 693"/>
                  <a:gd name="T15" fmla="*/ 763 h 830"/>
                  <a:gd name="T16" fmla="*/ 304 w 693"/>
                  <a:gd name="T17" fmla="*/ 795 h 830"/>
                  <a:gd name="T18" fmla="*/ 236 w 693"/>
                  <a:gd name="T19" fmla="*/ 819 h 830"/>
                  <a:gd name="T20" fmla="*/ 384 w 693"/>
                  <a:gd name="T21" fmla="*/ 703 h 830"/>
                  <a:gd name="T22" fmla="*/ 528 w 693"/>
                  <a:gd name="T23" fmla="*/ 415 h 830"/>
                  <a:gd name="T24" fmla="*/ 520 w 693"/>
                  <a:gd name="T25" fmla="*/ 191 h 830"/>
                  <a:gd name="T26" fmla="*/ 340 w 693"/>
                  <a:gd name="T27" fmla="*/ 167 h 830"/>
                  <a:gd name="T28" fmla="*/ 260 w 693"/>
                  <a:gd name="T29" fmla="*/ 255 h 830"/>
                  <a:gd name="T30" fmla="*/ 200 w 693"/>
                  <a:gd name="T31" fmla="*/ 307 h 830"/>
                  <a:gd name="T32" fmla="*/ 184 w 693"/>
                  <a:gd name="T33" fmla="*/ 431 h 830"/>
                  <a:gd name="T34" fmla="*/ 116 w 693"/>
                  <a:gd name="T35" fmla="*/ 571 h 830"/>
                  <a:gd name="T36" fmla="*/ 0 w 693"/>
                  <a:gd name="T37" fmla="*/ 651 h 830"/>
                  <a:gd name="T38" fmla="*/ 84 w 693"/>
                  <a:gd name="T39" fmla="*/ 527 h 830"/>
                  <a:gd name="T40" fmla="*/ 124 w 693"/>
                  <a:gd name="T41" fmla="*/ 355 h 830"/>
                  <a:gd name="T42" fmla="*/ 124 w 693"/>
                  <a:gd name="T43" fmla="*/ 223 h 830"/>
                  <a:gd name="T44" fmla="*/ 248 w 693"/>
                  <a:gd name="T45" fmla="*/ 103 h 830"/>
                  <a:gd name="T46" fmla="*/ 644 w 693"/>
                  <a:gd name="T47" fmla="*/ 171 h 830"/>
                  <a:gd name="T48" fmla="*/ 632 w 693"/>
                  <a:gd name="T49" fmla="*/ 363 h 83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693"/>
                  <a:gd name="T76" fmla="*/ 0 h 830"/>
                  <a:gd name="T77" fmla="*/ 693 w 693"/>
                  <a:gd name="T78" fmla="*/ 830 h 830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693" h="830">
                    <a:moveTo>
                      <a:pt x="632" y="363"/>
                    </a:moveTo>
                    <a:cubicBezTo>
                      <a:pt x="628" y="214"/>
                      <a:pt x="580" y="83"/>
                      <a:pt x="444" y="79"/>
                    </a:cubicBezTo>
                    <a:cubicBezTo>
                      <a:pt x="376" y="77"/>
                      <a:pt x="304" y="110"/>
                      <a:pt x="260" y="151"/>
                    </a:cubicBezTo>
                    <a:cubicBezTo>
                      <a:pt x="249" y="161"/>
                      <a:pt x="244" y="175"/>
                      <a:pt x="232" y="187"/>
                    </a:cubicBezTo>
                    <a:cubicBezTo>
                      <a:pt x="209" y="209"/>
                      <a:pt x="160" y="222"/>
                      <a:pt x="168" y="263"/>
                    </a:cubicBezTo>
                    <a:cubicBezTo>
                      <a:pt x="253" y="221"/>
                      <a:pt x="372" y="31"/>
                      <a:pt x="524" y="131"/>
                    </a:cubicBezTo>
                    <a:cubicBezTo>
                      <a:pt x="621" y="195"/>
                      <a:pt x="594" y="461"/>
                      <a:pt x="544" y="571"/>
                    </a:cubicBezTo>
                    <a:cubicBezTo>
                      <a:pt x="509" y="649"/>
                      <a:pt x="440" y="726"/>
                      <a:pt x="376" y="763"/>
                    </a:cubicBezTo>
                    <a:cubicBezTo>
                      <a:pt x="354" y="776"/>
                      <a:pt x="327" y="783"/>
                      <a:pt x="304" y="795"/>
                    </a:cubicBezTo>
                    <a:cubicBezTo>
                      <a:pt x="283" y="806"/>
                      <a:pt x="262" y="830"/>
                      <a:pt x="236" y="819"/>
                    </a:cubicBezTo>
                    <a:cubicBezTo>
                      <a:pt x="260" y="744"/>
                      <a:pt x="331" y="743"/>
                      <a:pt x="384" y="703"/>
                    </a:cubicBezTo>
                    <a:cubicBezTo>
                      <a:pt x="465" y="641"/>
                      <a:pt x="514" y="548"/>
                      <a:pt x="528" y="415"/>
                    </a:cubicBezTo>
                    <a:cubicBezTo>
                      <a:pt x="536" y="339"/>
                      <a:pt x="562" y="251"/>
                      <a:pt x="520" y="191"/>
                    </a:cubicBezTo>
                    <a:cubicBezTo>
                      <a:pt x="484" y="140"/>
                      <a:pt x="396" y="135"/>
                      <a:pt x="340" y="167"/>
                    </a:cubicBezTo>
                    <a:cubicBezTo>
                      <a:pt x="309" y="184"/>
                      <a:pt x="293" y="221"/>
                      <a:pt x="260" y="255"/>
                    </a:cubicBezTo>
                    <a:cubicBezTo>
                      <a:pt x="243" y="273"/>
                      <a:pt x="213" y="285"/>
                      <a:pt x="200" y="307"/>
                    </a:cubicBezTo>
                    <a:cubicBezTo>
                      <a:pt x="179" y="343"/>
                      <a:pt x="192" y="380"/>
                      <a:pt x="184" y="431"/>
                    </a:cubicBezTo>
                    <a:cubicBezTo>
                      <a:pt x="177" y="476"/>
                      <a:pt x="142" y="534"/>
                      <a:pt x="116" y="571"/>
                    </a:cubicBezTo>
                    <a:cubicBezTo>
                      <a:pt x="90" y="608"/>
                      <a:pt x="55" y="652"/>
                      <a:pt x="0" y="651"/>
                    </a:cubicBezTo>
                    <a:cubicBezTo>
                      <a:pt x="5" y="592"/>
                      <a:pt x="59" y="569"/>
                      <a:pt x="84" y="527"/>
                    </a:cubicBezTo>
                    <a:cubicBezTo>
                      <a:pt x="107" y="489"/>
                      <a:pt x="132" y="426"/>
                      <a:pt x="124" y="355"/>
                    </a:cubicBezTo>
                    <a:cubicBezTo>
                      <a:pt x="119" y="309"/>
                      <a:pt x="103" y="267"/>
                      <a:pt x="124" y="223"/>
                    </a:cubicBezTo>
                    <a:cubicBezTo>
                      <a:pt x="145" y="180"/>
                      <a:pt x="204" y="139"/>
                      <a:pt x="248" y="103"/>
                    </a:cubicBezTo>
                    <a:cubicBezTo>
                      <a:pt x="376" y="0"/>
                      <a:pt x="568" y="10"/>
                      <a:pt x="644" y="171"/>
                    </a:cubicBezTo>
                    <a:cubicBezTo>
                      <a:pt x="664" y="213"/>
                      <a:pt x="693" y="346"/>
                      <a:pt x="632" y="363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9" name="Freeform 592"/>
              <p:cNvSpPr>
                <a:spLocks/>
              </p:cNvSpPr>
              <p:nvPr/>
            </p:nvSpPr>
            <p:spPr bwMode="auto">
              <a:xfrm>
                <a:off x="4360917" y="2172517"/>
                <a:ext cx="21854" cy="15268"/>
              </a:xfrm>
              <a:custGeom>
                <a:avLst/>
                <a:gdLst>
                  <a:gd name="T0" fmla="*/ 101 w 130"/>
                  <a:gd name="T1" fmla="*/ 91 h 91"/>
                  <a:gd name="T2" fmla="*/ 17 w 130"/>
                  <a:gd name="T3" fmla="*/ 67 h 91"/>
                  <a:gd name="T4" fmla="*/ 101 w 130"/>
                  <a:gd name="T5" fmla="*/ 91 h 91"/>
                  <a:gd name="T6" fmla="*/ 0 60000 65536"/>
                  <a:gd name="T7" fmla="*/ 0 60000 65536"/>
                  <a:gd name="T8" fmla="*/ 0 60000 65536"/>
                  <a:gd name="T9" fmla="*/ 0 w 130"/>
                  <a:gd name="T10" fmla="*/ 0 h 91"/>
                  <a:gd name="T11" fmla="*/ 130 w 130"/>
                  <a:gd name="T12" fmla="*/ 91 h 9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30" h="91">
                    <a:moveTo>
                      <a:pt x="101" y="91"/>
                    </a:moveTo>
                    <a:cubicBezTo>
                      <a:pt x="75" y="81"/>
                      <a:pt x="51" y="69"/>
                      <a:pt x="17" y="67"/>
                    </a:cubicBezTo>
                    <a:cubicBezTo>
                      <a:pt x="0" y="0"/>
                      <a:pt x="130" y="39"/>
                      <a:pt x="101" y="9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0" name="Freeform 593"/>
              <p:cNvSpPr>
                <a:spLocks/>
              </p:cNvSpPr>
              <p:nvPr/>
            </p:nvSpPr>
            <p:spPr bwMode="auto">
              <a:xfrm>
                <a:off x="4323758" y="2173160"/>
                <a:ext cx="37656" cy="44305"/>
              </a:xfrm>
              <a:custGeom>
                <a:avLst/>
                <a:gdLst>
                  <a:gd name="T0" fmla="*/ 222 w 224"/>
                  <a:gd name="T1" fmla="*/ 47 h 263"/>
                  <a:gd name="T2" fmla="*/ 182 w 224"/>
                  <a:gd name="T3" fmla="*/ 79 h 263"/>
                  <a:gd name="T4" fmla="*/ 86 w 224"/>
                  <a:gd name="T5" fmla="*/ 179 h 263"/>
                  <a:gd name="T6" fmla="*/ 34 w 224"/>
                  <a:gd name="T7" fmla="*/ 263 h 263"/>
                  <a:gd name="T8" fmla="*/ 118 w 224"/>
                  <a:gd name="T9" fmla="*/ 91 h 263"/>
                  <a:gd name="T10" fmla="*/ 222 w 224"/>
                  <a:gd name="T11" fmla="*/ 47 h 26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24"/>
                  <a:gd name="T19" fmla="*/ 0 h 263"/>
                  <a:gd name="T20" fmla="*/ 224 w 224"/>
                  <a:gd name="T21" fmla="*/ 263 h 26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24" h="263">
                    <a:moveTo>
                      <a:pt x="222" y="47"/>
                    </a:moveTo>
                    <a:cubicBezTo>
                      <a:pt x="224" y="73"/>
                      <a:pt x="195" y="68"/>
                      <a:pt x="182" y="79"/>
                    </a:cubicBezTo>
                    <a:cubicBezTo>
                      <a:pt x="162" y="122"/>
                      <a:pt x="115" y="143"/>
                      <a:pt x="86" y="179"/>
                    </a:cubicBezTo>
                    <a:cubicBezTo>
                      <a:pt x="65" y="205"/>
                      <a:pt x="68" y="245"/>
                      <a:pt x="34" y="263"/>
                    </a:cubicBezTo>
                    <a:cubicBezTo>
                      <a:pt x="0" y="195"/>
                      <a:pt x="79" y="136"/>
                      <a:pt x="118" y="91"/>
                    </a:cubicBezTo>
                    <a:cubicBezTo>
                      <a:pt x="141" y="65"/>
                      <a:pt x="176" y="0"/>
                      <a:pt x="222" y="47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1" name="Freeform 594"/>
              <p:cNvSpPr>
                <a:spLocks/>
              </p:cNvSpPr>
              <p:nvPr/>
            </p:nvSpPr>
            <p:spPr bwMode="auto">
              <a:xfrm>
                <a:off x="4298560" y="2184789"/>
                <a:ext cx="81078" cy="106873"/>
              </a:xfrm>
              <a:custGeom>
                <a:avLst/>
                <a:gdLst>
                  <a:gd name="T0" fmla="*/ 52 w 482"/>
                  <a:gd name="T1" fmla="*/ 614 h 634"/>
                  <a:gd name="T2" fmla="*/ 120 w 482"/>
                  <a:gd name="T3" fmla="*/ 562 h 634"/>
                  <a:gd name="T4" fmla="*/ 236 w 482"/>
                  <a:gd name="T5" fmla="*/ 454 h 634"/>
                  <a:gd name="T6" fmla="*/ 300 w 482"/>
                  <a:gd name="T7" fmla="*/ 430 h 634"/>
                  <a:gd name="T8" fmla="*/ 432 w 482"/>
                  <a:gd name="T9" fmla="*/ 206 h 634"/>
                  <a:gd name="T10" fmla="*/ 428 w 482"/>
                  <a:gd name="T11" fmla="*/ 162 h 634"/>
                  <a:gd name="T12" fmla="*/ 400 w 482"/>
                  <a:gd name="T13" fmla="*/ 58 h 634"/>
                  <a:gd name="T14" fmla="*/ 332 w 482"/>
                  <a:gd name="T15" fmla="*/ 130 h 634"/>
                  <a:gd name="T16" fmla="*/ 64 w 482"/>
                  <a:gd name="T17" fmla="*/ 490 h 634"/>
                  <a:gd name="T18" fmla="*/ 0 w 482"/>
                  <a:gd name="T19" fmla="*/ 506 h 634"/>
                  <a:gd name="T20" fmla="*/ 76 w 482"/>
                  <a:gd name="T21" fmla="*/ 426 h 634"/>
                  <a:gd name="T22" fmla="*/ 240 w 482"/>
                  <a:gd name="T23" fmla="*/ 146 h 634"/>
                  <a:gd name="T24" fmla="*/ 292 w 482"/>
                  <a:gd name="T25" fmla="*/ 102 h 634"/>
                  <a:gd name="T26" fmla="*/ 340 w 482"/>
                  <a:gd name="T27" fmla="*/ 38 h 634"/>
                  <a:gd name="T28" fmla="*/ 480 w 482"/>
                  <a:gd name="T29" fmla="*/ 90 h 634"/>
                  <a:gd name="T30" fmla="*/ 468 w 482"/>
                  <a:gd name="T31" fmla="*/ 166 h 634"/>
                  <a:gd name="T32" fmla="*/ 468 w 482"/>
                  <a:gd name="T33" fmla="*/ 250 h 634"/>
                  <a:gd name="T34" fmla="*/ 356 w 482"/>
                  <a:gd name="T35" fmla="*/ 450 h 634"/>
                  <a:gd name="T36" fmla="*/ 264 w 482"/>
                  <a:gd name="T37" fmla="*/ 494 h 634"/>
                  <a:gd name="T38" fmla="*/ 52 w 482"/>
                  <a:gd name="T39" fmla="*/ 614 h 634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482"/>
                  <a:gd name="T61" fmla="*/ 0 h 634"/>
                  <a:gd name="T62" fmla="*/ 482 w 482"/>
                  <a:gd name="T63" fmla="*/ 634 h 634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482" h="634">
                    <a:moveTo>
                      <a:pt x="52" y="614"/>
                    </a:moveTo>
                    <a:cubicBezTo>
                      <a:pt x="63" y="583"/>
                      <a:pt x="91" y="582"/>
                      <a:pt x="120" y="562"/>
                    </a:cubicBezTo>
                    <a:cubicBezTo>
                      <a:pt x="162" y="533"/>
                      <a:pt x="194" y="478"/>
                      <a:pt x="236" y="454"/>
                    </a:cubicBezTo>
                    <a:cubicBezTo>
                      <a:pt x="255" y="443"/>
                      <a:pt x="279" y="442"/>
                      <a:pt x="300" y="430"/>
                    </a:cubicBezTo>
                    <a:cubicBezTo>
                      <a:pt x="368" y="392"/>
                      <a:pt x="428" y="289"/>
                      <a:pt x="432" y="206"/>
                    </a:cubicBezTo>
                    <a:cubicBezTo>
                      <a:pt x="433" y="191"/>
                      <a:pt x="427" y="176"/>
                      <a:pt x="428" y="162"/>
                    </a:cubicBezTo>
                    <a:cubicBezTo>
                      <a:pt x="430" y="121"/>
                      <a:pt x="449" y="65"/>
                      <a:pt x="400" y="58"/>
                    </a:cubicBezTo>
                    <a:cubicBezTo>
                      <a:pt x="355" y="51"/>
                      <a:pt x="343" y="93"/>
                      <a:pt x="332" y="130"/>
                    </a:cubicBezTo>
                    <a:cubicBezTo>
                      <a:pt x="229" y="219"/>
                      <a:pt x="186" y="413"/>
                      <a:pt x="64" y="490"/>
                    </a:cubicBezTo>
                    <a:cubicBezTo>
                      <a:pt x="48" y="500"/>
                      <a:pt x="23" y="512"/>
                      <a:pt x="0" y="506"/>
                    </a:cubicBezTo>
                    <a:cubicBezTo>
                      <a:pt x="0" y="456"/>
                      <a:pt x="46" y="452"/>
                      <a:pt x="76" y="426"/>
                    </a:cubicBezTo>
                    <a:cubicBezTo>
                      <a:pt x="154" y="358"/>
                      <a:pt x="171" y="230"/>
                      <a:pt x="240" y="146"/>
                    </a:cubicBezTo>
                    <a:cubicBezTo>
                      <a:pt x="253" y="131"/>
                      <a:pt x="276" y="120"/>
                      <a:pt x="292" y="102"/>
                    </a:cubicBezTo>
                    <a:cubicBezTo>
                      <a:pt x="311" y="81"/>
                      <a:pt x="322" y="51"/>
                      <a:pt x="340" y="38"/>
                    </a:cubicBezTo>
                    <a:cubicBezTo>
                      <a:pt x="395" y="0"/>
                      <a:pt x="476" y="32"/>
                      <a:pt x="480" y="90"/>
                    </a:cubicBezTo>
                    <a:cubicBezTo>
                      <a:pt x="482" y="116"/>
                      <a:pt x="470" y="144"/>
                      <a:pt x="468" y="166"/>
                    </a:cubicBezTo>
                    <a:cubicBezTo>
                      <a:pt x="466" y="195"/>
                      <a:pt x="471" y="223"/>
                      <a:pt x="468" y="250"/>
                    </a:cubicBezTo>
                    <a:cubicBezTo>
                      <a:pt x="459" y="329"/>
                      <a:pt x="412" y="407"/>
                      <a:pt x="356" y="450"/>
                    </a:cubicBezTo>
                    <a:cubicBezTo>
                      <a:pt x="330" y="470"/>
                      <a:pt x="294" y="476"/>
                      <a:pt x="264" y="494"/>
                    </a:cubicBezTo>
                    <a:cubicBezTo>
                      <a:pt x="198" y="533"/>
                      <a:pt x="151" y="634"/>
                      <a:pt x="52" y="614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2" name="Freeform 595"/>
              <p:cNvSpPr>
                <a:spLocks noEditPoints="1"/>
              </p:cNvSpPr>
              <p:nvPr/>
            </p:nvSpPr>
            <p:spPr bwMode="auto">
              <a:xfrm>
                <a:off x="4300553" y="2198629"/>
                <a:ext cx="69974" cy="86112"/>
              </a:xfrm>
              <a:custGeom>
                <a:avLst/>
                <a:gdLst>
                  <a:gd name="T0" fmla="*/ 388 w 416"/>
                  <a:gd name="T1" fmla="*/ 0 h 511"/>
                  <a:gd name="T2" fmla="*/ 380 w 416"/>
                  <a:gd name="T3" fmla="*/ 76 h 511"/>
                  <a:gd name="T4" fmla="*/ 308 w 416"/>
                  <a:gd name="T5" fmla="*/ 296 h 511"/>
                  <a:gd name="T6" fmla="*/ 160 w 416"/>
                  <a:gd name="T7" fmla="*/ 392 h 511"/>
                  <a:gd name="T8" fmla="*/ 0 w 416"/>
                  <a:gd name="T9" fmla="*/ 476 h 511"/>
                  <a:gd name="T10" fmla="*/ 76 w 416"/>
                  <a:gd name="T11" fmla="*/ 420 h 511"/>
                  <a:gd name="T12" fmla="*/ 208 w 416"/>
                  <a:gd name="T13" fmla="*/ 276 h 511"/>
                  <a:gd name="T14" fmla="*/ 344 w 416"/>
                  <a:gd name="T15" fmla="*/ 60 h 511"/>
                  <a:gd name="T16" fmla="*/ 380 w 416"/>
                  <a:gd name="T17" fmla="*/ 0 h 511"/>
                  <a:gd name="T18" fmla="*/ 388 w 416"/>
                  <a:gd name="T19" fmla="*/ 0 h 511"/>
                  <a:gd name="T20" fmla="*/ 260 w 416"/>
                  <a:gd name="T21" fmla="*/ 264 h 511"/>
                  <a:gd name="T22" fmla="*/ 344 w 416"/>
                  <a:gd name="T23" fmla="*/ 120 h 511"/>
                  <a:gd name="T24" fmla="*/ 332 w 416"/>
                  <a:gd name="T25" fmla="*/ 116 h 511"/>
                  <a:gd name="T26" fmla="*/ 260 w 416"/>
                  <a:gd name="T27" fmla="*/ 264 h 511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16"/>
                  <a:gd name="T43" fmla="*/ 0 h 511"/>
                  <a:gd name="T44" fmla="*/ 416 w 416"/>
                  <a:gd name="T45" fmla="*/ 511 h 511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16" h="511">
                    <a:moveTo>
                      <a:pt x="388" y="0"/>
                    </a:moveTo>
                    <a:cubicBezTo>
                      <a:pt x="408" y="22"/>
                      <a:pt x="388" y="57"/>
                      <a:pt x="380" y="76"/>
                    </a:cubicBezTo>
                    <a:cubicBezTo>
                      <a:pt x="416" y="121"/>
                      <a:pt x="361" y="271"/>
                      <a:pt x="308" y="296"/>
                    </a:cubicBezTo>
                    <a:cubicBezTo>
                      <a:pt x="246" y="325"/>
                      <a:pt x="203" y="342"/>
                      <a:pt x="160" y="392"/>
                    </a:cubicBezTo>
                    <a:cubicBezTo>
                      <a:pt x="130" y="426"/>
                      <a:pt x="60" y="511"/>
                      <a:pt x="0" y="476"/>
                    </a:cubicBezTo>
                    <a:cubicBezTo>
                      <a:pt x="17" y="440"/>
                      <a:pt x="50" y="439"/>
                      <a:pt x="76" y="420"/>
                    </a:cubicBezTo>
                    <a:cubicBezTo>
                      <a:pt x="106" y="399"/>
                      <a:pt x="194" y="313"/>
                      <a:pt x="208" y="276"/>
                    </a:cubicBezTo>
                    <a:cubicBezTo>
                      <a:pt x="239" y="199"/>
                      <a:pt x="278" y="107"/>
                      <a:pt x="344" y="60"/>
                    </a:cubicBezTo>
                    <a:cubicBezTo>
                      <a:pt x="351" y="35"/>
                      <a:pt x="355" y="6"/>
                      <a:pt x="380" y="0"/>
                    </a:cubicBezTo>
                    <a:cubicBezTo>
                      <a:pt x="383" y="0"/>
                      <a:pt x="385" y="0"/>
                      <a:pt x="388" y="0"/>
                    </a:cubicBezTo>
                    <a:close/>
                    <a:moveTo>
                      <a:pt x="260" y="264"/>
                    </a:moveTo>
                    <a:cubicBezTo>
                      <a:pt x="312" y="258"/>
                      <a:pt x="349" y="183"/>
                      <a:pt x="344" y="120"/>
                    </a:cubicBezTo>
                    <a:cubicBezTo>
                      <a:pt x="339" y="120"/>
                      <a:pt x="339" y="115"/>
                      <a:pt x="332" y="116"/>
                    </a:cubicBezTo>
                    <a:cubicBezTo>
                      <a:pt x="312" y="169"/>
                      <a:pt x="283" y="213"/>
                      <a:pt x="260" y="264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3" name="Freeform 596"/>
              <p:cNvSpPr>
                <a:spLocks/>
              </p:cNvSpPr>
              <p:nvPr/>
            </p:nvSpPr>
            <p:spPr bwMode="auto">
              <a:xfrm>
                <a:off x="4415728" y="2201269"/>
                <a:ext cx="11603" cy="24971"/>
              </a:xfrm>
              <a:custGeom>
                <a:avLst/>
                <a:gdLst>
                  <a:gd name="T0" fmla="*/ 39 w 69"/>
                  <a:gd name="T1" fmla="*/ 0 h 148"/>
                  <a:gd name="T2" fmla="*/ 15 w 69"/>
                  <a:gd name="T3" fmla="*/ 148 h 148"/>
                  <a:gd name="T4" fmla="*/ 39 w 69"/>
                  <a:gd name="T5" fmla="*/ 0 h 148"/>
                  <a:gd name="T6" fmla="*/ 0 60000 65536"/>
                  <a:gd name="T7" fmla="*/ 0 60000 65536"/>
                  <a:gd name="T8" fmla="*/ 0 60000 65536"/>
                  <a:gd name="T9" fmla="*/ 0 w 69"/>
                  <a:gd name="T10" fmla="*/ 0 h 148"/>
                  <a:gd name="T11" fmla="*/ 69 w 69"/>
                  <a:gd name="T12" fmla="*/ 148 h 14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9" h="148">
                    <a:moveTo>
                      <a:pt x="39" y="0"/>
                    </a:moveTo>
                    <a:cubicBezTo>
                      <a:pt x="69" y="30"/>
                      <a:pt x="53" y="134"/>
                      <a:pt x="15" y="148"/>
                    </a:cubicBezTo>
                    <a:cubicBezTo>
                      <a:pt x="13" y="103"/>
                      <a:pt x="0" y="16"/>
                      <a:pt x="39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4" name="Freeform 597"/>
              <p:cNvSpPr>
                <a:spLocks/>
              </p:cNvSpPr>
              <p:nvPr/>
            </p:nvSpPr>
            <p:spPr bwMode="auto">
              <a:xfrm>
                <a:off x="4284465" y="2203837"/>
                <a:ext cx="26694" cy="43948"/>
              </a:xfrm>
              <a:custGeom>
                <a:avLst/>
                <a:gdLst>
                  <a:gd name="T0" fmla="*/ 140 w 159"/>
                  <a:gd name="T1" fmla="*/ 5 h 261"/>
                  <a:gd name="T2" fmla="*/ 112 w 159"/>
                  <a:gd name="T3" fmla="*/ 157 h 261"/>
                  <a:gd name="T4" fmla="*/ 20 w 159"/>
                  <a:gd name="T5" fmla="*/ 261 h 261"/>
                  <a:gd name="T6" fmla="*/ 120 w 159"/>
                  <a:gd name="T7" fmla="*/ 13 h 261"/>
                  <a:gd name="T8" fmla="*/ 128 w 159"/>
                  <a:gd name="T9" fmla="*/ 1 h 261"/>
                  <a:gd name="T10" fmla="*/ 140 w 159"/>
                  <a:gd name="T11" fmla="*/ 5 h 26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59"/>
                  <a:gd name="T19" fmla="*/ 0 h 261"/>
                  <a:gd name="T20" fmla="*/ 159 w 159"/>
                  <a:gd name="T21" fmla="*/ 261 h 26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59" h="261">
                    <a:moveTo>
                      <a:pt x="140" y="5"/>
                    </a:moveTo>
                    <a:cubicBezTo>
                      <a:pt x="159" y="62"/>
                      <a:pt x="137" y="118"/>
                      <a:pt x="112" y="157"/>
                    </a:cubicBezTo>
                    <a:cubicBezTo>
                      <a:pt x="87" y="195"/>
                      <a:pt x="54" y="238"/>
                      <a:pt x="20" y="261"/>
                    </a:cubicBezTo>
                    <a:cubicBezTo>
                      <a:pt x="0" y="156"/>
                      <a:pt x="106" y="110"/>
                      <a:pt x="120" y="13"/>
                    </a:cubicBezTo>
                    <a:cubicBezTo>
                      <a:pt x="122" y="8"/>
                      <a:pt x="127" y="7"/>
                      <a:pt x="128" y="1"/>
                    </a:cubicBezTo>
                    <a:cubicBezTo>
                      <a:pt x="135" y="0"/>
                      <a:pt x="135" y="5"/>
                      <a:pt x="140" y="5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5" name="Freeform 598"/>
              <p:cNvSpPr>
                <a:spLocks/>
              </p:cNvSpPr>
              <p:nvPr/>
            </p:nvSpPr>
            <p:spPr bwMode="auto">
              <a:xfrm>
                <a:off x="4338209" y="2232304"/>
                <a:ext cx="85279" cy="86327"/>
              </a:xfrm>
              <a:custGeom>
                <a:avLst/>
                <a:gdLst>
                  <a:gd name="T0" fmla="*/ 492 w 507"/>
                  <a:gd name="T1" fmla="*/ 0 h 512"/>
                  <a:gd name="T2" fmla="*/ 444 w 507"/>
                  <a:gd name="T3" fmla="*/ 188 h 512"/>
                  <a:gd name="T4" fmla="*/ 328 w 507"/>
                  <a:gd name="T5" fmla="*/ 324 h 512"/>
                  <a:gd name="T6" fmla="*/ 160 w 507"/>
                  <a:gd name="T7" fmla="*/ 396 h 512"/>
                  <a:gd name="T8" fmla="*/ 316 w 507"/>
                  <a:gd name="T9" fmla="*/ 360 h 512"/>
                  <a:gd name="T10" fmla="*/ 124 w 507"/>
                  <a:gd name="T11" fmla="*/ 444 h 512"/>
                  <a:gd name="T12" fmla="*/ 0 w 507"/>
                  <a:gd name="T13" fmla="*/ 496 h 512"/>
                  <a:gd name="T14" fmla="*/ 56 w 507"/>
                  <a:gd name="T15" fmla="*/ 444 h 512"/>
                  <a:gd name="T16" fmla="*/ 136 w 507"/>
                  <a:gd name="T17" fmla="*/ 356 h 512"/>
                  <a:gd name="T18" fmla="*/ 332 w 507"/>
                  <a:gd name="T19" fmla="*/ 272 h 512"/>
                  <a:gd name="T20" fmla="*/ 472 w 507"/>
                  <a:gd name="T21" fmla="*/ 16 h 512"/>
                  <a:gd name="T22" fmla="*/ 480 w 507"/>
                  <a:gd name="T23" fmla="*/ 0 h 512"/>
                  <a:gd name="T24" fmla="*/ 492 w 507"/>
                  <a:gd name="T25" fmla="*/ 0 h 51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07"/>
                  <a:gd name="T40" fmla="*/ 0 h 512"/>
                  <a:gd name="T41" fmla="*/ 507 w 507"/>
                  <a:gd name="T42" fmla="*/ 512 h 51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07" h="512">
                    <a:moveTo>
                      <a:pt x="492" y="0"/>
                    </a:moveTo>
                    <a:cubicBezTo>
                      <a:pt x="507" y="67"/>
                      <a:pt x="473" y="136"/>
                      <a:pt x="444" y="188"/>
                    </a:cubicBezTo>
                    <a:cubicBezTo>
                      <a:pt x="415" y="240"/>
                      <a:pt x="380" y="296"/>
                      <a:pt x="328" y="324"/>
                    </a:cubicBezTo>
                    <a:cubicBezTo>
                      <a:pt x="274" y="354"/>
                      <a:pt x="207" y="350"/>
                      <a:pt x="160" y="396"/>
                    </a:cubicBezTo>
                    <a:cubicBezTo>
                      <a:pt x="219" y="409"/>
                      <a:pt x="271" y="361"/>
                      <a:pt x="316" y="360"/>
                    </a:cubicBezTo>
                    <a:cubicBezTo>
                      <a:pt x="311" y="453"/>
                      <a:pt x="194" y="419"/>
                      <a:pt x="124" y="444"/>
                    </a:cubicBezTo>
                    <a:cubicBezTo>
                      <a:pt x="78" y="460"/>
                      <a:pt x="50" y="512"/>
                      <a:pt x="0" y="496"/>
                    </a:cubicBezTo>
                    <a:cubicBezTo>
                      <a:pt x="5" y="460"/>
                      <a:pt x="37" y="460"/>
                      <a:pt x="56" y="444"/>
                    </a:cubicBezTo>
                    <a:cubicBezTo>
                      <a:pt x="87" y="419"/>
                      <a:pt x="107" y="378"/>
                      <a:pt x="136" y="356"/>
                    </a:cubicBezTo>
                    <a:cubicBezTo>
                      <a:pt x="198" y="310"/>
                      <a:pt x="277" y="314"/>
                      <a:pt x="332" y="272"/>
                    </a:cubicBezTo>
                    <a:cubicBezTo>
                      <a:pt x="418" y="206"/>
                      <a:pt x="424" y="122"/>
                      <a:pt x="472" y="16"/>
                    </a:cubicBezTo>
                    <a:cubicBezTo>
                      <a:pt x="474" y="12"/>
                      <a:pt x="475" y="5"/>
                      <a:pt x="480" y="0"/>
                    </a:cubicBezTo>
                    <a:cubicBezTo>
                      <a:pt x="484" y="0"/>
                      <a:pt x="488" y="0"/>
                      <a:pt x="492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6" name="Freeform 599"/>
              <p:cNvSpPr>
                <a:spLocks/>
              </p:cNvSpPr>
              <p:nvPr/>
            </p:nvSpPr>
            <p:spPr bwMode="auto">
              <a:xfrm>
                <a:off x="4394729" y="2233660"/>
                <a:ext cx="51323" cy="61998"/>
              </a:xfrm>
              <a:custGeom>
                <a:avLst/>
                <a:gdLst>
                  <a:gd name="T0" fmla="*/ 288 w 305"/>
                  <a:gd name="T1" fmla="*/ 4 h 368"/>
                  <a:gd name="T2" fmla="*/ 220 w 305"/>
                  <a:gd name="T3" fmla="*/ 196 h 368"/>
                  <a:gd name="T4" fmla="*/ 152 w 305"/>
                  <a:gd name="T5" fmla="*/ 236 h 368"/>
                  <a:gd name="T6" fmla="*/ 0 w 305"/>
                  <a:gd name="T7" fmla="*/ 348 h 368"/>
                  <a:gd name="T8" fmla="*/ 52 w 305"/>
                  <a:gd name="T9" fmla="*/ 292 h 368"/>
                  <a:gd name="T10" fmla="*/ 172 w 305"/>
                  <a:gd name="T11" fmla="*/ 76 h 368"/>
                  <a:gd name="T12" fmla="*/ 208 w 305"/>
                  <a:gd name="T13" fmla="*/ 4 h 368"/>
                  <a:gd name="T14" fmla="*/ 176 w 305"/>
                  <a:gd name="T15" fmla="*/ 164 h 368"/>
                  <a:gd name="T16" fmla="*/ 276 w 305"/>
                  <a:gd name="T17" fmla="*/ 0 h 368"/>
                  <a:gd name="T18" fmla="*/ 288 w 305"/>
                  <a:gd name="T19" fmla="*/ 4 h 36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305"/>
                  <a:gd name="T31" fmla="*/ 0 h 368"/>
                  <a:gd name="T32" fmla="*/ 305 w 305"/>
                  <a:gd name="T33" fmla="*/ 368 h 36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305" h="368">
                    <a:moveTo>
                      <a:pt x="288" y="4"/>
                    </a:moveTo>
                    <a:cubicBezTo>
                      <a:pt x="305" y="75"/>
                      <a:pt x="265" y="155"/>
                      <a:pt x="220" y="196"/>
                    </a:cubicBezTo>
                    <a:cubicBezTo>
                      <a:pt x="202" y="213"/>
                      <a:pt x="173" y="218"/>
                      <a:pt x="152" y="236"/>
                    </a:cubicBezTo>
                    <a:cubicBezTo>
                      <a:pt x="106" y="276"/>
                      <a:pt x="76" y="368"/>
                      <a:pt x="0" y="348"/>
                    </a:cubicBezTo>
                    <a:cubicBezTo>
                      <a:pt x="0" y="310"/>
                      <a:pt x="31" y="310"/>
                      <a:pt x="52" y="292"/>
                    </a:cubicBezTo>
                    <a:cubicBezTo>
                      <a:pt x="106" y="246"/>
                      <a:pt x="151" y="153"/>
                      <a:pt x="172" y="76"/>
                    </a:cubicBezTo>
                    <a:cubicBezTo>
                      <a:pt x="179" y="52"/>
                      <a:pt x="177" y="14"/>
                      <a:pt x="208" y="4"/>
                    </a:cubicBezTo>
                    <a:cubicBezTo>
                      <a:pt x="247" y="48"/>
                      <a:pt x="187" y="118"/>
                      <a:pt x="176" y="164"/>
                    </a:cubicBezTo>
                    <a:cubicBezTo>
                      <a:pt x="233" y="149"/>
                      <a:pt x="235" y="44"/>
                      <a:pt x="276" y="0"/>
                    </a:cubicBezTo>
                    <a:cubicBezTo>
                      <a:pt x="279" y="2"/>
                      <a:pt x="283" y="4"/>
                      <a:pt x="288" y="4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7" name="Freeform 600"/>
              <p:cNvSpPr>
                <a:spLocks/>
              </p:cNvSpPr>
              <p:nvPr/>
            </p:nvSpPr>
            <p:spPr bwMode="auto">
              <a:xfrm>
                <a:off x="4383340" y="2266050"/>
                <a:ext cx="56093" cy="43805"/>
              </a:xfrm>
              <a:custGeom>
                <a:avLst/>
                <a:gdLst>
                  <a:gd name="T0" fmla="*/ 328 w 334"/>
                  <a:gd name="T1" fmla="*/ 0 h 260"/>
                  <a:gd name="T2" fmla="*/ 252 w 334"/>
                  <a:gd name="T3" fmla="*/ 100 h 260"/>
                  <a:gd name="T4" fmla="*/ 288 w 334"/>
                  <a:gd name="T5" fmla="*/ 92 h 260"/>
                  <a:gd name="T6" fmla="*/ 252 w 334"/>
                  <a:gd name="T7" fmla="*/ 148 h 260"/>
                  <a:gd name="T8" fmla="*/ 0 w 334"/>
                  <a:gd name="T9" fmla="*/ 260 h 260"/>
                  <a:gd name="T10" fmla="*/ 92 w 334"/>
                  <a:gd name="T11" fmla="*/ 188 h 260"/>
                  <a:gd name="T12" fmla="*/ 196 w 334"/>
                  <a:gd name="T13" fmla="*/ 120 h 260"/>
                  <a:gd name="T14" fmla="*/ 316 w 334"/>
                  <a:gd name="T15" fmla="*/ 0 h 260"/>
                  <a:gd name="T16" fmla="*/ 328 w 334"/>
                  <a:gd name="T17" fmla="*/ 0 h 26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34"/>
                  <a:gd name="T28" fmla="*/ 0 h 260"/>
                  <a:gd name="T29" fmla="*/ 334 w 334"/>
                  <a:gd name="T30" fmla="*/ 260 h 26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34" h="260">
                    <a:moveTo>
                      <a:pt x="328" y="0"/>
                    </a:moveTo>
                    <a:cubicBezTo>
                      <a:pt x="334" y="49"/>
                      <a:pt x="277" y="69"/>
                      <a:pt x="252" y="100"/>
                    </a:cubicBezTo>
                    <a:cubicBezTo>
                      <a:pt x="263" y="112"/>
                      <a:pt x="269" y="85"/>
                      <a:pt x="288" y="92"/>
                    </a:cubicBezTo>
                    <a:cubicBezTo>
                      <a:pt x="289" y="123"/>
                      <a:pt x="264" y="129"/>
                      <a:pt x="252" y="148"/>
                    </a:cubicBezTo>
                    <a:cubicBezTo>
                      <a:pt x="148" y="163"/>
                      <a:pt x="101" y="255"/>
                      <a:pt x="0" y="260"/>
                    </a:cubicBezTo>
                    <a:cubicBezTo>
                      <a:pt x="16" y="222"/>
                      <a:pt x="60" y="207"/>
                      <a:pt x="92" y="188"/>
                    </a:cubicBezTo>
                    <a:cubicBezTo>
                      <a:pt x="126" y="168"/>
                      <a:pt x="168" y="148"/>
                      <a:pt x="196" y="120"/>
                    </a:cubicBezTo>
                    <a:cubicBezTo>
                      <a:pt x="235" y="82"/>
                      <a:pt x="259" y="24"/>
                      <a:pt x="316" y="0"/>
                    </a:cubicBezTo>
                    <a:cubicBezTo>
                      <a:pt x="320" y="0"/>
                      <a:pt x="324" y="0"/>
                      <a:pt x="328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8" name="Freeform 601"/>
              <p:cNvSpPr>
                <a:spLocks/>
              </p:cNvSpPr>
              <p:nvPr/>
            </p:nvSpPr>
            <p:spPr bwMode="auto">
              <a:xfrm>
                <a:off x="4324115" y="2298868"/>
                <a:ext cx="22850" cy="14982"/>
              </a:xfrm>
              <a:custGeom>
                <a:avLst/>
                <a:gdLst>
                  <a:gd name="T0" fmla="*/ 136 w 136"/>
                  <a:gd name="T1" fmla="*/ 9 h 89"/>
                  <a:gd name="T2" fmla="*/ 0 w 136"/>
                  <a:gd name="T3" fmla="*/ 53 h 89"/>
                  <a:gd name="T4" fmla="*/ 136 w 136"/>
                  <a:gd name="T5" fmla="*/ 9 h 89"/>
                  <a:gd name="T6" fmla="*/ 0 60000 65536"/>
                  <a:gd name="T7" fmla="*/ 0 60000 65536"/>
                  <a:gd name="T8" fmla="*/ 0 60000 65536"/>
                  <a:gd name="T9" fmla="*/ 0 w 136"/>
                  <a:gd name="T10" fmla="*/ 0 h 89"/>
                  <a:gd name="T11" fmla="*/ 136 w 136"/>
                  <a:gd name="T12" fmla="*/ 89 h 8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36" h="89">
                    <a:moveTo>
                      <a:pt x="136" y="9"/>
                    </a:moveTo>
                    <a:cubicBezTo>
                      <a:pt x="122" y="49"/>
                      <a:pt x="38" y="89"/>
                      <a:pt x="0" y="53"/>
                    </a:cubicBezTo>
                    <a:cubicBezTo>
                      <a:pt x="9" y="6"/>
                      <a:pt x="98" y="0"/>
                      <a:pt x="136" y="9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9" name="Freeform 602"/>
              <p:cNvSpPr>
                <a:spLocks/>
              </p:cNvSpPr>
              <p:nvPr/>
            </p:nvSpPr>
            <p:spPr bwMode="auto">
              <a:xfrm>
                <a:off x="4350168" y="2306431"/>
                <a:ext cx="23705" cy="10844"/>
              </a:xfrm>
              <a:custGeom>
                <a:avLst/>
                <a:gdLst>
                  <a:gd name="T0" fmla="*/ 77 w 141"/>
                  <a:gd name="T1" fmla="*/ 64 h 64"/>
                  <a:gd name="T2" fmla="*/ 37 w 141"/>
                  <a:gd name="T3" fmla="*/ 64 h 64"/>
                  <a:gd name="T4" fmla="*/ 141 w 141"/>
                  <a:gd name="T5" fmla="*/ 24 h 64"/>
                  <a:gd name="T6" fmla="*/ 77 w 141"/>
                  <a:gd name="T7" fmla="*/ 64 h 6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41"/>
                  <a:gd name="T13" fmla="*/ 0 h 64"/>
                  <a:gd name="T14" fmla="*/ 141 w 141"/>
                  <a:gd name="T15" fmla="*/ 64 h 6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41" h="64">
                    <a:moveTo>
                      <a:pt x="77" y="64"/>
                    </a:moveTo>
                    <a:cubicBezTo>
                      <a:pt x="64" y="64"/>
                      <a:pt x="50" y="64"/>
                      <a:pt x="37" y="64"/>
                    </a:cubicBezTo>
                    <a:cubicBezTo>
                      <a:pt x="0" y="28"/>
                      <a:pt x="107" y="0"/>
                      <a:pt x="141" y="24"/>
                    </a:cubicBezTo>
                    <a:cubicBezTo>
                      <a:pt x="135" y="53"/>
                      <a:pt x="101" y="53"/>
                      <a:pt x="77" y="64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160" name="Group 159"/>
            <p:cNvGrpSpPr>
              <a:grpSpLocks noChangeAspect="1"/>
            </p:cNvGrpSpPr>
            <p:nvPr userDrawn="1"/>
          </p:nvGrpSpPr>
          <p:grpSpPr>
            <a:xfrm>
              <a:off x="3180292" y="3545550"/>
              <a:ext cx="91440" cy="65880"/>
              <a:chOff x="5445609" y="4105810"/>
              <a:chExt cx="291199" cy="209799"/>
            </a:xfrm>
            <a:solidFill>
              <a:schemeClr val="bg1">
                <a:lumMod val="85000"/>
                <a:alpha val="30000"/>
              </a:schemeClr>
            </a:solidFill>
          </p:grpSpPr>
          <p:sp>
            <p:nvSpPr>
              <p:cNvPr id="161" name="Freeform 238"/>
              <p:cNvSpPr>
                <a:spLocks/>
              </p:cNvSpPr>
              <p:nvPr/>
            </p:nvSpPr>
            <p:spPr bwMode="auto">
              <a:xfrm>
                <a:off x="5445609" y="4143574"/>
                <a:ext cx="222386" cy="172035"/>
              </a:xfrm>
              <a:custGeom>
                <a:avLst/>
                <a:gdLst>
                  <a:gd name="T0" fmla="*/ 470 w 530"/>
                  <a:gd name="T1" fmla="*/ 347 h 410"/>
                  <a:gd name="T2" fmla="*/ 58 w 530"/>
                  <a:gd name="T3" fmla="*/ 107 h 410"/>
                  <a:gd name="T4" fmla="*/ 236 w 530"/>
                  <a:gd name="T5" fmla="*/ 273 h 410"/>
                  <a:gd name="T6" fmla="*/ 249 w 530"/>
                  <a:gd name="T7" fmla="*/ 281 h 410"/>
                  <a:gd name="T8" fmla="*/ 264 w 530"/>
                  <a:gd name="T9" fmla="*/ 283 h 410"/>
                  <a:gd name="T10" fmla="*/ 272 w 530"/>
                  <a:gd name="T11" fmla="*/ 283 h 410"/>
                  <a:gd name="T12" fmla="*/ 287 w 530"/>
                  <a:gd name="T13" fmla="*/ 277 h 410"/>
                  <a:gd name="T14" fmla="*/ 349 w 530"/>
                  <a:gd name="T15" fmla="*/ 220 h 410"/>
                  <a:gd name="T16" fmla="*/ 346 w 530"/>
                  <a:gd name="T17" fmla="*/ 217 h 410"/>
                  <a:gd name="T18" fmla="*/ 346 w 530"/>
                  <a:gd name="T19" fmla="*/ 217 h 410"/>
                  <a:gd name="T20" fmla="*/ 345 w 530"/>
                  <a:gd name="T21" fmla="*/ 216 h 410"/>
                  <a:gd name="T22" fmla="*/ 336 w 530"/>
                  <a:gd name="T23" fmla="*/ 209 h 410"/>
                  <a:gd name="T24" fmla="*/ 334 w 530"/>
                  <a:gd name="T25" fmla="*/ 208 h 410"/>
                  <a:gd name="T26" fmla="*/ 328 w 530"/>
                  <a:gd name="T27" fmla="*/ 201 h 410"/>
                  <a:gd name="T28" fmla="*/ 325 w 530"/>
                  <a:gd name="T29" fmla="*/ 200 h 410"/>
                  <a:gd name="T30" fmla="*/ 318 w 530"/>
                  <a:gd name="T31" fmla="*/ 193 h 410"/>
                  <a:gd name="T32" fmla="*/ 317 w 530"/>
                  <a:gd name="T33" fmla="*/ 192 h 410"/>
                  <a:gd name="T34" fmla="*/ 310 w 530"/>
                  <a:gd name="T35" fmla="*/ 182 h 410"/>
                  <a:gd name="T36" fmla="*/ 310 w 530"/>
                  <a:gd name="T37" fmla="*/ 182 h 410"/>
                  <a:gd name="T38" fmla="*/ 309 w 530"/>
                  <a:gd name="T39" fmla="*/ 181 h 410"/>
                  <a:gd name="T40" fmla="*/ 305 w 530"/>
                  <a:gd name="T41" fmla="*/ 177 h 410"/>
                  <a:gd name="T42" fmla="*/ 104 w 530"/>
                  <a:gd name="T43" fmla="*/ 65 h 410"/>
                  <a:gd name="T44" fmla="*/ 267 w 530"/>
                  <a:gd name="T45" fmla="*/ 65 h 410"/>
                  <a:gd name="T46" fmla="*/ 267 w 530"/>
                  <a:gd name="T47" fmla="*/ 64 h 410"/>
                  <a:gd name="T48" fmla="*/ 270 w 530"/>
                  <a:gd name="T49" fmla="*/ 31 h 410"/>
                  <a:gd name="T50" fmla="*/ 278 w 530"/>
                  <a:gd name="T51" fmla="*/ 0 h 410"/>
                  <a:gd name="T52" fmla="*/ 19 w 530"/>
                  <a:gd name="T53" fmla="*/ 0 h 410"/>
                  <a:gd name="T54" fmla="*/ 11 w 530"/>
                  <a:gd name="T55" fmla="*/ 3 h 410"/>
                  <a:gd name="T56" fmla="*/ 1 w 530"/>
                  <a:gd name="T57" fmla="*/ 14 h 410"/>
                  <a:gd name="T58" fmla="*/ 0 w 530"/>
                  <a:gd name="T59" fmla="*/ 389 h 410"/>
                  <a:gd name="T60" fmla="*/ 1 w 530"/>
                  <a:gd name="T61" fmla="*/ 397 h 410"/>
                  <a:gd name="T62" fmla="*/ 11 w 530"/>
                  <a:gd name="T63" fmla="*/ 409 h 410"/>
                  <a:gd name="T64" fmla="*/ 19 w 530"/>
                  <a:gd name="T65" fmla="*/ 410 h 410"/>
                  <a:gd name="T66" fmla="*/ 510 w 530"/>
                  <a:gd name="T67" fmla="*/ 410 h 410"/>
                  <a:gd name="T68" fmla="*/ 518 w 530"/>
                  <a:gd name="T69" fmla="*/ 409 h 410"/>
                  <a:gd name="T70" fmla="*/ 528 w 530"/>
                  <a:gd name="T71" fmla="*/ 397 h 410"/>
                  <a:gd name="T72" fmla="*/ 530 w 530"/>
                  <a:gd name="T73" fmla="*/ 265 h 410"/>
                  <a:gd name="T74" fmla="*/ 511 w 530"/>
                  <a:gd name="T75" fmla="*/ 246 h 410"/>
                  <a:gd name="T76" fmla="*/ 470 w 530"/>
                  <a:gd name="T77" fmla="*/ 252 h 4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30" h="410">
                    <a:moveTo>
                      <a:pt x="470" y="252"/>
                    </a:moveTo>
                    <a:lnTo>
                      <a:pt x="470" y="347"/>
                    </a:lnTo>
                    <a:lnTo>
                      <a:pt x="58" y="347"/>
                    </a:lnTo>
                    <a:lnTo>
                      <a:pt x="58" y="107"/>
                    </a:lnTo>
                    <a:lnTo>
                      <a:pt x="236" y="273"/>
                    </a:lnTo>
                    <a:lnTo>
                      <a:pt x="236" y="273"/>
                    </a:lnTo>
                    <a:lnTo>
                      <a:pt x="241" y="277"/>
                    </a:lnTo>
                    <a:lnTo>
                      <a:pt x="249" y="281"/>
                    </a:lnTo>
                    <a:lnTo>
                      <a:pt x="256" y="283"/>
                    </a:lnTo>
                    <a:lnTo>
                      <a:pt x="264" y="283"/>
                    </a:lnTo>
                    <a:lnTo>
                      <a:pt x="264" y="283"/>
                    </a:lnTo>
                    <a:lnTo>
                      <a:pt x="272" y="283"/>
                    </a:lnTo>
                    <a:lnTo>
                      <a:pt x="280" y="281"/>
                    </a:lnTo>
                    <a:lnTo>
                      <a:pt x="287" y="277"/>
                    </a:lnTo>
                    <a:lnTo>
                      <a:pt x="292" y="273"/>
                    </a:lnTo>
                    <a:lnTo>
                      <a:pt x="349" y="220"/>
                    </a:lnTo>
                    <a:lnTo>
                      <a:pt x="349" y="220"/>
                    </a:lnTo>
                    <a:lnTo>
                      <a:pt x="346" y="217"/>
                    </a:lnTo>
                    <a:lnTo>
                      <a:pt x="346" y="217"/>
                    </a:lnTo>
                    <a:lnTo>
                      <a:pt x="346" y="217"/>
                    </a:lnTo>
                    <a:lnTo>
                      <a:pt x="345" y="216"/>
                    </a:lnTo>
                    <a:lnTo>
                      <a:pt x="345" y="216"/>
                    </a:lnTo>
                    <a:lnTo>
                      <a:pt x="336" y="209"/>
                    </a:lnTo>
                    <a:lnTo>
                      <a:pt x="336" y="209"/>
                    </a:lnTo>
                    <a:lnTo>
                      <a:pt x="334" y="208"/>
                    </a:lnTo>
                    <a:lnTo>
                      <a:pt x="334" y="208"/>
                    </a:lnTo>
                    <a:lnTo>
                      <a:pt x="328" y="201"/>
                    </a:lnTo>
                    <a:lnTo>
                      <a:pt x="328" y="201"/>
                    </a:lnTo>
                    <a:lnTo>
                      <a:pt x="325" y="200"/>
                    </a:lnTo>
                    <a:lnTo>
                      <a:pt x="325" y="200"/>
                    </a:lnTo>
                    <a:lnTo>
                      <a:pt x="318" y="193"/>
                    </a:lnTo>
                    <a:lnTo>
                      <a:pt x="318" y="193"/>
                    </a:lnTo>
                    <a:lnTo>
                      <a:pt x="317" y="192"/>
                    </a:lnTo>
                    <a:lnTo>
                      <a:pt x="317" y="192"/>
                    </a:lnTo>
                    <a:lnTo>
                      <a:pt x="310" y="182"/>
                    </a:lnTo>
                    <a:lnTo>
                      <a:pt x="310" y="182"/>
                    </a:lnTo>
                    <a:lnTo>
                      <a:pt x="310" y="182"/>
                    </a:lnTo>
                    <a:lnTo>
                      <a:pt x="310" y="182"/>
                    </a:lnTo>
                    <a:lnTo>
                      <a:pt x="309" y="181"/>
                    </a:lnTo>
                    <a:lnTo>
                      <a:pt x="309" y="181"/>
                    </a:lnTo>
                    <a:lnTo>
                      <a:pt x="309" y="181"/>
                    </a:lnTo>
                    <a:lnTo>
                      <a:pt x="305" y="177"/>
                    </a:lnTo>
                    <a:lnTo>
                      <a:pt x="264" y="215"/>
                    </a:lnTo>
                    <a:lnTo>
                      <a:pt x="104" y="65"/>
                    </a:lnTo>
                    <a:lnTo>
                      <a:pt x="267" y="65"/>
                    </a:lnTo>
                    <a:lnTo>
                      <a:pt x="267" y="65"/>
                    </a:lnTo>
                    <a:lnTo>
                      <a:pt x="267" y="64"/>
                    </a:lnTo>
                    <a:lnTo>
                      <a:pt x="267" y="64"/>
                    </a:lnTo>
                    <a:lnTo>
                      <a:pt x="268" y="47"/>
                    </a:lnTo>
                    <a:lnTo>
                      <a:pt x="270" y="31"/>
                    </a:lnTo>
                    <a:lnTo>
                      <a:pt x="274" y="15"/>
                    </a:lnTo>
                    <a:lnTo>
                      <a:pt x="278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5" y="2"/>
                    </a:lnTo>
                    <a:lnTo>
                      <a:pt x="11" y="3"/>
                    </a:lnTo>
                    <a:lnTo>
                      <a:pt x="5" y="7"/>
                    </a:lnTo>
                    <a:lnTo>
                      <a:pt x="1" y="14"/>
                    </a:lnTo>
                    <a:lnTo>
                      <a:pt x="0" y="22"/>
                    </a:lnTo>
                    <a:lnTo>
                      <a:pt x="0" y="389"/>
                    </a:lnTo>
                    <a:lnTo>
                      <a:pt x="0" y="389"/>
                    </a:lnTo>
                    <a:lnTo>
                      <a:pt x="1" y="397"/>
                    </a:lnTo>
                    <a:lnTo>
                      <a:pt x="5" y="403"/>
                    </a:lnTo>
                    <a:lnTo>
                      <a:pt x="11" y="409"/>
                    </a:lnTo>
                    <a:lnTo>
                      <a:pt x="15" y="410"/>
                    </a:lnTo>
                    <a:lnTo>
                      <a:pt x="19" y="410"/>
                    </a:lnTo>
                    <a:lnTo>
                      <a:pt x="510" y="410"/>
                    </a:lnTo>
                    <a:lnTo>
                      <a:pt x="510" y="410"/>
                    </a:lnTo>
                    <a:lnTo>
                      <a:pt x="514" y="410"/>
                    </a:lnTo>
                    <a:lnTo>
                      <a:pt x="518" y="409"/>
                    </a:lnTo>
                    <a:lnTo>
                      <a:pt x="523" y="403"/>
                    </a:lnTo>
                    <a:lnTo>
                      <a:pt x="528" y="397"/>
                    </a:lnTo>
                    <a:lnTo>
                      <a:pt x="530" y="389"/>
                    </a:lnTo>
                    <a:lnTo>
                      <a:pt x="530" y="265"/>
                    </a:lnTo>
                    <a:lnTo>
                      <a:pt x="511" y="246"/>
                    </a:lnTo>
                    <a:lnTo>
                      <a:pt x="511" y="246"/>
                    </a:lnTo>
                    <a:lnTo>
                      <a:pt x="491" y="251"/>
                    </a:lnTo>
                    <a:lnTo>
                      <a:pt x="470" y="252"/>
                    </a:lnTo>
                    <a:lnTo>
                      <a:pt x="470" y="2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BF0E11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62" name="Freeform 240"/>
              <p:cNvSpPr>
                <a:spLocks noEditPoints="1"/>
              </p:cNvSpPr>
              <p:nvPr/>
            </p:nvSpPr>
            <p:spPr bwMode="auto">
              <a:xfrm>
                <a:off x="5574005" y="4105810"/>
                <a:ext cx="162803" cy="162803"/>
              </a:xfrm>
              <a:custGeom>
                <a:avLst/>
                <a:gdLst>
                  <a:gd name="T0" fmla="*/ 299 w 388"/>
                  <a:gd name="T1" fmla="*/ 198 h 388"/>
                  <a:gd name="T2" fmla="*/ 303 w 388"/>
                  <a:gd name="T3" fmla="*/ 181 h 388"/>
                  <a:gd name="T4" fmla="*/ 304 w 388"/>
                  <a:gd name="T5" fmla="*/ 177 h 388"/>
                  <a:gd name="T6" fmla="*/ 304 w 388"/>
                  <a:gd name="T7" fmla="*/ 168 h 388"/>
                  <a:gd name="T8" fmla="*/ 303 w 388"/>
                  <a:gd name="T9" fmla="*/ 123 h 388"/>
                  <a:gd name="T10" fmla="*/ 280 w 388"/>
                  <a:gd name="T11" fmla="*/ 67 h 388"/>
                  <a:gd name="T12" fmla="*/ 238 w 388"/>
                  <a:gd name="T13" fmla="*/ 26 h 388"/>
                  <a:gd name="T14" fmla="*/ 183 w 388"/>
                  <a:gd name="T15" fmla="*/ 3 h 388"/>
                  <a:gd name="T16" fmla="*/ 141 w 388"/>
                  <a:gd name="T17" fmla="*/ 0 h 388"/>
                  <a:gd name="T18" fmla="*/ 87 w 388"/>
                  <a:gd name="T19" fmla="*/ 15 h 388"/>
                  <a:gd name="T20" fmla="*/ 23 w 388"/>
                  <a:gd name="T21" fmla="*/ 71 h 388"/>
                  <a:gd name="T22" fmla="*/ 2 w 388"/>
                  <a:gd name="T23" fmla="*/ 121 h 388"/>
                  <a:gd name="T24" fmla="*/ 0 w 388"/>
                  <a:gd name="T25" fmla="*/ 155 h 388"/>
                  <a:gd name="T26" fmla="*/ 0 w 388"/>
                  <a:gd name="T27" fmla="*/ 166 h 388"/>
                  <a:gd name="T28" fmla="*/ 1 w 388"/>
                  <a:gd name="T29" fmla="*/ 175 h 388"/>
                  <a:gd name="T30" fmla="*/ 2 w 388"/>
                  <a:gd name="T31" fmla="*/ 186 h 388"/>
                  <a:gd name="T32" fmla="*/ 5 w 388"/>
                  <a:gd name="T33" fmla="*/ 195 h 388"/>
                  <a:gd name="T34" fmla="*/ 9 w 388"/>
                  <a:gd name="T35" fmla="*/ 205 h 388"/>
                  <a:gd name="T36" fmla="*/ 13 w 388"/>
                  <a:gd name="T37" fmla="*/ 216 h 388"/>
                  <a:gd name="T38" fmla="*/ 17 w 388"/>
                  <a:gd name="T39" fmla="*/ 224 h 388"/>
                  <a:gd name="T40" fmla="*/ 28 w 388"/>
                  <a:gd name="T41" fmla="*/ 241 h 388"/>
                  <a:gd name="T42" fmla="*/ 32 w 388"/>
                  <a:gd name="T43" fmla="*/ 248 h 388"/>
                  <a:gd name="T44" fmla="*/ 40 w 388"/>
                  <a:gd name="T45" fmla="*/ 256 h 388"/>
                  <a:gd name="T46" fmla="*/ 45 w 388"/>
                  <a:gd name="T47" fmla="*/ 263 h 388"/>
                  <a:gd name="T48" fmla="*/ 54 w 388"/>
                  <a:gd name="T49" fmla="*/ 270 h 388"/>
                  <a:gd name="T50" fmla="*/ 62 w 388"/>
                  <a:gd name="T51" fmla="*/ 276 h 388"/>
                  <a:gd name="T52" fmla="*/ 70 w 388"/>
                  <a:gd name="T53" fmla="*/ 282 h 388"/>
                  <a:gd name="T54" fmla="*/ 72 w 388"/>
                  <a:gd name="T55" fmla="*/ 283 h 388"/>
                  <a:gd name="T56" fmla="*/ 79 w 388"/>
                  <a:gd name="T57" fmla="*/ 287 h 388"/>
                  <a:gd name="T58" fmla="*/ 133 w 388"/>
                  <a:gd name="T59" fmla="*/ 305 h 388"/>
                  <a:gd name="T60" fmla="*/ 165 w 388"/>
                  <a:gd name="T61" fmla="*/ 306 h 388"/>
                  <a:gd name="T62" fmla="*/ 215 w 388"/>
                  <a:gd name="T63" fmla="*/ 292 h 388"/>
                  <a:gd name="T64" fmla="*/ 303 w 388"/>
                  <a:gd name="T65" fmla="*/ 380 h 388"/>
                  <a:gd name="T66" fmla="*/ 333 w 388"/>
                  <a:gd name="T67" fmla="*/ 388 h 388"/>
                  <a:gd name="T68" fmla="*/ 372 w 388"/>
                  <a:gd name="T69" fmla="*/ 372 h 388"/>
                  <a:gd name="T70" fmla="*/ 387 w 388"/>
                  <a:gd name="T71" fmla="*/ 344 h 388"/>
                  <a:gd name="T72" fmla="*/ 384 w 388"/>
                  <a:gd name="T73" fmla="*/ 313 h 388"/>
                  <a:gd name="T74" fmla="*/ 252 w 388"/>
                  <a:gd name="T75" fmla="*/ 163 h 388"/>
                  <a:gd name="T76" fmla="*/ 250 w 388"/>
                  <a:gd name="T77" fmla="*/ 172 h 388"/>
                  <a:gd name="T78" fmla="*/ 248 w 388"/>
                  <a:gd name="T79" fmla="*/ 182 h 388"/>
                  <a:gd name="T80" fmla="*/ 245 w 388"/>
                  <a:gd name="T81" fmla="*/ 191 h 388"/>
                  <a:gd name="T82" fmla="*/ 241 w 388"/>
                  <a:gd name="T83" fmla="*/ 199 h 388"/>
                  <a:gd name="T84" fmla="*/ 236 w 388"/>
                  <a:gd name="T85" fmla="*/ 208 h 388"/>
                  <a:gd name="T86" fmla="*/ 230 w 388"/>
                  <a:gd name="T87" fmla="*/ 216 h 388"/>
                  <a:gd name="T88" fmla="*/ 225 w 388"/>
                  <a:gd name="T89" fmla="*/ 222 h 388"/>
                  <a:gd name="T90" fmla="*/ 222 w 388"/>
                  <a:gd name="T91" fmla="*/ 224 h 388"/>
                  <a:gd name="T92" fmla="*/ 182 w 388"/>
                  <a:gd name="T93" fmla="*/ 248 h 388"/>
                  <a:gd name="T94" fmla="*/ 165 w 388"/>
                  <a:gd name="T95" fmla="*/ 252 h 388"/>
                  <a:gd name="T96" fmla="*/ 152 w 388"/>
                  <a:gd name="T97" fmla="*/ 252 h 388"/>
                  <a:gd name="T98" fmla="*/ 132 w 388"/>
                  <a:gd name="T99" fmla="*/ 251 h 388"/>
                  <a:gd name="T100" fmla="*/ 114 w 388"/>
                  <a:gd name="T101" fmla="*/ 245 h 388"/>
                  <a:gd name="T102" fmla="*/ 76 w 388"/>
                  <a:gd name="T103" fmla="*/ 217 h 388"/>
                  <a:gd name="T104" fmla="*/ 56 w 388"/>
                  <a:gd name="T105" fmla="*/ 181 h 388"/>
                  <a:gd name="T106" fmla="*/ 52 w 388"/>
                  <a:gd name="T107" fmla="*/ 154 h 388"/>
                  <a:gd name="T108" fmla="*/ 66 w 388"/>
                  <a:gd name="T109" fmla="*/ 104 h 388"/>
                  <a:gd name="T110" fmla="*/ 93 w 388"/>
                  <a:gd name="T111" fmla="*/ 74 h 388"/>
                  <a:gd name="T112" fmla="*/ 122 w 388"/>
                  <a:gd name="T113" fmla="*/ 58 h 388"/>
                  <a:gd name="T114" fmla="*/ 152 w 388"/>
                  <a:gd name="T115" fmla="*/ 54 h 388"/>
                  <a:gd name="T116" fmla="*/ 188 w 388"/>
                  <a:gd name="T117" fmla="*/ 61 h 388"/>
                  <a:gd name="T118" fmla="*/ 232 w 388"/>
                  <a:gd name="T119" fmla="*/ 93 h 388"/>
                  <a:gd name="T120" fmla="*/ 248 w 388"/>
                  <a:gd name="T121" fmla="*/ 124 h 388"/>
                  <a:gd name="T122" fmla="*/ 252 w 388"/>
                  <a:gd name="T123" fmla="*/ 15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88" h="388">
                    <a:moveTo>
                      <a:pt x="372" y="295"/>
                    </a:moveTo>
                    <a:lnTo>
                      <a:pt x="292" y="216"/>
                    </a:lnTo>
                    <a:lnTo>
                      <a:pt x="292" y="216"/>
                    </a:lnTo>
                    <a:lnTo>
                      <a:pt x="299" y="198"/>
                    </a:lnTo>
                    <a:lnTo>
                      <a:pt x="303" y="181"/>
                    </a:lnTo>
                    <a:lnTo>
                      <a:pt x="303" y="181"/>
                    </a:lnTo>
                    <a:lnTo>
                      <a:pt x="303" y="181"/>
                    </a:lnTo>
                    <a:lnTo>
                      <a:pt x="303" y="181"/>
                    </a:lnTo>
                    <a:lnTo>
                      <a:pt x="303" y="178"/>
                    </a:lnTo>
                    <a:lnTo>
                      <a:pt x="303" y="178"/>
                    </a:lnTo>
                    <a:lnTo>
                      <a:pt x="304" y="177"/>
                    </a:lnTo>
                    <a:lnTo>
                      <a:pt x="304" y="177"/>
                    </a:lnTo>
                    <a:lnTo>
                      <a:pt x="304" y="170"/>
                    </a:lnTo>
                    <a:lnTo>
                      <a:pt x="304" y="170"/>
                    </a:lnTo>
                    <a:lnTo>
                      <a:pt x="304" y="168"/>
                    </a:lnTo>
                    <a:lnTo>
                      <a:pt x="304" y="168"/>
                    </a:lnTo>
                    <a:lnTo>
                      <a:pt x="306" y="154"/>
                    </a:lnTo>
                    <a:lnTo>
                      <a:pt x="306" y="154"/>
                    </a:lnTo>
                    <a:lnTo>
                      <a:pt x="304" y="137"/>
                    </a:lnTo>
                    <a:lnTo>
                      <a:pt x="303" y="123"/>
                    </a:lnTo>
                    <a:lnTo>
                      <a:pt x="299" y="108"/>
                    </a:lnTo>
                    <a:lnTo>
                      <a:pt x="294" y="93"/>
                    </a:lnTo>
                    <a:lnTo>
                      <a:pt x="287" y="79"/>
                    </a:lnTo>
                    <a:lnTo>
                      <a:pt x="280" y="67"/>
                    </a:lnTo>
                    <a:lnTo>
                      <a:pt x="271" y="55"/>
                    </a:lnTo>
                    <a:lnTo>
                      <a:pt x="261" y="44"/>
                    </a:lnTo>
                    <a:lnTo>
                      <a:pt x="250" y="35"/>
                    </a:lnTo>
                    <a:lnTo>
                      <a:pt x="238" y="26"/>
                    </a:lnTo>
                    <a:lnTo>
                      <a:pt x="225" y="19"/>
                    </a:lnTo>
                    <a:lnTo>
                      <a:pt x="213" y="12"/>
                    </a:lnTo>
                    <a:lnTo>
                      <a:pt x="198" y="7"/>
                    </a:lnTo>
                    <a:lnTo>
                      <a:pt x="183" y="3"/>
                    </a:lnTo>
                    <a:lnTo>
                      <a:pt x="168" y="1"/>
                    </a:lnTo>
                    <a:lnTo>
                      <a:pt x="152" y="0"/>
                    </a:lnTo>
                    <a:lnTo>
                      <a:pt x="152" y="0"/>
                    </a:lnTo>
                    <a:lnTo>
                      <a:pt x="141" y="0"/>
                    </a:lnTo>
                    <a:lnTo>
                      <a:pt x="129" y="1"/>
                    </a:lnTo>
                    <a:lnTo>
                      <a:pt x="118" y="4"/>
                    </a:lnTo>
                    <a:lnTo>
                      <a:pt x="107" y="7"/>
                    </a:lnTo>
                    <a:lnTo>
                      <a:pt x="87" y="15"/>
                    </a:lnTo>
                    <a:lnTo>
                      <a:pt x="68" y="26"/>
                    </a:lnTo>
                    <a:lnTo>
                      <a:pt x="51" y="39"/>
                    </a:lnTo>
                    <a:lnTo>
                      <a:pt x="36" y="54"/>
                    </a:lnTo>
                    <a:lnTo>
                      <a:pt x="23" y="71"/>
                    </a:lnTo>
                    <a:lnTo>
                      <a:pt x="13" y="90"/>
                    </a:lnTo>
                    <a:lnTo>
                      <a:pt x="13" y="90"/>
                    </a:lnTo>
                    <a:lnTo>
                      <a:pt x="6" y="105"/>
                    </a:lnTo>
                    <a:lnTo>
                      <a:pt x="2" y="121"/>
                    </a:lnTo>
                    <a:lnTo>
                      <a:pt x="0" y="136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5"/>
                    </a:lnTo>
                    <a:lnTo>
                      <a:pt x="0" y="155"/>
                    </a:lnTo>
                    <a:lnTo>
                      <a:pt x="0" y="163"/>
                    </a:lnTo>
                    <a:lnTo>
                      <a:pt x="0" y="163"/>
                    </a:lnTo>
                    <a:lnTo>
                      <a:pt x="0" y="166"/>
                    </a:lnTo>
                    <a:lnTo>
                      <a:pt x="0" y="166"/>
                    </a:lnTo>
                    <a:lnTo>
                      <a:pt x="1" y="172"/>
                    </a:lnTo>
                    <a:lnTo>
                      <a:pt x="1" y="172"/>
                    </a:lnTo>
                    <a:lnTo>
                      <a:pt x="1" y="175"/>
                    </a:lnTo>
                    <a:lnTo>
                      <a:pt x="1" y="175"/>
                    </a:lnTo>
                    <a:lnTo>
                      <a:pt x="2" y="185"/>
                    </a:lnTo>
                    <a:lnTo>
                      <a:pt x="2" y="185"/>
                    </a:lnTo>
                    <a:lnTo>
                      <a:pt x="2" y="186"/>
                    </a:lnTo>
                    <a:lnTo>
                      <a:pt x="2" y="186"/>
                    </a:lnTo>
                    <a:lnTo>
                      <a:pt x="5" y="194"/>
                    </a:lnTo>
                    <a:lnTo>
                      <a:pt x="5" y="194"/>
                    </a:lnTo>
                    <a:lnTo>
                      <a:pt x="5" y="195"/>
                    </a:lnTo>
                    <a:lnTo>
                      <a:pt x="5" y="195"/>
                    </a:lnTo>
                    <a:lnTo>
                      <a:pt x="8" y="204"/>
                    </a:lnTo>
                    <a:lnTo>
                      <a:pt x="8" y="204"/>
                    </a:lnTo>
                    <a:lnTo>
                      <a:pt x="9" y="205"/>
                    </a:lnTo>
                    <a:lnTo>
                      <a:pt x="9" y="205"/>
                    </a:lnTo>
                    <a:lnTo>
                      <a:pt x="12" y="214"/>
                    </a:lnTo>
                    <a:lnTo>
                      <a:pt x="12" y="214"/>
                    </a:lnTo>
                    <a:lnTo>
                      <a:pt x="13" y="216"/>
                    </a:lnTo>
                    <a:lnTo>
                      <a:pt x="13" y="216"/>
                    </a:lnTo>
                    <a:lnTo>
                      <a:pt x="16" y="222"/>
                    </a:lnTo>
                    <a:lnTo>
                      <a:pt x="16" y="222"/>
                    </a:lnTo>
                    <a:lnTo>
                      <a:pt x="17" y="224"/>
                    </a:lnTo>
                    <a:lnTo>
                      <a:pt x="17" y="224"/>
                    </a:lnTo>
                    <a:lnTo>
                      <a:pt x="27" y="240"/>
                    </a:lnTo>
                    <a:lnTo>
                      <a:pt x="27" y="240"/>
                    </a:lnTo>
                    <a:lnTo>
                      <a:pt x="28" y="241"/>
                    </a:lnTo>
                    <a:lnTo>
                      <a:pt x="28" y="241"/>
                    </a:lnTo>
                    <a:lnTo>
                      <a:pt x="28" y="241"/>
                    </a:lnTo>
                    <a:lnTo>
                      <a:pt x="28" y="241"/>
                    </a:lnTo>
                    <a:lnTo>
                      <a:pt x="32" y="248"/>
                    </a:lnTo>
                    <a:lnTo>
                      <a:pt x="32" y="248"/>
                    </a:lnTo>
                    <a:lnTo>
                      <a:pt x="33" y="249"/>
                    </a:lnTo>
                    <a:lnTo>
                      <a:pt x="33" y="249"/>
                    </a:lnTo>
                    <a:lnTo>
                      <a:pt x="40" y="256"/>
                    </a:lnTo>
                    <a:lnTo>
                      <a:pt x="40" y="256"/>
                    </a:lnTo>
                    <a:lnTo>
                      <a:pt x="40" y="257"/>
                    </a:lnTo>
                    <a:lnTo>
                      <a:pt x="40" y="257"/>
                    </a:lnTo>
                    <a:lnTo>
                      <a:pt x="45" y="263"/>
                    </a:lnTo>
                    <a:lnTo>
                      <a:pt x="45" y="263"/>
                    </a:lnTo>
                    <a:lnTo>
                      <a:pt x="48" y="264"/>
                    </a:lnTo>
                    <a:lnTo>
                      <a:pt x="48" y="264"/>
                    </a:lnTo>
                    <a:lnTo>
                      <a:pt x="54" y="270"/>
                    </a:lnTo>
                    <a:lnTo>
                      <a:pt x="54" y="270"/>
                    </a:lnTo>
                    <a:lnTo>
                      <a:pt x="55" y="271"/>
                    </a:lnTo>
                    <a:lnTo>
                      <a:pt x="55" y="271"/>
                    </a:lnTo>
                    <a:lnTo>
                      <a:pt x="62" y="276"/>
                    </a:lnTo>
                    <a:lnTo>
                      <a:pt x="62" y="276"/>
                    </a:lnTo>
                    <a:lnTo>
                      <a:pt x="63" y="278"/>
                    </a:lnTo>
                    <a:lnTo>
                      <a:pt x="63" y="278"/>
                    </a:lnTo>
                    <a:lnTo>
                      <a:pt x="70" y="282"/>
                    </a:lnTo>
                    <a:lnTo>
                      <a:pt x="70" y="282"/>
                    </a:lnTo>
                    <a:lnTo>
                      <a:pt x="71" y="283"/>
                    </a:lnTo>
                    <a:lnTo>
                      <a:pt x="71" y="283"/>
                    </a:lnTo>
                    <a:lnTo>
                      <a:pt x="72" y="283"/>
                    </a:lnTo>
                    <a:lnTo>
                      <a:pt x="72" y="283"/>
                    </a:lnTo>
                    <a:lnTo>
                      <a:pt x="79" y="287"/>
                    </a:lnTo>
                    <a:lnTo>
                      <a:pt x="79" y="287"/>
                    </a:lnTo>
                    <a:lnTo>
                      <a:pt x="79" y="287"/>
                    </a:lnTo>
                    <a:lnTo>
                      <a:pt x="79" y="287"/>
                    </a:lnTo>
                    <a:lnTo>
                      <a:pt x="97" y="295"/>
                    </a:lnTo>
                    <a:lnTo>
                      <a:pt x="114" y="302"/>
                    </a:lnTo>
                    <a:lnTo>
                      <a:pt x="133" y="305"/>
                    </a:lnTo>
                    <a:lnTo>
                      <a:pt x="152" y="306"/>
                    </a:lnTo>
                    <a:lnTo>
                      <a:pt x="152" y="306"/>
                    </a:lnTo>
                    <a:lnTo>
                      <a:pt x="165" y="306"/>
                    </a:lnTo>
                    <a:lnTo>
                      <a:pt x="165" y="306"/>
                    </a:lnTo>
                    <a:lnTo>
                      <a:pt x="179" y="303"/>
                    </a:lnTo>
                    <a:lnTo>
                      <a:pt x="191" y="301"/>
                    </a:lnTo>
                    <a:lnTo>
                      <a:pt x="203" y="298"/>
                    </a:lnTo>
                    <a:lnTo>
                      <a:pt x="215" y="292"/>
                    </a:lnTo>
                    <a:lnTo>
                      <a:pt x="225" y="302"/>
                    </a:lnTo>
                    <a:lnTo>
                      <a:pt x="295" y="372"/>
                    </a:lnTo>
                    <a:lnTo>
                      <a:pt x="295" y="372"/>
                    </a:lnTo>
                    <a:lnTo>
                      <a:pt x="303" y="380"/>
                    </a:lnTo>
                    <a:lnTo>
                      <a:pt x="312" y="384"/>
                    </a:lnTo>
                    <a:lnTo>
                      <a:pt x="323" y="388"/>
                    </a:lnTo>
                    <a:lnTo>
                      <a:pt x="333" y="388"/>
                    </a:lnTo>
                    <a:lnTo>
                      <a:pt x="333" y="388"/>
                    </a:lnTo>
                    <a:lnTo>
                      <a:pt x="343" y="388"/>
                    </a:lnTo>
                    <a:lnTo>
                      <a:pt x="354" y="384"/>
                    </a:lnTo>
                    <a:lnTo>
                      <a:pt x="364" y="380"/>
                    </a:lnTo>
                    <a:lnTo>
                      <a:pt x="372" y="372"/>
                    </a:lnTo>
                    <a:lnTo>
                      <a:pt x="372" y="372"/>
                    </a:lnTo>
                    <a:lnTo>
                      <a:pt x="378" y="364"/>
                    </a:lnTo>
                    <a:lnTo>
                      <a:pt x="384" y="355"/>
                    </a:lnTo>
                    <a:lnTo>
                      <a:pt x="387" y="344"/>
                    </a:lnTo>
                    <a:lnTo>
                      <a:pt x="388" y="334"/>
                    </a:lnTo>
                    <a:lnTo>
                      <a:pt x="388" y="334"/>
                    </a:lnTo>
                    <a:lnTo>
                      <a:pt x="387" y="324"/>
                    </a:lnTo>
                    <a:lnTo>
                      <a:pt x="384" y="313"/>
                    </a:lnTo>
                    <a:lnTo>
                      <a:pt x="378" y="303"/>
                    </a:lnTo>
                    <a:lnTo>
                      <a:pt x="372" y="295"/>
                    </a:lnTo>
                    <a:lnTo>
                      <a:pt x="372" y="295"/>
                    </a:lnTo>
                    <a:close/>
                    <a:moveTo>
                      <a:pt x="252" y="163"/>
                    </a:moveTo>
                    <a:lnTo>
                      <a:pt x="252" y="163"/>
                    </a:lnTo>
                    <a:lnTo>
                      <a:pt x="252" y="163"/>
                    </a:lnTo>
                    <a:lnTo>
                      <a:pt x="252" y="163"/>
                    </a:lnTo>
                    <a:lnTo>
                      <a:pt x="250" y="172"/>
                    </a:lnTo>
                    <a:lnTo>
                      <a:pt x="250" y="172"/>
                    </a:lnTo>
                    <a:lnTo>
                      <a:pt x="250" y="174"/>
                    </a:lnTo>
                    <a:lnTo>
                      <a:pt x="250" y="174"/>
                    </a:lnTo>
                    <a:lnTo>
                      <a:pt x="248" y="182"/>
                    </a:lnTo>
                    <a:lnTo>
                      <a:pt x="248" y="182"/>
                    </a:lnTo>
                    <a:lnTo>
                      <a:pt x="248" y="183"/>
                    </a:lnTo>
                    <a:lnTo>
                      <a:pt x="248" y="183"/>
                    </a:lnTo>
                    <a:lnTo>
                      <a:pt x="245" y="191"/>
                    </a:lnTo>
                    <a:lnTo>
                      <a:pt x="245" y="191"/>
                    </a:lnTo>
                    <a:lnTo>
                      <a:pt x="244" y="193"/>
                    </a:lnTo>
                    <a:lnTo>
                      <a:pt x="244" y="193"/>
                    </a:lnTo>
                    <a:lnTo>
                      <a:pt x="241" y="199"/>
                    </a:lnTo>
                    <a:lnTo>
                      <a:pt x="241" y="199"/>
                    </a:lnTo>
                    <a:lnTo>
                      <a:pt x="240" y="201"/>
                    </a:lnTo>
                    <a:lnTo>
                      <a:pt x="240" y="201"/>
                    </a:lnTo>
                    <a:lnTo>
                      <a:pt x="236" y="208"/>
                    </a:lnTo>
                    <a:lnTo>
                      <a:pt x="236" y="208"/>
                    </a:lnTo>
                    <a:lnTo>
                      <a:pt x="234" y="209"/>
                    </a:lnTo>
                    <a:lnTo>
                      <a:pt x="234" y="209"/>
                    </a:lnTo>
                    <a:lnTo>
                      <a:pt x="230" y="216"/>
                    </a:lnTo>
                    <a:lnTo>
                      <a:pt x="230" y="216"/>
                    </a:lnTo>
                    <a:lnTo>
                      <a:pt x="229" y="217"/>
                    </a:lnTo>
                    <a:lnTo>
                      <a:pt x="229" y="217"/>
                    </a:lnTo>
                    <a:lnTo>
                      <a:pt x="225" y="222"/>
                    </a:lnTo>
                    <a:lnTo>
                      <a:pt x="225" y="222"/>
                    </a:lnTo>
                    <a:lnTo>
                      <a:pt x="223" y="224"/>
                    </a:lnTo>
                    <a:lnTo>
                      <a:pt x="223" y="224"/>
                    </a:lnTo>
                    <a:lnTo>
                      <a:pt x="222" y="224"/>
                    </a:lnTo>
                    <a:lnTo>
                      <a:pt x="222" y="224"/>
                    </a:lnTo>
                    <a:lnTo>
                      <a:pt x="210" y="235"/>
                    </a:lnTo>
                    <a:lnTo>
                      <a:pt x="196" y="243"/>
                    </a:lnTo>
                    <a:lnTo>
                      <a:pt x="182" y="248"/>
                    </a:lnTo>
                    <a:lnTo>
                      <a:pt x="165" y="252"/>
                    </a:lnTo>
                    <a:lnTo>
                      <a:pt x="165" y="252"/>
                    </a:lnTo>
                    <a:lnTo>
                      <a:pt x="165" y="252"/>
                    </a:lnTo>
                    <a:lnTo>
                      <a:pt x="165" y="252"/>
                    </a:lnTo>
                    <a:lnTo>
                      <a:pt x="161" y="252"/>
                    </a:lnTo>
                    <a:lnTo>
                      <a:pt x="161" y="252"/>
                    </a:lnTo>
                    <a:lnTo>
                      <a:pt x="152" y="252"/>
                    </a:lnTo>
                    <a:lnTo>
                      <a:pt x="152" y="252"/>
                    </a:lnTo>
                    <a:lnTo>
                      <a:pt x="152" y="252"/>
                    </a:lnTo>
                    <a:lnTo>
                      <a:pt x="152" y="252"/>
                    </a:lnTo>
                    <a:lnTo>
                      <a:pt x="143" y="252"/>
                    </a:lnTo>
                    <a:lnTo>
                      <a:pt x="132" y="251"/>
                    </a:lnTo>
                    <a:lnTo>
                      <a:pt x="122" y="248"/>
                    </a:lnTo>
                    <a:lnTo>
                      <a:pt x="114" y="245"/>
                    </a:lnTo>
                    <a:lnTo>
                      <a:pt x="114" y="245"/>
                    </a:lnTo>
                    <a:lnTo>
                      <a:pt x="114" y="245"/>
                    </a:lnTo>
                    <a:lnTo>
                      <a:pt x="114" y="245"/>
                    </a:lnTo>
                    <a:lnTo>
                      <a:pt x="99" y="237"/>
                    </a:lnTo>
                    <a:lnTo>
                      <a:pt x="87" y="228"/>
                    </a:lnTo>
                    <a:lnTo>
                      <a:pt x="76" y="217"/>
                    </a:lnTo>
                    <a:lnTo>
                      <a:pt x="67" y="205"/>
                    </a:lnTo>
                    <a:lnTo>
                      <a:pt x="67" y="205"/>
                    </a:lnTo>
                    <a:lnTo>
                      <a:pt x="62" y="193"/>
                    </a:lnTo>
                    <a:lnTo>
                      <a:pt x="56" y="181"/>
                    </a:lnTo>
                    <a:lnTo>
                      <a:pt x="54" y="168"/>
                    </a:lnTo>
                    <a:lnTo>
                      <a:pt x="52" y="155"/>
                    </a:lnTo>
                    <a:lnTo>
                      <a:pt x="52" y="155"/>
                    </a:lnTo>
                    <a:lnTo>
                      <a:pt x="52" y="154"/>
                    </a:lnTo>
                    <a:lnTo>
                      <a:pt x="52" y="154"/>
                    </a:lnTo>
                    <a:lnTo>
                      <a:pt x="55" y="136"/>
                    </a:lnTo>
                    <a:lnTo>
                      <a:pt x="59" y="120"/>
                    </a:lnTo>
                    <a:lnTo>
                      <a:pt x="66" y="104"/>
                    </a:lnTo>
                    <a:lnTo>
                      <a:pt x="75" y="90"/>
                    </a:lnTo>
                    <a:lnTo>
                      <a:pt x="75" y="90"/>
                    </a:lnTo>
                    <a:lnTo>
                      <a:pt x="83" y="82"/>
                    </a:lnTo>
                    <a:lnTo>
                      <a:pt x="93" y="74"/>
                    </a:lnTo>
                    <a:lnTo>
                      <a:pt x="102" y="67"/>
                    </a:lnTo>
                    <a:lnTo>
                      <a:pt x="114" y="61"/>
                    </a:lnTo>
                    <a:lnTo>
                      <a:pt x="114" y="61"/>
                    </a:lnTo>
                    <a:lnTo>
                      <a:pt x="122" y="58"/>
                    </a:lnTo>
                    <a:lnTo>
                      <a:pt x="132" y="55"/>
                    </a:lnTo>
                    <a:lnTo>
                      <a:pt x="143" y="54"/>
                    </a:lnTo>
                    <a:lnTo>
                      <a:pt x="152" y="54"/>
                    </a:lnTo>
                    <a:lnTo>
                      <a:pt x="152" y="54"/>
                    </a:lnTo>
                    <a:lnTo>
                      <a:pt x="161" y="54"/>
                    </a:lnTo>
                    <a:lnTo>
                      <a:pt x="171" y="55"/>
                    </a:lnTo>
                    <a:lnTo>
                      <a:pt x="180" y="58"/>
                    </a:lnTo>
                    <a:lnTo>
                      <a:pt x="188" y="61"/>
                    </a:lnTo>
                    <a:lnTo>
                      <a:pt x="198" y="65"/>
                    </a:lnTo>
                    <a:lnTo>
                      <a:pt x="205" y="69"/>
                    </a:lnTo>
                    <a:lnTo>
                      <a:pt x="219" y="79"/>
                    </a:lnTo>
                    <a:lnTo>
                      <a:pt x="232" y="93"/>
                    </a:lnTo>
                    <a:lnTo>
                      <a:pt x="237" y="100"/>
                    </a:lnTo>
                    <a:lnTo>
                      <a:pt x="241" y="108"/>
                    </a:lnTo>
                    <a:lnTo>
                      <a:pt x="245" y="116"/>
                    </a:lnTo>
                    <a:lnTo>
                      <a:pt x="248" y="124"/>
                    </a:lnTo>
                    <a:lnTo>
                      <a:pt x="250" y="133"/>
                    </a:lnTo>
                    <a:lnTo>
                      <a:pt x="252" y="143"/>
                    </a:lnTo>
                    <a:lnTo>
                      <a:pt x="252" y="143"/>
                    </a:lnTo>
                    <a:lnTo>
                      <a:pt x="252" y="154"/>
                    </a:lnTo>
                    <a:lnTo>
                      <a:pt x="252" y="154"/>
                    </a:lnTo>
                    <a:lnTo>
                      <a:pt x="252" y="163"/>
                    </a:lnTo>
                    <a:lnTo>
                      <a:pt x="252" y="1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BF0E11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63" name="Freeform 241"/>
              <p:cNvSpPr>
                <a:spLocks/>
              </p:cNvSpPr>
              <p:nvPr/>
            </p:nvSpPr>
            <p:spPr bwMode="auto">
              <a:xfrm>
                <a:off x="5716668" y="4183016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BF0E11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64" name="Group 163"/>
            <p:cNvGrpSpPr>
              <a:grpSpLocks noChangeAspect="1"/>
            </p:cNvGrpSpPr>
            <p:nvPr userDrawn="1"/>
          </p:nvGrpSpPr>
          <p:grpSpPr>
            <a:xfrm>
              <a:off x="5765046" y="2674535"/>
              <a:ext cx="91440" cy="65880"/>
              <a:chOff x="5445609" y="4105810"/>
              <a:chExt cx="291199" cy="209799"/>
            </a:xfrm>
            <a:solidFill>
              <a:schemeClr val="bg1">
                <a:lumMod val="85000"/>
                <a:alpha val="30000"/>
              </a:schemeClr>
            </a:solidFill>
          </p:grpSpPr>
          <p:sp>
            <p:nvSpPr>
              <p:cNvPr id="165" name="Freeform 238"/>
              <p:cNvSpPr>
                <a:spLocks/>
              </p:cNvSpPr>
              <p:nvPr/>
            </p:nvSpPr>
            <p:spPr bwMode="auto">
              <a:xfrm>
                <a:off x="5445609" y="4143574"/>
                <a:ext cx="222386" cy="172035"/>
              </a:xfrm>
              <a:custGeom>
                <a:avLst/>
                <a:gdLst>
                  <a:gd name="T0" fmla="*/ 470 w 530"/>
                  <a:gd name="T1" fmla="*/ 347 h 410"/>
                  <a:gd name="T2" fmla="*/ 58 w 530"/>
                  <a:gd name="T3" fmla="*/ 107 h 410"/>
                  <a:gd name="T4" fmla="*/ 236 w 530"/>
                  <a:gd name="T5" fmla="*/ 273 h 410"/>
                  <a:gd name="T6" fmla="*/ 249 w 530"/>
                  <a:gd name="T7" fmla="*/ 281 h 410"/>
                  <a:gd name="T8" fmla="*/ 264 w 530"/>
                  <a:gd name="T9" fmla="*/ 283 h 410"/>
                  <a:gd name="T10" fmla="*/ 272 w 530"/>
                  <a:gd name="T11" fmla="*/ 283 h 410"/>
                  <a:gd name="T12" fmla="*/ 287 w 530"/>
                  <a:gd name="T13" fmla="*/ 277 h 410"/>
                  <a:gd name="T14" fmla="*/ 349 w 530"/>
                  <a:gd name="T15" fmla="*/ 220 h 410"/>
                  <a:gd name="T16" fmla="*/ 346 w 530"/>
                  <a:gd name="T17" fmla="*/ 217 h 410"/>
                  <a:gd name="T18" fmla="*/ 346 w 530"/>
                  <a:gd name="T19" fmla="*/ 217 h 410"/>
                  <a:gd name="T20" fmla="*/ 345 w 530"/>
                  <a:gd name="T21" fmla="*/ 216 h 410"/>
                  <a:gd name="T22" fmla="*/ 336 w 530"/>
                  <a:gd name="T23" fmla="*/ 209 h 410"/>
                  <a:gd name="T24" fmla="*/ 334 w 530"/>
                  <a:gd name="T25" fmla="*/ 208 h 410"/>
                  <a:gd name="T26" fmla="*/ 328 w 530"/>
                  <a:gd name="T27" fmla="*/ 201 h 410"/>
                  <a:gd name="T28" fmla="*/ 325 w 530"/>
                  <a:gd name="T29" fmla="*/ 200 h 410"/>
                  <a:gd name="T30" fmla="*/ 318 w 530"/>
                  <a:gd name="T31" fmla="*/ 193 h 410"/>
                  <a:gd name="T32" fmla="*/ 317 w 530"/>
                  <a:gd name="T33" fmla="*/ 192 h 410"/>
                  <a:gd name="T34" fmla="*/ 310 w 530"/>
                  <a:gd name="T35" fmla="*/ 182 h 410"/>
                  <a:gd name="T36" fmla="*/ 310 w 530"/>
                  <a:gd name="T37" fmla="*/ 182 h 410"/>
                  <a:gd name="T38" fmla="*/ 309 w 530"/>
                  <a:gd name="T39" fmla="*/ 181 h 410"/>
                  <a:gd name="T40" fmla="*/ 305 w 530"/>
                  <a:gd name="T41" fmla="*/ 177 h 410"/>
                  <a:gd name="T42" fmla="*/ 104 w 530"/>
                  <a:gd name="T43" fmla="*/ 65 h 410"/>
                  <a:gd name="T44" fmla="*/ 267 w 530"/>
                  <a:gd name="T45" fmla="*/ 65 h 410"/>
                  <a:gd name="T46" fmla="*/ 267 w 530"/>
                  <a:gd name="T47" fmla="*/ 64 h 410"/>
                  <a:gd name="T48" fmla="*/ 270 w 530"/>
                  <a:gd name="T49" fmla="*/ 31 h 410"/>
                  <a:gd name="T50" fmla="*/ 278 w 530"/>
                  <a:gd name="T51" fmla="*/ 0 h 410"/>
                  <a:gd name="T52" fmla="*/ 19 w 530"/>
                  <a:gd name="T53" fmla="*/ 0 h 410"/>
                  <a:gd name="T54" fmla="*/ 11 w 530"/>
                  <a:gd name="T55" fmla="*/ 3 h 410"/>
                  <a:gd name="T56" fmla="*/ 1 w 530"/>
                  <a:gd name="T57" fmla="*/ 14 h 410"/>
                  <a:gd name="T58" fmla="*/ 0 w 530"/>
                  <a:gd name="T59" fmla="*/ 389 h 410"/>
                  <a:gd name="T60" fmla="*/ 1 w 530"/>
                  <a:gd name="T61" fmla="*/ 397 h 410"/>
                  <a:gd name="T62" fmla="*/ 11 w 530"/>
                  <a:gd name="T63" fmla="*/ 409 h 410"/>
                  <a:gd name="T64" fmla="*/ 19 w 530"/>
                  <a:gd name="T65" fmla="*/ 410 h 410"/>
                  <a:gd name="T66" fmla="*/ 510 w 530"/>
                  <a:gd name="T67" fmla="*/ 410 h 410"/>
                  <a:gd name="T68" fmla="*/ 518 w 530"/>
                  <a:gd name="T69" fmla="*/ 409 h 410"/>
                  <a:gd name="T70" fmla="*/ 528 w 530"/>
                  <a:gd name="T71" fmla="*/ 397 h 410"/>
                  <a:gd name="T72" fmla="*/ 530 w 530"/>
                  <a:gd name="T73" fmla="*/ 265 h 410"/>
                  <a:gd name="T74" fmla="*/ 511 w 530"/>
                  <a:gd name="T75" fmla="*/ 246 h 410"/>
                  <a:gd name="T76" fmla="*/ 470 w 530"/>
                  <a:gd name="T77" fmla="*/ 252 h 4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30" h="410">
                    <a:moveTo>
                      <a:pt x="470" y="252"/>
                    </a:moveTo>
                    <a:lnTo>
                      <a:pt x="470" y="347"/>
                    </a:lnTo>
                    <a:lnTo>
                      <a:pt x="58" y="347"/>
                    </a:lnTo>
                    <a:lnTo>
                      <a:pt x="58" y="107"/>
                    </a:lnTo>
                    <a:lnTo>
                      <a:pt x="236" y="273"/>
                    </a:lnTo>
                    <a:lnTo>
                      <a:pt x="236" y="273"/>
                    </a:lnTo>
                    <a:lnTo>
                      <a:pt x="241" y="277"/>
                    </a:lnTo>
                    <a:lnTo>
                      <a:pt x="249" y="281"/>
                    </a:lnTo>
                    <a:lnTo>
                      <a:pt x="256" y="283"/>
                    </a:lnTo>
                    <a:lnTo>
                      <a:pt x="264" y="283"/>
                    </a:lnTo>
                    <a:lnTo>
                      <a:pt x="264" y="283"/>
                    </a:lnTo>
                    <a:lnTo>
                      <a:pt x="272" y="283"/>
                    </a:lnTo>
                    <a:lnTo>
                      <a:pt x="280" y="281"/>
                    </a:lnTo>
                    <a:lnTo>
                      <a:pt x="287" y="277"/>
                    </a:lnTo>
                    <a:lnTo>
                      <a:pt x="292" y="273"/>
                    </a:lnTo>
                    <a:lnTo>
                      <a:pt x="349" y="220"/>
                    </a:lnTo>
                    <a:lnTo>
                      <a:pt x="349" y="220"/>
                    </a:lnTo>
                    <a:lnTo>
                      <a:pt x="346" y="217"/>
                    </a:lnTo>
                    <a:lnTo>
                      <a:pt x="346" y="217"/>
                    </a:lnTo>
                    <a:lnTo>
                      <a:pt x="346" y="217"/>
                    </a:lnTo>
                    <a:lnTo>
                      <a:pt x="345" y="216"/>
                    </a:lnTo>
                    <a:lnTo>
                      <a:pt x="345" y="216"/>
                    </a:lnTo>
                    <a:lnTo>
                      <a:pt x="336" y="209"/>
                    </a:lnTo>
                    <a:lnTo>
                      <a:pt x="336" y="209"/>
                    </a:lnTo>
                    <a:lnTo>
                      <a:pt x="334" y="208"/>
                    </a:lnTo>
                    <a:lnTo>
                      <a:pt x="334" y="208"/>
                    </a:lnTo>
                    <a:lnTo>
                      <a:pt x="328" y="201"/>
                    </a:lnTo>
                    <a:lnTo>
                      <a:pt x="328" y="201"/>
                    </a:lnTo>
                    <a:lnTo>
                      <a:pt x="325" y="200"/>
                    </a:lnTo>
                    <a:lnTo>
                      <a:pt x="325" y="200"/>
                    </a:lnTo>
                    <a:lnTo>
                      <a:pt x="318" y="193"/>
                    </a:lnTo>
                    <a:lnTo>
                      <a:pt x="318" y="193"/>
                    </a:lnTo>
                    <a:lnTo>
                      <a:pt x="317" y="192"/>
                    </a:lnTo>
                    <a:lnTo>
                      <a:pt x="317" y="192"/>
                    </a:lnTo>
                    <a:lnTo>
                      <a:pt x="310" y="182"/>
                    </a:lnTo>
                    <a:lnTo>
                      <a:pt x="310" y="182"/>
                    </a:lnTo>
                    <a:lnTo>
                      <a:pt x="310" y="182"/>
                    </a:lnTo>
                    <a:lnTo>
                      <a:pt x="310" y="182"/>
                    </a:lnTo>
                    <a:lnTo>
                      <a:pt x="309" y="181"/>
                    </a:lnTo>
                    <a:lnTo>
                      <a:pt x="309" y="181"/>
                    </a:lnTo>
                    <a:lnTo>
                      <a:pt x="309" y="181"/>
                    </a:lnTo>
                    <a:lnTo>
                      <a:pt x="305" y="177"/>
                    </a:lnTo>
                    <a:lnTo>
                      <a:pt x="264" y="215"/>
                    </a:lnTo>
                    <a:lnTo>
                      <a:pt x="104" y="65"/>
                    </a:lnTo>
                    <a:lnTo>
                      <a:pt x="267" y="65"/>
                    </a:lnTo>
                    <a:lnTo>
                      <a:pt x="267" y="65"/>
                    </a:lnTo>
                    <a:lnTo>
                      <a:pt x="267" y="64"/>
                    </a:lnTo>
                    <a:lnTo>
                      <a:pt x="267" y="64"/>
                    </a:lnTo>
                    <a:lnTo>
                      <a:pt x="268" y="47"/>
                    </a:lnTo>
                    <a:lnTo>
                      <a:pt x="270" y="31"/>
                    </a:lnTo>
                    <a:lnTo>
                      <a:pt x="274" y="15"/>
                    </a:lnTo>
                    <a:lnTo>
                      <a:pt x="278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5" y="2"/>
                    </a:lnTo>
                    <a:lnTo>
                      <a:pt x="11" y="3"/>
                    </a:lnTo>
                    <a:lnTo>
                      <a:pt x="5" y="7"/>
                    </a:lnTo>
                    <a:lnTo>
                      <a:pt x="1" y="14"/>
                    </a:lnTo>
                    <a:lnTo>
                      <a:pt x="0" y="22"/>
                    </a:lnTo>
                    <a:lnTo>
                      <a:pt x="0" y="389"/>
                    </a:lnTo>
                    <a:lnTo>
                      <a:pt x="0" y="389"/>
                    </a:lnTo>
                    <a:lnTo>
                      <a:pt x="1" y="397"/>
                    </a:lnTo>
                    <a:lnTo>
                      <a:pt x="5" y="403"/>
                    </a:lnTo>
                    <a:lnTo>
                      <a:pt x="11" y="409"/>
                    </a:lnTo>
                    <a:lnTo>
                      <a:pt x="15" y="410"/>
                    </a:lnTo>
                    <a:lnTo>
                      <a:pt x="19" y="410"/>
                    </a:lnTo>
                    <a:lnTo>
                      <a:pt x="510" y="410"/>
                    </a:lnTo>
                    <a:lnTo>
                      <a:pt x="510" y="410"/>
                    </a:lnTo>
                    <a:lnTo>
                      <a:pt x="514" y="410"/>
                    </a:lnTo>
                    <a:lnTo>
                      <a:pt x="518" y="409"/>
                    </a:lnTo>
                    <a:lnTo>
                      <a:pt x="523" y="403"/>
                    </a:lnTo>
                    <a:lnTo>
                      <a:pt x="528" y="397"/>
                    </a:lnTo>
                    <a:lnTo>
                      <a:pt x="530" y="389"/>
                    </a:lnTo>
                    <a:lnTo>
                      <a:pt x="530" y="265"/>
                    </a:lnTo>
                    <a:lnTo>
                      <a:pt x="511" y="246"/>
                    </a:lnTo>
                    <a:lnTo>
                      <a:pt x="511" y="246"/>
                    </a:lnTo>
                    <a:lnTo>
                      <a:pt x="491" y="251"/>
                    </a:lnTo>
                    <a:lnTo>
                      <a:pt x="470" y="252"/>
                    </a:lnTo>
                    <a:lnTo>
                      <a:pt x="470" y="2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BF0E11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66" name="Freeform 240"/>
              <p:cNvSpPr>
                <a:spLocks noEditPoints="1"/>
              </p:cNvSpPr>
              <p:nvPr/>
            </p:nvSpPr>
            <p:spPr bwMode="auto">
              <a:xfrm>
                <a:off x="5574005" y="4105810"/>
                <a:ext cx="162803" cy="162803"/>
              </a:xfrm>
              <a:custGeom>
                <a:avLst/>
                <a:gdLst>
                  <a:gd name="T0" fmla="*/ 299 w 388"/>
                  <a:gd name="T1" fmla="*/ 198 h 388"/>
                  <a:gd name="T2" fmla="*/ 303 w 388"/>
                  <a:gd name="T3" fmla="*/ 181 h 388"/>
                  <a:gd name="T4" fmla="*/ 304 w 388"/>
                  <a:gd name="T5" fmla="*/ 177 h 388"/>
                  <a:gd name="T6" fmla="*/ 304 w 388"/>
                  <a:gd name="T7" fmla="*/ 168 h 388"/>
                  <a:gd name="T8" fmla="*/ 303 w 388"/>
                  <a:gd name="T9" fmla="*/ 123 h 388"/>
                  <a:gd name="T10" fmla="*/ 280 w 388"/>
                  <a:gd name="T11" fmla="*/ 67 h 388"/>
                  <a:gd name="T12" fmla="*/ 238 w 388"/>
                  <a:gd name="T13" fmla="*/ 26 h 388"/>
                  <a:gd name="T14" fmla="*/ 183 w 388"/>
                  <a:gd name="T15" fmla="*/ 3 h 388"/>
                  <a:gd name="T16" fmla="*/ 141 w 388"/>
                  <a:gd name="T17" fmla="*/ 0 h 388"/>
                  <a:gd name="T18" fmla="*/ 87 w 388"/>
                  <a:gd name="T19" fmla="*/ 15 h 388"/>
                  <a:gd name="T20" fmla="*/ 23 w 388"/>
                  <a:gd name="T21" fmla="*/ 71 h 388"/>
                  <a:gd name="T22" fmla="*/ 2 w 388"/>
                  <a:gd name="T23" fmla="*/ 121 h 388"/>
                  <a:gd name="T24" fmla="*/ 0 w 388"/>
                  <a:gd name="T25" fmla="*/ 155 h 388"/>
                  <a:gd name="T26" fmla="*/ 0 w 388"/>
                  <a:gd name="T27" fmla="*/ 166 h 388"/>
                  <a:gd name="T28" fmla="*/ 1 w 388"/>
                  <a:gd name="T29" fmla="*/ 175 h 388"/>
                  <a:gd name="T30" fmla="*/ 2 w 388"/>
                  <a:gd name="T31" fmla="*/ 186 h 388"/>
                  <a:gd name="T32" fmla="*/ 5 w 388"/>
                  <a:gd name="T33" fmla="*/ 195 h 388"/>
                  <a:gd name="T34" fmla="*/ 9 w 388"/>
                  <a:gd name="T35" fmla="*/ 205 h 388"/>
                  <a:gd name="T36" fmla="*/ 13 w 388"/>
                  <a:gd name="T37" fmla="*/ 216 h 388"/>
                  <a:gd name="T38" fmla="*/ 17 w 388"/>
                  <a:gd name="T39" fmla="*/ 224 h 388"/>
                  <a:gd name="T40" fmla="*/ 28 w 388"/>
                  <a:gd name="T41" fmla="*/ 241 h 388"/>
                  <a:gd name="T42" fmla="*/ 32 w 388"/>
                  <a:gd name="T43" fmla="*/ 248 h 388"/>
                  <a:gd name="T44" fmla="*/ 40 w 388"/>
                  <a:gd name="T45" fmla="*/ 256 h 388"/>
                  <a:gd name="T46" fmla="*/ 45 w 388"/>
                  <a:gd name="T47" fmla="*/ 263 h 388"/>
                  <a:gd name="T48" fmla="*/ 54 w 388"/>
                  <a:gd name="T49" fmla="*/ 270 h 388"/>
                  <a:gd name="T50" fmla="*/ 62 w 388"/>
                  <a:gd name="T51" fmla="*/ 276 h 388"/>
                  <a:gd name="T52" fmla="*/ 70 w 388"/>
                  <a:gd name="T53" fmla="*/ 282 h 388"/>
                  <a:gd name="T54" fmla="*/ 72 w 388"/>
                  <a:gd name="T55" fmla="*/ 283 h 388"/>
                  <a:gd name="T56" fmla="*/ 79 w 388"/>
                  <a:gd name="T57" fmla="*/ 287 h 388"/>
                  <a:gd name="T58" fmla="*/ 133 w 388"/>
                  <a:gd name="T59" fmla="*/ 305 h 388"/>
                  <a:gd name="T60" fmla="*/ 165 w 388"/>
                  <a:gd name="T61" fmla="*/ 306 h 388"/>
                  <a:gd name="T62" fmla="*/ 215 w 388"/>
                  <a:gd name="T63" fmla="*/ 292 h 388"/>
                  <a:gd name="T64" fmla="*/ 303 w 388"/>
                  <a:gd name="T65" fmla="*/ 380 h 388"/>
                  <a:gd name="T66" fmla="*/ 333 w 388"/>
                  <a:gd name="T67" fmla="*/ 388 h 388"/>
                  <a:gd name="T68" fmla="*/ 372 w 388"/>
                  <a:gd name="T69" fmla="*/ 372 h 388"/>
                  <a:gd name="T70" fmla="*/ 387 w 388"/>
                  <a:gd name="T71" fmla="*/ 344 h 388"/>
                  <a:gd name="T72" fmla="*/ 384 w 388"/>
                  <a:gd name="T73" fmla="*/ 313 h 388"/>
                  <a:gd name="T74" fmla="*/ 252 w 388"/>
                  <a:gd name="T75" fmla="*/ 163 h 388"/>
                  <a:gd name="T76" fmla="*/ 250 w 388"/>
                  <a:gd name="T77" fmla="*/ 172 h 388"/>
                  <a:gd name="T78" fmla="*/ 248 w 388"/>
                  <a:gd name="T79" fmla="*/ 182 h 388"/>
                  <a:gd name="T80" fmla="*/ 245 w 388"/>
                  <a:gd name="T81" fmla="*/ 191 h 388"/>
                  <a:gd name="T82" fmla="*/ 241 w 388"/>
                  <a:gd name="T83" fmla="*/ 199 h 388"/>
                  <a:gd name="T84" fmla="*/ 236 w 388"/>
                  <a:gd name="T85" fmla="*/ 208 h 388"/>
                  <a:gd name="T86" fmla="*/ 230 w 388"/>
                  <a:gd name="T87" fmla="*/ 216 h 388"/>
                  <a:gd name="T88" fmla="*/ 225 w 388"/>
                  <a:gd name="T89" fmla="*/ 222 h 388"/>
                  <a:gd name="T90" fmla="*/ 222 w 388"/>
                  <a:gd name="T91" fmla="*/ 224 h 388"/>
                  <a:gd name="T92" fmla="*/ 182 w 388"/>
                  <a:gd name="T93" fmla="*/ 248 h 388"/>
                  <a:gd name="T94" fmla="*/ 165 w 388"/>
                  <a:gd name="T95" fmla="*/ 252 h 388"/>
                  <a:gd name="T96" fmla="*/ 152 w 388"/>
                  <a:gd name="T97" fmla="*/ 252 h 388"/>
                  <a:gd name="T98" fmla="*/ 132 w 388"/>
                  <a:gd name="T99" fmla="*/ 251 h 388"/>
                  <a:gd name="T100" fmla="*/ 114 w 388"/>
                  <a:gd name="T101" fmla="*/ 245 h 388"/>
                  <a:gd name="T102" fmla="*/ 76 w 388"/>
                  <a:gd name="T103" fmla="*/ 217 h 388"/>
                  <a:gd name="T104" fmla="*/ 56 w 388"/>
                  <a:gd name="T105" fmla="*/ 181 h 388"/>
                  <a:gd name="T106" fmla="*/ 52 w 388"/>
                  <a:gd name="T107" fmla="*/ 154 h 388"/>
                  <a:gd name="T108" fmla="*/ 66 w 388"/>
                  <a:gd name="T109" fmla="*/ 104 h 388"/>
                  <a:gd name="T110" fmla="*/ 93 w 388"/>
                  <a:gd name="T111" fmla="*/ 74 h 388"/>
                  <a:gd name="T112" fmla="*/ 122 w 388"/>
                  <a:gd name="T113" fmla="*/ 58 h 388"/>
                  <a:gd name="T114" fmla="*/ 152 w 388"/>
                  <a:gd name="T115" fmla="*/ 54 h 388"/>
                  <a:gd name="T116" fmla="*/ 188 w 388"/>
                  <a:gd name="T117" fmla="*/ 61 h 388"/>
                  <a:gd name="T118" fmla="*/ 232 w 388"/>
                  <a:gd name="T119" fmla="*/ 93 h 388"/>
                  <a:gd name="T120" fmla="*/ 248 w 388"/>
                  <a:gd name="T121" fmla="*/ 124 h 388"/>
                  <a:gd name="T122" fmla="*/ 252 w 388"/>
                  <a:gd name="T123" fmla="*/ 15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88" h="388">
                    <a:moveTo>
                      <a:pt x="372" y="295"/>
                    </a:moveTo>
                    <a:lnTo>
                      <a:pt x="292" y="216"/>
                    </a:lnTo>
                    <a:lnTo>
                      <a:pt x="292" y="216"/>
                    </a:lnTo>
                    <a:lnTo>
                      <a:pt x="299" y="198"/>
                    </a:lnTo>
                    <a:lnTo>
                      <a:pt x="303" y="181"/>
                    </a:lnTo>
                    <a:lnTo>
                      <a:pt x="303" y="181"/>
                    </a:lnTo>
                    <a:lnTo>
                      <a:pt x="303" y="181"/>
                    </a:lnTo>
                    <a:lnTo>
                      <a:pt x="303" y="181"/>
                    </a:lnTo>
                    <a:lnTo>
                      <a:pt x="303" y="178"/>
                    </a:lnTo>
                    <a:lnTo>
                      <a:pt x="303" y="178"/>
                    </a:lnTo>
                    <a:lnTo>
                      <a:pt x="304" y="177"/>
                    </a:lnTo>
                    <a:lnTo>
                      <a:pt x="304" y="177"/>
                    </a:lnTo>
                    <a:lnTo>
                      <a:pt x="304" y="170"/>
                    </a:lnTo>
                    <a:lnTo>
                      <a:pt x="304" y="170"/>
                    </a:lnTo>
                    <a:lnTo>
                      <a:pt x="304" y="168"/>
                    </a:lnTo>
                    <a:lnTo>
                      <a:pt x="304" y="168"/>
                    </a:lnTo>
                    <a:lnTo>
                      <a:pt x="306" y="154"/>
                    </a:lnTo>
                    <a:lnTo>
                      <a:pt x="306" y="154"/>
                    </a:lnTo>
                    <a:lnTo>
                      <a:pt x="304" y="137"/>
                    </a:lnTo>
                    <a:lnTo>
                      <a:pt x="303" y="123"/>
                    </a:lnTo>
                    <a:lnTo>
                      <a:pt x="299" y="108"/>
                    </a:lnTo>
                    <a:lnTo>
                      <a:pt x="294" y="93"/>
                    </a:lnTo>
                    <a:lnTo>
                      <a:pt x="287" y="79"/>
                    </a:lnTo>
                    <a:lnTo>
                      <a:pt x="280" y="67"/>
                    </a:lnTo>
                    <a:lnTo>
                      <a:pt x="271" y="55"/>
                    </a:lnTo>
                    <a:lnTo>
                      <a:pt x="261" y="44"/>
                    </a:lnTo>
                    <a:lnTo>
                      <a:pt x="250" y="35"/>
                    </a:lnTo>
                    <a:lnTo>
                      <a:pt x="238" y="26"/>
                    </a:lnTo>
                    <a:lnTo>
                      <a:pt x="225" y="19"/>
                    </a:lnTo>
                    <a:lnTo>
                      <a:pt x="213" y="12"/>
                    </a:lnTo>
                    <a:lnTo>
                      <a:pt x="198" y="7"/>
                    </a:lnTo>
                    <a:lnTo>
                      <a:pt x="183" y="3"/>
                    </a:lnTo>
                    <a:lnTo>
                      <a:pt x="168" y="1"/>
                    </a:lnTo>
                    <a:lnTo>
                      <a:pt x="152" y="0"/>
                    </a:lnTo>
                    <a:lnTo>
                      <a:pt x="152" y="0"/>
                    </a:lnTo>
                    <a:lnTo>
                      <a:pt x="141" y="0"/>
                    </a:lnTo>
                    <a:lnTo>
                      <a:pt x="129" y="1"/>
                    </a:lnTo>
                    <a:lnTo>
                      <a:pt x="118" y="4"/>
                    </a:lnTo>
                    <a:lnTo>
                      <a:pt x="107" y="7"/>
                    </a:lnTo>
                    <a:lnTo>
                      <a:pt x="87" y="15"/>
                    </a:lnTo>
                    <a:lnTo>
                      <a:pt x="68" y="26"/>
                    </a:lnTo>
                    <a:lnTo>
                      <a:pt x="51" y="39"/>
                    </a:lnTo>
                    <a:lnTo>
                      <a:pt x="36" y="54"/>
                    </a:lnTo>
                    <a:lnTo>
                      <a:pt x="23" y="71"/>
                    </a:lnTo>
                    <a:lnTo>
                      <a:pt x="13" y="90"/>
                    </a:lnTo>
                    <a:lnTo>
                      <a:pt x="13" y="90"/>
                    </a:lnTo>
                    <a:lnTo>
                      <a:pt x="6" y="105"/>
                    </a:lnTo>
                    <a:lnTo>
                      <a:pt x="2" y="121"/>
                    </a:lnTo>
                    <a:lnTo>
                      <a:pt x="0" y="136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5"/>
                    </a:lnTo>
                    <a:lnTo>
                      <a:pt x="0" y="155"/>
                    </a:lnTo>
                    <a:lnTo>
                      <a:pt x="0" y="163"/>
                    </a:lnTo>
                    <a:lnTo>
                      <a:pt x="0" y="163"/>
                    </a:lnTo>
                    <a:lnTo>
                      <a:pt x="0" y="166"/>
                    </a:lnTo>
                    <a:lnTo>
                      <a:pt x="0" y="166"/>
                    </a:lnTo>
                    <a:lnTo>
                      <a:pt x="1" y="172"/>
                    </a:lnTo>
                    <a:lnTo>
                      <a:pt x="1" y="172"/>
                    </a:lnTo>
                    <a:lnTo>
                      <a:pt x="1" y="175"/>
                    </a:lnTo>
                    <a:lnTo>
                      <a:pt x="1" y="175"/>
                    </a:lnTo>
                    <a:lnTo>
                      <a:pt x="2" y="185"/>
                    </a:lnTo>
                    <a:lnTo>
                      <a:pt x="2" y="185"/>
                    </a:lnTo>
                    <a:lnTo>
                      <a:pt x="2" y="186"/>
                    </a:lnTo>
                    <a:lnTo>
                      <a:pt x="2" y="186"/>
                    </a:lnTo>
                    <a:lnTo>
                      <a:pt x="5" y="194"/>
                    </a:lnTo>
                    <a:lnTo>
                      <a:pt x="5" y="194"/>
                    </a:lnTo>
                    <a:lnTo>
                      <a:pt x="5" y="195"/>
                    </a:lnTo>
                    <a:lnTo>
                      <a:pt x="5" y="195"/>
                    </a:lnTo>
                    <a:lnTo>
                      <a:pt x="8" y="204"/>
                    </a:lnTo>
                    <a:lnTo>
                      <a:pt x="8" y="204"/>
                    </a:lnTo>
                    <a:lnTo>
                      <a:pt x="9" y="205"/>
                    </a:lnTo>
                    <a:lnTo>
                      <a:pt x="9" y="205"/>
                    </a:lnTo>
                    <a:lnTo>
                      <a:pt x="12" y="214"/>
                    </a:lnTo>
                    <a:lnTo>
                      <a:pt x="12" y="214"/>
                    </a:lnTo>
                    <a:lnTo>
                      <a:pt x="13" y="216"/>
                    </a:lnTo>
                    <a:lnTo>
                      <a:pt x="13" y="216"/>
                    </a:lnTo>
                    <a:lnTo>
                      <a:pt x="16" y="222"/>
                    </a:lnTo>
                    <a:lnTo>
                      <a:pt x="16" y="222"/>
                    </a:lnTo>
                    <a:lnTo>
                      <a:pt x="17" y="224"/>
                    </a:lnTo>
                    <a:lnTo>
                      <a:pt x="17" y="224"/>
                    </a:lnTo>
                    <a:lnTo>
                      <a:pt x="27" y="240"/>
                    </a:lnTo>
                    <a:lnTo>
                      <a:pt x="27" y="240"/>
                    </a:lnTo>
                    <a:lnTo>
                      <a:pt x="28" y="241"/>
                    </a:lnTo>
                    <a:lnTo>
                      <a:pt x="28" y="241"/>
                    </a:lnTo>
                    <a:lnTo>
                      <a:pt x="28" y="241"/>
                    </a:lnTo>
                    <a:lnTo>
                      <a:pt x="28" y="241"/>
                    </a:lnTo>
                    <a:lnTo>
                      <a:pt x="32" y="248"/>
                    </a:lnTo>
                    <a:lnTo>
                      <a:pt x="32" y="248"/>
                    </a:lnTo>
                    <a:lnTo>
                      <a:pt x="33" y="249"/>
                    </a:lnTo>
                    <a:lnTo>
                      <a:pt x="33" y="249"/>
                    </a:lnTo>
                    <a:lnTo>
                      <a:pt x="40" y="256"/>
                    </a:lnTo>
                    <a:lnTo>
                      <a:pt x="40" y="256"/>
                    </a:lnTo>
                    <a:lnTo>
                      <a:pt x="40" y="257"/>
                    </a:lnTo>
                    <a:lnTo>
                      <a:pt x="40" y="257"/>
                    </a:lnTo>
                    <a:lnTo>
                      <a:pt x="45" y="263"/>
                    </a:lnTo>
                    <a:lnTo>
                      <a:pt x="45" y="263"/>
                    </a:lnTo>
                    <a:lnTo>
                      <a:pt x="48" y="264"/>
                    </a:lnTo>
                    <a:lnTo>
                      <a:pt x="48" y="264"/>
                    </a:lnTo>
                    <a:lnTo>
                      <a:pt x="54" y="270"/>
                    </a:lnTo>
                    <a:lnTo>
                      <a:pt x="54" y="270"/>
                    </a:lnTo>
                    <a:lnTo>
                      <a:pt x="55" y="271"/>
                    </a:lnTo>
                    <a:lnTo>
                      <a:pt x="55" y="271"/>
                    </a:lnTo>
                    <a:lnTo>
                      <a:pt x="62" y="276"/>
                    </a:lnTo>
                    <a:lnTo>
                      <a:pt x="62" y="276"/>
                    </a:lnTo>
                    <a:lnTo>
                      <a:pt x="63" y="278"/>
                    </a:lnTo>
                    <a:lnTo>
                      <a:pt x="63" y="278"/>
                    </a:lnTo>
                    <a:lnTo>
                      <a:pt x="70" y="282"/>
                    </a:lnTo>
                    <a:lnTo>
                      <a:pt x="70" y="282"/>
                    </a:lnTo>
                    <a:lnTo>
                      <a:pt x="71" y="283"/>
                    </a:lnTo>
                    <a:lnTo>
                      <a:pt x="71" y="283"/>
                    </a:lnTo>
                    <a:lnTo>
                      <a:pt x="72" y="283"/>
                    </a:lnTo>
                    <a:lnTo>
                      <a:pt x="72" y="283"/>
                    </a:lnTo>
                    <a:lnTo>
                      <a:pt x="79" y="287"/>
                    </a:lnTo>
                    <a:lnTo>
                      <a:pt x="79" y="287"/>
                    </a:lnTo>
                    <a:lnTo>
                      <a:pt x="79" y="287"/>
                    </a:lnTo>
                    <a:lnTo>
                      <a:pt x="79" y="287"/>
                    </a:lnTo>
                    <a:lnTo>
                      <a:pt x="97" y="295"/>
                    </a:lnTo>
                    <a:lnTo>
                      <a:pt x="114" y="302"/>
                    </a:lnTo>
                    <a:lnTo>
                      <a:pt x="133" y="305"/>
                    </a:lnTo>
                    <a:lnTo>
                      <a:pt x="152" y="306"/>
                    </a:lnTo>
                    <a:lnTo>
                      <a:pt x="152" y="306"/>
                    </a:lnTo>
                    <a:lnTo>
                      <a:pt x="165" y="306"/>
                    </a:lnTo>
                    <a:lnTo>
                      <a:pt x="165" y="306"/>
                    </a:lnTo>
                    <a:lnTo>
                      <a:pt x="179" y="303"/>
                    </a:lnTo>
                    <a:lnTo>
                      <a:pt x="191" y="301"/>
                    </a:lnTo>
                    <a:lnTo>
                      <a:pt x="203" y="298"/>
                    </a:lnTo>
                    <a:lnTo>
                      <a:pt x="215" y="292"/>
                    </a:lnTo>
                    <a:lnTo>
                      <a:pt x="225" y="302"/>
                    </a:lnTo>
                    <a:lnTo>
                      <a:pt x="295" y="372"/>
                    </a:lnTo>
                    <a:lnTo>
                      <a:pt x="295" y="372"/>
                    </a:lnTo>
                    <a:lnTo>
                      <a:pt x="303" y="380"/>
                    </a:lnTo>
                    <a:lnTo>
                      <a:pt x="312" y="384"/>
                    </a:lnTo>
                    <a:lnTo>
                      <a:pt x="323" y="388"/>
                    </a:lnTo>
                    <a:lnTo>
                      <a:pt x="333" y="388"/>
                    </a:lnTo>
                    <a:lnTo>
                      <a:pt x="333" y="388"/>
                    </a:lnTo>
                    <a:lnTo>
                      <a:pt x="343" y="388"/>
                    </a:lnTo>
                    <a:lnTo>
                      <a:pt x="354" y="384"/>
                    </a:lnTo>
                    <a:lnTo>
                      <a:pt x="364" y="380"/>
                    </a:lnTo>
                    <a:lnTo>
                      <a:pt x="372" y="372"/>
                    </a:lnTo>
                    <a:lnTo>
                      <a:pt x="372" y="372"/>
                    </a:lnTo>
                    <a:lnTo>
                      <a:pt x="378" y="364"/>
                    </a:lnTo>
                    <a:lnTo>
                      <a:pt x="384" y="355"/>
                    </a:lnTo>
                    <a:lnTo>
                      <a:pt x="387" y="344"/>
                    </a:lnTo>
                    <a:lnTo>
                      <a:pt x="388" y="334"/>
                    </a:lnTo>
                    <a:lnTo>
                      <a:pt x="388" y="334"/>
                    </a:lnTo>
                    <a:lnTo>
                      <a:pt x="387" y="324"/>
                    </a:lnTo>
                    <a:lnTo>
                      <a:pt x="384" y="313"/>
                    </a:lnTo>
                    <a:lnTo>
                      <a:pt x="378" y="303"/>
                    </a:lnTo>
                    <a:lnTo>
                      <a:pt x="372" y="295"/>
                    </a:lnTo>
                    <a:lnTo>
                      <a:pt x="372" y="295"/>
                    </a:lnTo>
                    <a:close/>
                    <a:moveTo>
                      <a:pt x="252" y="163"/>
                    </a:moveTo>
                    <a:lnTo>
                      <a:pt x="252" y="163"/>
                    </a:lnTo>
                    <a:lnTo>
                      <a:pt x="252" y="163"/>
                    </a:lnTo>
                    <a:lnTo>
                      <a:pt x="252" y="163"/>
                    </a:lnTo>
                    <a:lnTo>
                      <a:pt x="250" y="172"/>
                    </a:lnTo>
                    <a:lnTo>
                      <a:pt x="250" y="172"/>
                    </a:lnTo>
                    <a:lnTo>
                      <a:pt x="250" y="174"/>
                    </a:lnTo>
                    <a:lnTo>
                      <a:pt x="250" y="174"/>
                    </a:lnTo>
                    <a:lnTo>
                      <a:pt x="248" y="182"/>
                    </a:lnTo>
                    <a:lnTo>
                      <a:pt x="248" y="182"/>
                    </a:lnTo>
                    <a:lnTo>
                      <a:pt x="248" y="183"/>
                    </a:lnTo>
                    <a:lnTo>
                      <a:pt x="248" y="183"/>
                    </a:lnTo>
                    <a:lnTo>
                      <a:pt x="245" y="191"/>
                    </a:lnTo>
                    <a:lnTo>
                      <a:pt x="245" y="191"/>
                    </a:lnTo>
                    <a:lnTo>
                      <a:pt x="244" y="193"/>
                    </a:lnTo>
                    <a:lnTo>
                      <a:pt x="244" y="193"/>
                    </a:lnTo>
                    <a:lnTo>
                      <a:pt x="241" y="199"/>
                    </a:lnTo>
                    <a:lnTo>
                      <a:pt x="241" y="199"/>
                    </a:lnTo>
                    <a:lnTo>
                      <a:pt x="240" y="201"/>
                    </a:lnTo>
                    <a:lnTo>
                      <a:pt x="240" y="201"/>
                    </a:lnTo>
                    <a:lnTo>
                      <a:pt x="236" y="208"/>
                    </a:lnTo>
                    <a:lnTo>
                      <a:pt x="236" y="208"/>
                    </a:lnTo>
                    <a:lnTo>
                      <a:pt x="234" y="209"/>
                    </a:lnTo>
                    <a:lnTo>
                      <a:pt x="234" y="209"/>
                    </a:lnTo>
                    <a:lnTo>
                      <a:pt x="230" y="216"/>
                    </a:lnTo>
                    <a:lnTo>
                      <a:pt x="230" y="216"/>
                    </a:lnTo>
                    <a:lnTo>
                      <a:pt x="229" y="217"/>
                    </a:lnTo>
                    <a:lnTo>
                      <a:pt x="229" y="217"/>
                    </a:lnTo>
                    <a:lnTo>
                      <a:pt x="225" y="222"/>
                    </a:lnTo>
                    <a:lnTo>
                      <a:pt x="225" y="222"/>
                    </a:lnTo>
                    <a:lnTo>
                      <a:pt x="223" y="224"/>
                    </a:lnTo>
                    <a:lnTo>
                      <a:pt x="223" y="224"/>
                    </a:lnTo>
                    <a:lnTo>
                      <a:pt x="222" y="224"/>
                    </a:lnTo>
                    <a:lnTo>
                      <a:pt x="222" y="224"/>
                    </a:lnTo>
                    <a:lnTo>
                      <a:pt x="210" y="235"/>
                    </a:lnTo>
                    <a:lnTo>
                      <a:pt x="196" y="243"/>
                    </a:lnTo>
                    <a:lnTo>
                      <a:pt x="182" y="248"/>
                    </a:lnTo>
                    <a:lnTo>
                      <a:pt x="165" y="252"/>
                    </a:lnTo>
                    <a:lnTo>
                      <a:pt x="165" y="252"/>
                    </a:lnTo>
                    <a:lnTo>
                      <a:pt x="165" y="252"/>
                    </a:lnTo>
                    <a:lnTo>
                      <a:pt x="165" y="252"/>
                    </a:lnTo>
                    <a:lnTo>
                      <a:pt x="161" y="252"/>
                    </a:lnTo>
                    <a:lnTo>
                      <a:pt x="161" y="252"/>
                    </a:lnTo>
                    <a:lnTo>
                      <a:pt x="152" y="252"/>
                    </a:lnTo>
                    <a:lnTo>
                      <a:pt x="152" y="252"/>
                    </a:lnTo>
                    <a:lnTo>
                      <a:pt x="152" y="252"/>
                    </a:lnTo>
                    <a:lnTo>
                      <a:pt x="152" y="252"/>
                    </a:lnTo>
                    <a:lnTo>
                      <a:pt x="143" y="252"/>
                    </a:lnTo>
                    <a:lnTo>
                      <a:pt x="132" y="251"/>
                    </a:lnTo>
                    <a:lnTo>
                      <a:pt x="122" y="248"/>
                    </a:lnTo>
                    <a:lnTo>
                      <a:pt x="114" y="245"/>
                    </a:lnTo>
                    <a:lnTo>
                      <a:pt x="114" y="245"/>
                    </a:lnTo>
                    <a:lnTo>
                      <a:pt x="114" y="245"/>
                    </a:lnTo>
                    <a:lnTo>
                      <a:pt x="114" y="245"/>
                    </a:lnTo>
                    <a:lnTo>
                      <a:pt x="99" y="237"/>
                    </a:lnTo>
                    <a:lnTo>
                      <a:pt x="87" y="228"/>
                    </a:lnTo>
                    <a:lnTo>
                      <a:pt x="76" y="217"/>
                    </a:lnTo>
                    <a:lnTo>
                      <a:pt x="67" y="205"/>
                    </a:lnTo>
                    <a:lnTo>
                      <a:pt x="67" y="205"/>
                    </a:lnTo>
                    <a:lnTo>
                      <a:pt x="62" y="193"/>
                    </a:lnTo>
                    <a:lnTo>
                      <a:pt x="56" y="181"/>
                    </a:lnTo>
                    <a:lnTo>
                      <a:pt x="54" y="168"/>
                    </a:lnTo>
                    <a:lnTo>
                      <a:pt x="52" y="155"/>
                    </a:lnTo>
                    <a:lnTo>
                      <a:pt x="52" y="155"/>
                    </a:lnTo>
                    <a:lnTo>
                      <a:pt x="52" y="154"/>
                    </a:lnTo>
                    <a:lnTo>
                      <a:pt x="52" y="154"/>
                    </a:lnTo>
                    <a:lnTo>
                      <a:pt x="55" y="136"/>
                    </a:lnTo>
                    <a:lnTo>
                      <a:pt x="59" y="120"/>
                    </a:lnTo>
                    <a:lnTo>
                      <a:pt x="66" y="104"/>
                    </a:lnTo>
                    <a:lnTo>
                      <a:pt x="75" y="90"/>
                    </a:lnTo>
                    <a:lnTo>
                      <a:pt x="75" y="90"/>
                    </a:lnTo>
                    <a:lnTo>
                      <a:pt x="83" y="82"/>
                    </a:lnTo>
                    <a:lnTo>
                      <a:pt x="93" y="74"/>
                    </a:lnTo>
                    <a:lnTo>
                      <a:pt x="102" y="67"/>
                    </a:lnTo>
                    <a:lnTo>
                      <a:pt x="114" y="61"/>
                    </a:lnTo>
                    <a:lnTo>
                      <a:pt x="114" y="61"/>
                    </a:lnTo>
                    <a:lnTo>
                      <a:pt x="122" y="58"/>
                    </a:lnTo>
                    <a:lnTo>
                      <a:pt x="132" y="55"/>
                    </a:lnTo>
                    <a:lnTo>
                      <a:pt x="143" y="54"/>
                    </a:lnTo>
                    <a:lnTo>
                      <a:pt x="152" y="54"/>
                    </a:lnTo>
                    <a:lnTo>
                      <a:pt x="152" y="54"/>
                    </a:lnTo>
                    <a:lnTo>
                      <a:pt x="161" y="54"/>
                    </a:lnTo>
                    <a:lnTo>
                      <a:pt x="171" y="55"/>
                    </a:lnTo>
                    <a:lnTo>
                      <a:pt x="180" y="58"/>
                    </a:lnTo>
                    <a:lnTo>
                      <a:pt x="188" y="61"/>
                    </a:lnTo>
                    <a:lnTo>
                      <a:pt x="198" y="65"/>
                    </a:lnTo>
                    <a:lnTo>
                      <a:pt x="205" y="69"/>
                    </a:lnTo>
                    <a:lnTo>
                      <a:pt x="219" y="79"/>
                    </a:lnTo>
                    <a:lnTo>
                      <a:pt x="232" y="93"/>
                    </a:lnTo>
                    <a:lnTo>
                      <a:pt x="237" y="100"/>
                    </a:lnTo>
                    <a:lnTo>
                      <a:pt x="241" y="108"/>
                    </a:lnTo>
                    <a:lnTo>
                      <a:pt x="245" y="116"/>
                    </a:lnTo>
                    <a:lnTo>
                      <a:pt x="248" y="124"/>
                    </a:lnTo>
                    <a:lnTo>
                      <a:pt x="250" y="133"/>
                    </a:lnTo>
                    <a:lnTo>
                      <a:pt x="252" y="143"/>
                    </a:lnTo>
                    <a:lnTo>
                      <a:pt x="252" y="143"/>
                    </a:lnTo>
                    <a:lnTo>
                      <a:pt x="252" y="154"/>
                    </a:lnTo>
                    <a:lnTo>
                      <a:pt x="252" y="154"/>
                    </a:lnTo>
                    <a:lnTo>
                      <a:pt x="252" y="163"/>
                    </a:lnTo>
                    <a:lnTo>
                      <a:pt x="252" y="1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BF0E11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67" name="Freeform 241"/>
              <p:cNvSpPr>
                <a:spLocks/>
              </p:cNvSpPr>
              <p:nvPr/>
            </p:nvSpPr>
            <p:spPr bwMode="auto">
              <a:xfrm>
                <a:off x="5716668" y="4183016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BF0E11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68" name="Group 167"/>
            <p:cNvGrpSpPr>
              <a:grpSpLocks noChangeAspect="1"/>
            </p:cNvGrpSpPr>
            <p:nvPr userDrawn="1"/>
          </p:nvGrpSpPr>
          <p:grpSpPr>
            <a:xfrm>
              <a:off x="4902228" y="3708447"/>
              <a:ext cx="137160" cy="97070"/>
              <a:chOff x="4521549" y="2449250"/>
              <a:chExt cx="242113" cy="171347"/>
            </a:xfrm>
            <a:solidFill>
              <a:schemeClr val="bg1">
                <a:lumMod val="85000"/>
                <a:alpha val="30000"/>
              </a:schemeClr>
            </a:solidFill>
          </p:grpSpPr>
          <p:sp>
            <p:nvSpPr>
              <p:cNvPr id="169" name="Freeform 5"/>
              <p:cNvSpPr>
                <a:spLocks noEditPoints="1"/>
              </p:cNvSpPr>
              <p:nvPr/>
            </p:nvSpPr>
            <p:spPr bwMode="auto">
              <a:xfrm>
                <a:off x="4521549" y="2493341"/>
                <a:ext cx="242113" cy="127256"/>
              </a:xfrm>
              <a:custGeom>
                <a:avLst/>
                <a:gdLst>
                  <a:gd name="T0" fmla="*/ 242 w 280"/>
                  <a:gd name="T1" fmla="*/ 51 h 147"/>
                  <a:gd name="T2" fmla="*/ 246 w 280"/>
                  <a:gd name="T3" fmla="*/ 51 h 147"/>
                  <a:gd name="T4" fmla="*/ 261 w 280"/>
                  <a:gd name="T5" fmla="*/ 51 h 147"/>
                  <a:gd name="T6" fmla="*/ 280 w 280"/>
                  <a:gd name="T7" fmla="*/ 70 h 147"/>
                  <a:gd name="T8" fmla="*/ 280 w 280"/>
                  <a:gd name="T9" fmla="*/ 127 h 147"/>
                  <a:gd name="T10" fmla="*/ 260 w 280"/>
                  <a:gd name="T11" fmla="*/ 147 h 147"/>
                  <a:gd name="T12" fmla="*/ 195 w 280"/>
                  <a:gd name="T13" fmla="*/ 147 h 147"/>
                  <a:gd name="T14" fmla="*/ 21 w 280"/>
                  <a:gd name="T15" fmla="*/ 147 h 147"/>
                  <a:gd name="T16" fmla="*/ 1 w 280"/>
                  <a:gd name="T17" fmla="*/ 132 h 147"/>
                  <a:gd name="T18" fmla="*/ 0 w 280"/>
                  <a:gd name="T19" fmla="*/ 126 h 147"/>
                  <a:gd name="T20" fmla="*/ 0 w 280"/>
                  <a:gd name="T21" fmla="*/ 72 h 147"/>
                  <a:gd name="T22" fmla="*/ 21 w 280"/>
                  <a:gd name="T23" fmla="*/ 51 h 147"/>
                  <a:gd name="T24" fmla="*/ 116 w 280"/>
                  <a:gd name="T25" fmla="*/ 51 h 147"/>
                  <a:gd name="T26" fmla="*/ 221 w 280"/>
                  <a:gd name="T27" fmla="*/ 51 h 147"/>
                  <a:gd name="T28" fmla="*/ 224 w 280"/>
                  <a:gd name="T29" fmla="*/ 48 h 147"/>
                  <a:gd name="T30" fmla="*/ 224 w 280"/>
                  <a:gd name="T31" fmla="*/ 13 h 147"/>
                  <a:gd name="T32" fmla="*/ 225 w 280"/>
                  <a:gd name="T33" fmla="*/ 5 h 147"/>
                  <a:gd name="T34" fmla="*/ 233 w 280"/>
                  <a:gd name="T35" fmla="*/ 0 h 147"/>
                  <a:gd name="T36" fmla="*/ 241 w 280"/>
                  <a:gd name="T37" fmla="*/ 5 h 147"/>
                  <a:gd name="T38" fmla="*/ 242 w 280"/>
                  <a:gd name="T39" fmla="*/ 13 h 147"/>
                  <a:gd name="T40" fmla="*/ 242 w 280"/>
                  <a:gd name="T41" fmla="*/ 47 h 147"/>
                  <a:gd name="T42" fmla="*/ 242 w 280"/>
                  <a:gd name="T43" fmla="*/ 51 h 147"/>
                  <a:gd name="T44" fmla="*/ 63 w 280"/>
                  <a:gd name="T45" fmla="*/ 119 h 147"/>
                  <a:gd name="T46" fmla="*/ 63 w 280"/>
                  <a:gd name="T47" fmla="*/ 119 h 147"/>
                  <a:gd name="T48" fmla="*/ 63 w 280"/>
                  <a:gd name="T49" fmla="*/ 126 h 147"/>
                  <a:gd name="T50" fmla="*/ 67 w 280"/>
                  <a:gd name="T51" fmla="*/ 129 h 147"/>
                  <a:gd name="T52" fmla="*/ 81 w 280"/>
                  <a:gd name="T53" fmla="*/ 129 h 147"/>
                  <a:gd name="T54" fmla="*/ 85 w 280"/>
                  <a:gd name="T55" fmla="*/ 126 h 147"/>
                  <a:gd name="T56" fmla="*/ 85 w 280"/>
                  <a:gd name="T57" fmla="*/ 112 h 147"/>
                  <a:gd name="T58" fmla="*/ 81 w 280"/>
                  <a:gd name="T59" fmla="*/ 108 h 147"/>
                  <a:gd name="T60" fmla="*/ 67 w 280"/>
                  <a:gd name="T61" fmla="*/ 108 h 147"/>
                  <a:gd name="T62" fmla="*/ 63 w 280"/>
                  <a:gd name="T63" fmla="*/ 112 h 147"/>
                  <a:gd name="T64" fmla="*/ 63 w 280"/>
                  <a:gd name="T65" fmla="*/ 119 h 147"/>
                  <a:gd name="T66" fmla="*/ 110 w 280"/>
                  <a:gd name="T67" fmla="*/ 129 h 147"/>
                  <a:gd name="T68" fmla="*/ 110 w 280"/>
                  <a:gd name="T69" fmla="*/ 129 h 147"/>
                  <a:gd name="T70" fmla="*/ 117 w 280"/>
                  <a:gd name="T71" fmla="*/ 129 h 147"/>
                  <a:gd name="T72" fmla="*/ 121 w 280"/>
                  <a:gd name="T73" fmla="*/ 126 h 147"/>
                  <a:gd name="T74" fmla="*/ 121 w 280"/>
                  <a:gd name="T75" fmla="*/ 112 h 147"/>
                  <a:gd name="T76" fmla="*/ 117 w 280"/>
                  <a:gd name="T77" fmla="*/ 108 h 147"/>
                  <a:gd name="T78" fmla="*/ 104 w 280"/>
                  <a:gd name="T79" fmla="*/ 108 h 147"/>
                  <a:gd name="T80" fmla="*/ 100 w 280"/>
                  <a:gd name="T81" fmla="*/ 112 h 147"/>
                  <a:gd name="T82" fmla="*/ 100 w 280"/>
                  <a:gd name="T83" fmla="*/ 125 h 147"/>
                  <a:gd name="T84" fmla="*/ 103 w 280"/>
                  <a:gd name="T85" fmla="*/ 129 h 147"/>
                  <a:gd name="T86" fmla="*/ 110 w 280"/>
                  <a:gd name="T87" fmla="*/ 129 h 147"/>
                  <a:gd name="T88" fmla="*/ 27 w 280"/>
                  <a:gd name="T89" fmla="*/ 118 h 147"/>
                  <a:gd name="T90" fmla="*/ 27 w 280"/>
                  <a:gd name="T91" fmla="*/ 118 h 147"/>
                  <a:gd name="T92" fmla="*/ 27 w 280"/>
                  <a:gd name="T93" fmla="*/ 126 h 147"/>
                  <a:gd name="T94" fmla="*/ 31 w 280"/>
                  <a:gd name="T95" fmla="*/ 129 h 147"/>
                  <a:gd name="T96" fmla="*/ 45 w 280"/>
                  <a:gd name="T97" fmla="*/ 129 h 147"/>
                  <a:gd name="T98" fmla="*/ 48 w 280"/>
                  <a:gd name="T99" fmla="*/ 125 h 147"/>
                  <a:gd name="T100" fmla="*/ 48 w 280"/>
                  <a:gd name="T101" fmla="*/ 112 h 147"/>
                  <a:gd name="T102" fmla="*/ 45 w 280"/>
                  <a:gd name="T103" fmla="*/ 108 h 147"/>
                  <a:gd name="T104" fmla="*/ 31 w 280"/>
                  <a:gd name="T105" fmla="*/ 108 h 147"/>
                  <a:gd name="T106" fmla="*/ 27 w 280"/>
                  <a:gd name="T107" fmla="*/ 112 h 147"/>
                  <a:gd name="T108" fmla="*/ 27 w 280"/>
                  <a:gd name="T109" fmla="*/ 118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80" h="147">
                    <a:moveTo>
                      <a:pt x="242" y="51"/>
                    </a:moveTo>
                    <a:cubicBezTo>
                      <a:pt x="244" y="51"/>
                      <a:pt x="245" y="51"/>
                      <a:pt x="246" y="51"/>
                    </a:cubicBezTo>
                    <a:cubicBezTo>
                      <a:pt x="251" y="51"/>
                      <a:pt x="256" y="51"/>
                      <a:pt x="261" y="51"/>
                    </a:cubicBezTo>
                    <a:cubicBezTo>
                      <a:pt x="272" y="52"/>
                      <a:pt x="280" y="60"/>
                      <a:pt x="280" y="70"/>
                    </a:cubicBezTo>
                    <a:cubicBezTo>
                      <a:pt x="280" y="89"/>
                      <a:pt x="280" y="108"/>
                      <a:pt x="280" y="127"/>
                    </a:cubicBezTo>
                    <a:cubicBezTo>
                      <a:pt x="280" y="138"/>
                      <a:pt x="271" y="147"/>
                      <a:pt x="260" y="147"/>
                    </a:cubicBezTo>
                    <a:cubicBezTo>
                      <a:pt x="238" y="147"/>
                      <a:pt x="217" y="147"/>
                      <a:pt x="195" y="147"/>
                    </a:cubicBezTo>
                    <a:cubicBezTo>
                      <a:pt x="137" y="147"/>
                      <a:pt x="79" y="147"/>
                      <a:pt x="21" y="147"/>
                    </a:cubicBezTo>
                    <a:cubicBezTo>
                      <a:pt x="11" y="147"/>
                      <a:pt x="3" y="141"/>
                      <a:pt x="1" y="132"/>
                    </a:cubicBezTo>
                    <a:cubicBezTo>
                      <a:pt x="0" y="130"/>
                      <a:pt x="0" y="128"/>
                      <a:pt x="0" y="126"/>
                    </a:cubicBezTo>
                    <a:cubicBezTo>
                      <a:pt x="0" y="108"/>
                      <a:pt x="0" y="90"/>
                      <a:pt x="0" y="72"/>
                    </a:cubicBezTo>
                    <a:cubicBezTo>
                      <a:pt x="0" y="60"/>
                      <a:pt x="8" y="51"/>
                      <a:pt x="21" y="51"/>
                    </a:cubicBezTo>
                    <a:cubicBezTo>
                      <a:pt x="52" y="51"/>
                      <a:pt x="84" y="51"/>
                      <a:pt x="116" y="51"/>
                    </a:cubicBezTo>
                    <a:cubicBezTo>
                      <a:pt x="151" y="51"/>
                      <a:pt x="186" y="51"/>
                      <a:pt x="221" y="51"/>
                    </a:cubicBezTo>
                    <a:cubicBezTo>
                      <a:pt x="224" y="51"/>
                      <a:pt x="224" y="50"/>
                      <a:pt x="224" y="48"/>
                    </a:cubicBezTo>
                    <a:cubicBezTo>
                      <a:pt x="224" y="36"/>
                      <a:pt x="224" y="25"/>
                      <a:pt x="224" y="13"/>
                    </a:cubicBezTo>
                    <a:cubicBezTo>
                      <a:pt x="224" y="11"/>
                      <a:pt x="224" y="8"/>
                      <a:pt x="225" y="5"/>
                    </a:cubicBezTo>
                    <a:cubicBezTo>
                      <a:pt x="226" y="2"/>
                      <a:pt x="229" y="0"/>
                      <a:pt x="233" y="0"/>
                    </a:cubicBezTo>
                    <a:cubicBezTo>
                      <a:pt x="237" y="0"/>
                      <a:pt x="240" y="2"/>
                      <a:pt x="241" y="5"/>
                    </a:cubicBezTo>
                    <a:cubicBezTo>
                      <a:pt x="242" y="8"/>
                      <a:pt x="242" y="10"/>
                      <a:pt x="242" y="13"/>
                    </a:cubicBezTo>
                    <a:cubicBezTo>
                      <a:pt x="242" y="24"/>
                      <a:pt x="242" y="36"/>
                      <a:pt x="242" y="47"/>
                    </a:cubicBezTo>
                    <a:cubicBezTo>
                      <a:pt x="242" y="48"/>
                      <a:pt x="242" y="49"/>
                      <a:pt x="242" y="51"/>
                    </a:cubicBezTo>
                    <a:close/>
                    <a:moveTo>
                      <a:pt x="63" y="119"/>
                    </a:moveTo>
                    <a:cubicBezTo>
                      <a:pt x="63" y="119"/>
                      <a:pt x="63" y="119"/>
                      <a:pt x="63" y="119"/>
                    </a:cubicBezTo>
                    <a:cubicBezTo>
                      <a:pt x="63" y="121"/>
                      <a:pt x="63" y="123"/>
                      <a:pt x="63" y="126"/>
                    </a:cubicBezTo>
                    <a:cubicBezTo>
                      <a:pt x="64" y="128"/>
                      <a:pt x="65" y="129"/>
                      <a:pt x="67" y="129"/>
                    </a:cubicBezTo>
                    <a:cubicBezTo>
                      <a:pt x="72" y="129"/>
                      <a:pt x="76" y="129"/>
                      <a:pt x="81" y="129"/>
                    </a:cubicBezTo>
                    <a:cubicBezTo>
                      <a:pt x="83" y="129"/>
                      <a:pt x="85" y="128"/>
                      <a:pt x="85" y="126"/>
                    </a:cubicBezTo>
                    <a:cubicBezTo>
                      <a:pt x="85" y="121"/>
                      <a:pt x="85" y="116"/>
                      <a:pt x="85" y="112"/>
                    </a:cubicBezTo>
                    <a:cubicBezTo>
                      <a:pt x="85" y="109"/>
                      <a:pt x="83" y="108"/>
                      <a:pt x="81" y="108"/>
                    </a:cubicBezTo>
                    <a:cubicBezTo>
                      <a:pt x="76" y="108"/>
                      <a:pt x="72" y="108"/>
                      <a:pt x="67" y="108"/>
                    </a:cubicBezTo>
                    <a:cubicBezTo>
                      <a:pt x="65" y="108"/>
                      <a:pt x="64" y="109"/>
                      <a:pt x="63" y="112"/>
                    </a:cubicBezTo>
                    <a:cubicBezTo>
                      <a:pt x="63" y="114"/>
                      <a:pt x="63" y="116"/>
                      <a:pt x="63" y="119"/>
                    </a:cubicBezTo>
                    <a:close/>
                    <a:moveTo>
                      <a:pt x="110" y="129"/>
                    </a:moveTo>
                    <a:cubicBezTo>
                      <a:pt x="110" y="129"/>
                      <a:pt x="110" y="129"/>
                      <a:pt x="110" y="129"/>
                    </a:cubicBezTo>
                    <a:cubicBezTo>
                      <a:pt x="113" y="129"/>
                      <a:pt x="115" y="129"/>
                      <a:pt x="117" y="129"/>
                    </a:cubicBezTo>
                    <a:cubicBezTo>
                      <a:pt x="120" y="129"/>
                      <a:pt x="121" y="128"/>
                      <a:pt x="121" y="126"/>
                    </a:cubicBezTo>
                    <a:cubicBezTo>
                      <a:pt x="121" y="121"/>
                      <a:pt x="121" y="116"/>
                      <a:pt x="121" y="112"/>
                    </a:cubicBezTo>
                    <a:cubicBezTo>
                      <a:pt x="121" y="109"/>
                      <a:pt x="120" y="108"/>
                      <a:pt x="117" y="108"/>
                    </a:cubicBezTo>
                    <a:cubicBezTo>
                      <a:pt x="113" y="108"/>
                      <a:pt x="108" y="108"/>
                      <a:pt x="104" y="108"/>
                    </a:cubicBezTo>
                    <a:cubicBezTo>
                      <a:pt x="101" y="108"/>
                      <a:pt x="100" y="109"/>
                      <a:pt x="100" y="112"/>
                    </a:cubicBezTo>
                    <a:cubicBezTo>
                      <a:pt x="100" y="116"/>
                      <a:pt x="100" y="121"/>
                      <a:pt x="100" y="125"/>
                    </a:cubicBezTo>
                    <a:cubicBezTo>
                      <a:pt x="100" y="128"/>
                      <a:pt x="101" y="129"/>
                      <a:pt x="103" y="129"/>
                    </a:cubicBezTo>
                    <a:cubicBezTo>
                      <a:pt x="106" y="129"/>
                      <a:pt x="108" y="129"/>
                      <a:pt x="110" y="129"/>
                    </a:cubicBezTo>
                    <a:close/>
                    <a:moveTo>
                      <a:pt x="27" y="118"/>
                    </a:moveTo>
                    <a:cubicBezTo>
                      <a:pt x="27" y="118"/>
                      <a:pt x="27" y="118"/>
                      <a:pt x="27" y="118"/>
                    </a:cubicBezTo>
                    <a:cubicBezTo>
                      <a:pt x="27" y="121"/>
                      <a:pt x="27" y="123"/>
                      <a:pt x="27" y="126"/>
                    </a:cubicBezTo>
                    <a:cubicBezTo>
                      <a:pt x="27" y="128"/>
                      <a:pt x="28" y="129"/>
                      <a:pt x="31" y="129"/>
                    </a:cubicBezTo>
                    <a:cubicBezTo>
                      <a:pt x="35" y="129"/>
                      <a:pt x="40" y="129"/>
                      <a:pt x="45" y="129"/>
                    </a:cubicBezTo>
                    <a:cubicBezTo>
                      <a:pt x="47" y="129"/>
                      <a:pt x="48" y="128"/>
                      <a:pt x="48" y="125"/>
                    </a:cubicBezTo>
                    <a:cubicBezTo>
                      <a:pt x="48" y="121"/>
                      <a:pt x="48" y="116"/>
                      <a:pt x="48" y="112"/>
                    </a:cubicBezTo>
                    <a:cubicBezTo>
                      <a:pt x="48" y="109"/>
                      <a:pt x="47" y="108"/>
                      <a:pt x="45" y="108"/>
                    </a:cubicBezTo>
                    <a:cubicBezTo>
                      <a:pt x="40" y="108"/>
                      <a:pt x="35" y="108"/>
                      <a:pt x="31" y="108"/>
                    </a:cubicBezTo>
                    <a:cubicBezTo>
                      <a:pt x="28" y="108"/>
                      <a:pt x="27" y="109"/>
                      <a:pt x="27" y="112"/>
                    </a:cubicBezTo>
                    <a:cubicBezTo>
                      <a:pt x="27" y="114"/>
                      <a:pt x="27" y="116"/>
                      <a:pt x="27" y="1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CA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70" name="Freeform 6"/>
              <p:cNvSpPr>
                <a:spLocks/>
              </p:cNvSpPr>
              <p:nvPr/>
            </p:nvSpPr>
            <p:spPr bwMode="auto">
              <a:xfrm>
                <a:off x="4683441" y="2449250"/>
                <a:ext cx="74384" cy="27712"/>
              </a:xfrm>
              <a:custGeom>
                <a:avLst/>
                <a:gdLst>
                  <a:gd name="T0" fmla="*/ 43 w 86"/>
                  <a:gd name="T1" fmla="*/ 0 h 32"/>
                  <a:gd name="T2" fmla="*/ 83 w 86"/>
                  <a:gd name="T3" fmla="*/ 20 h 32"/>
                  <a:gd name="T4" fmla="*/ 81 w 86"/>
                  <a:gd name="T5" fmla="*/ 30 h 32"/>
                  <a:gd name="T6" fmla="*/ 72 w 86"/>
                  <a:gd name="T7" fmla="*/ 29 h 32"/>
                  <a:gd name="T8" fmla="*/ 14 w 86"/>
                  <a:gd name="T9" fmla="*/ 28 h 32"/>
                  <a:gd name="T10" fmla="*/ 5 w 86"/>
                  <a:gd name="T11" fmla="*/ 30 h 32"/>
                  <a:gd name="T12" fmla="*/ 3 w 86"/>
                  <a:gd name="T13" fmla="*/ 20 h 32"/>
                  <a:gd name="T14" fmla="*/ 43 w 86"/>
                  <a:gd name="T1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6" h="32">
                    <a:moveTo>
                      <a:pt x="43" y="0"/>
                    </a:moveTo>
                    <a:cubicBezTo>
                      <a:pt x="60" y="0"/>
                      <a:pt x="73" y="7"/>
                      <a:pt x="83" y="20"/>
                    </a:cubicBezTo>
                    <a:cubicBezTo>
                      <a:pt x="86" y="24"/>
                      <a:pt x="85" y="26"/>
                      <a:pt x="81" y="30"/>
                    </a:cubicBezTo>
                    <a:cubicBezTo>
                      <a:pt x="77" y="32"/>
                      <a:pt x="75" y="32"/>
                      <a:pt x="72" y="29"/>
                    </a:cubicBezTo>
                    <a:cubicBezTo>
                      <a:pt x="57" y="9"/>
                      <a:pt x="30" y="9"/>
                      <a:pt x="14" y="28"/>
                    </a:cubicBezTo>
                    <a:cubicBezTo>
                      <a:pt x="11" y="32"/>
                      <a:pt x="9" y="32"/>
                      <a:pt x="5" y="30"/>
                    </a:cubicBezTo>
                    <a:cubicBezTo>
                      <a:pt x="1" y="26"/>
                      <a:pt x="0" y="24"/>
                      <a:pt x="3" y="20"/>
                    </a:cubicBezTo>
                    <a:cubicBezTo>
                      <a:pt x="13" y="7"/>
                      <a:pt x="26" y="0"/>
                      <a:pt x="4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CA" sz="700" dirty="0" smtClean="0">
                    <a:solidFill>
                      <a:srgbClr val="676767"/>
                    </a:solidFill>
                    <a:latin typeface="Arial"/>
                    <a:cs typeface="Arial" panose="020B0604020202020204" pitchFamily="34" charset="0"/>
                  </a:rPr>
                  <a:t> </a:t>
                </a:r>
                <a:endParaRPr lang="en-CA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71" name="Freeform 7"/>
              <p:cNvSpPr>
                <a:spLocks/>
              </p:cNvSpPr>
              <p:nvPr/>
            </p:nvSpPr>
            <p:spPr bwMode="auto">
              <a:xfrm>
                <a:off x="4700478" y="2463835"/>
                <a:ext cx="42297" cy="23336"/>
              </a:xfrm>
              <a:custGeom>
                <a:avLst/>
                <a:gdLst>
                  <a:gd name="T0" fmla="*/ 49 w 49"/>
                  <a:gd name="T1" fmla="*/ 18 h 27"/>
                  <a:gd name="T2" fmla="*/ 43 w 49"/>
                  <a:gd name="T3" fmla="*/ 26 h 27"/>
                  <a:gd name="T4" fmla="*/ 37 w 49"/>
                  <a:gd name="T5" fmla="*/ 23 h 27"/>
                  <a:gd name="T6" fmla="*/ 13 w 49"/>
                  <a:gd name="T7" fmla="*/ 23 h 27"/>
                  <a:gd name="T8" fmla="*/ 4 w 49"/>
                  <a:gd name="T9" fmla="*/ 24 h 27"/>
                  <a:gd name="T10" fmla="*/ 2 w 49"/>
                  <a:gd name="T11" fmla="*/ 15 h 27"/>
                  <a:gd name="T12" fmla="*/ 47 w 49"/>
                  <a:gd name="T13" fmla="*/ 15 h 27"/>
                  <a:gd name="T14" fmla="*/ 49 w 49"/>
                  <a:gd name="T15" fmla="*/ 18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9" h="27">
                    <a:moveTo>
                      <a:pt x="49" y="18"/>
                    </a:moveTo>
                    <a:cubicBezTo>
                      <a:pt x="49" y="22"/>
                      <a:pt x="46" y="25"/>
                      <a:pt x="43" y="26"/>
                    </a:cubicBezTo>
                    <a:cubicBezTo>
                      <a:pt x="40" y="27"/>
                      <a:pt x="38" y="26"/>
                      <a:pt x="37" y="23"/>
                    </a:cubicBezTo>
                    <a:cubicBezTo>
                      <a:pt x="30" y="15"/>
                      <a:pt x="20" y="15"/>
                      <a:pt x="13" y="23"/>
                    </a:cubicBezTo>
                    <a:cubicBezTo>
                      <a:pt x="10" y="27"/>
                      <a:pt x="8" y="27"/>
                      <a:pt x="4" y="24"/>
                    </a:cubicBezTo>
                    <a:cubicBezTo>
                      <a:pt x="0" y="21"/>
                      <a:pt x="0" y="18"/>
                      <a:pt x="2" y="15"/>
                    </a:cubicBezTo>
                    <a:cubicBezTo>
                      <a:pt x="14" y="0"/>
                      <a:pt x="36" y="0"/>
                      <a:pt x="47" y="15"/>
                    </a:cubicBezTo>
                    <a:cubicBezTo>
                      <a:pt x="48" y="16"/>
                      <a:pt x="49" y="18"/>
                      <a:pt x="49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CA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72" name="Freeform 74"/>
            <p:cNvSpPr>
              <a:spLocks noChangeAspect="1" noEditPoints="1"/>
            </p:cNvSpPr>
            <p:nvPr userDrawn="1"/>
          </p:nvSpPr>
          <p:spPr bwMode="auto">
            <a:xfrm>
              <a:off x="6726378" y="3305621"/>
              <a:ext cx="91440" cy="110964"/>
            </a:xfrm>
            <a:custGeom>
              <a:avLst/>
              <a:gdLst>
                <a:gd name="T0" fmla="*/ 21 w 116"/>
                <a:gd name="T1" fmla="*/ 3 h 141"/>
                <a:gd name="T2" fmla="*/ 28 w 116"/>
                <a:gd name="T3" fmla="*/ 3 h 141"/>
                <a:gd name="T4" fmla="*/ 29 w 116"/>
                <a:gd name="T5" fmla="*/ 28 h 141"/>
                <a:gd name="T6" fmla="*/ 45 w 116"/>
                <a:gd name="T7" fmla="*/ 32 h 141"/>
                <a:gd name="T8" fmla="*/ 38 w 116"/>
                <a:gd name="T9" fmla="*/ 22 h 141"/>
                <a:gd name="T10" fmla="*/ 45 w 116"/>
                <a:gd name="T11" fmla="*/ 17 h 141"/>
                <a:gd name="T12" fmla="*/ 42 w 116"/>
                <a:gd name="T13" fmla="*/ 64 h 141"/>
                <a:gd name="T14" fmla="*/ 42 w 116"/>
                <a:gd name="T15" fmla="*/ 108 h 141"/>
                <a:gd name="T16" fmla="*/ 28 w 116"/>
                <a:gd name="T17" fmla="*/ 123 h 141"/>
                <a:gd name="T18" fmla="*/ 28 w 116"/>
                <a:gd name="T19" fmla="*/ 69 h 141"/>
                <a:gd name="T20" fmla="*/ 21 w 116"/>
                <a:gd name="T21" fmla="*/ 76 h 141"/>
                <a:gd name="T22" fmla="*/ 7 w 116"/>
                <a:gd name="T23" fmla="*/ 81 h 141"/>
                <a:gd name="T24" fmla="*/ 7 w 116"/>
                <a:gd name="T25" fmla="*/ 23 h 141"/>
                <a:gd name="T26" fmla="*/ 0 w 116"/>
                <a:gd name="T27" fmla="*/ 81 h 141"/>
                <a:gd name="T28" fmla="*/ 0 w 116"/>
                <a:gd name="T29" fmla="*/ 82 h 141"/>
                <a:gd name="T30" fmla="*/ 21 w 116"/>
                <a:gd name="T31" fmla="*/ 141 h 141"/>
                <a:gd name="T32" fmla="*/ 49 w 116"/>
                <a:gd name="T33" fmla="*/ 109 h 141"/>
                <a:gd name="T34" fmla="*/ 49 w 116"/>
                <a:gd name="T35" fmla="*/ 102 h 141"/>
                <a:gd name="T36" fmla="*/ 71 w 116"/>
                <a:gd name="T37" fmla="*/ 52 h 141"/>
                <a:gd name="T38" fmla="*/ 72 w 116"/>
                <a:gd name="T39" fmla="*/ 51 h 141"/>
                <a:gd name="T40" fmla="*/ 73 w 116"/>
                <a:gd name="T41" fmla="*/ 51 h 141"/>
                <a:gd name="T42" fmla="*/ 74 w 116"/>
                <a:gd name="T43" fmla="*/ 51 h 141"/>
                <a:gd name="T44" fmla="*/ 46 w 116"/>
                <a:gd name="T45" fmla="*/ 38 h 141"/>
                <a:gd name="T46" fmla="*/ 28 w 116"/>
                <a:gd name="T47" fmla="*/ 30 h 141"/>
                <a:gd name="T48" fmla="*/ 9 w 116"/>
                <a:gd name="T49" fmla="*/ 21 h 141"/>
                <a:gd name="T50" fmla="*/ 9 w 116"/>
                <a:gd name="T51" fmla="*/ 21 h 141"/>
                <a:gd name="T52" fmla="*/ 16 w 116"/>
                <a:gd name="T53" fmla="*/ 70 h 141"/>
                <a:gd name="T54" fmla="*/ 49 w 116"/>
                <a:gd name="T55" fmla="*/ 59 h 141"/>
                <a:gd name="T56" fmla="*/ 30 w 116"/>
                <a:gd name="T57" fmla="*/ 52 h 141"/>
                <a:gd name="T58" fmla="*/ 18 w 116"/>
                <a:gd name="T59" fmla="*/ 52 h 141"/>
                <a:gd name="T60" fmla="*/ 25 w 116"/>
                <a:gd name="T61" fmla="*/ 46 h 141"/>
                <a:gd name="T62" fmla="*/ 26 w 116"/>
                <a:gd name="T63" fmla="*/ 43 h 141"/>
                <a:gd name="T64" fmla="*/ 22 w 116"/>
                <a:gd name="T65" fmla="*/ 44 h 141"/>
                <a:gd name="T66" fmla="*/ 20 w 116"/>
                <a:gd name="T67" fmla="*/ 41 h 141"/>
                <a:gd name="T68" fmla="*/ 27 w 116"/>
                <a:gd name="T69" fmla="*/ 40 h 141"/>
                <a:gd name="T70" fmla="*/ 30 w 116"/>
                <a:gd name="T71" fmla="*/ 44 h 141"/>
                <a:gd name="T72" fmla="*/ 28 w 116"/>
                <a:gd name="T73" fmla="*/ 48 h 141"/>
                <a:gd name="T74" fmla="*/ 30 w 116"/>
                <a:gd name="T75" fmla="*/ 52 h 141"/>
                <a:gd name="T76" fmla="*/ 51 w 116"/>
                <a:gd name="T77" fmla="*/ 107 h 141"/>
                <a:gd name="T78" fmla="*/ 70 w 116"/>
                <a:gd name="T79" fmla="*/ 88 h 141"/>
                <a:gd name="T80" fmla="*/ 63 w 116"/>
                <a:gd name="T81" fmla="*/ 89 h 141"/>
                <a:gd name="T82" fmla="*/ 59 w 116"/>
                <a:gd name="T83" fmla="*/ 85 h 141"/>
                <a:gd name="T84" fmla="*/ 65 w 116"/>
                <a:gd name="T85" fmla="*/ 87 h 141"/>
                <a:gd name="T86" fmla="*/ 67 w 116"/>
                <a:gd name="T87" fmla="*/ 83 h 141"/>
                <a:gd name="T88" fmla="*/ 63 w 116"/>
                <a:gd name="T89" fmla="*/ 80 h 141"/>
                <a:gd name="T90" fmla="*/ 67 w 116"/>
                <a:gd name="T91" fmla="*/ 79 h 141"/>
                <a:gd name="T92" fmla="*/ 67 w 116"/>
                <a:gd name="T93" fmla="*/ 76 h 141"/>
                <a:gd name="T94" fmla="*/ 60 w 116"/>
                <a:gd name="T95" fmla="*/ 77 h 141"/>
                <a:gd name="T96" fmla="*/ 68 w 116"/>
                <a:gd name="T97" fmla="*/ 74 h 141"/>
                <a:gd name="T98" fmla="*/ 71 w 116"/>
                <a:gd name="T99" fmla="*/ 77 h 141"/>
                <a:gd name="T100" fmla="*/ 69 w 116"/>
                <a:gd name="T101" fmla="*/ 80 h 141"/>
                <a:gd name="T102" fmla="*/ 71 w 116"/>
                <a:gd name="T103" fmla="*/ 82 h 141"/>
                <a:gd name="T104" fmla="*/ 71 w 116"/>
                <a:gd name="T105" fmla="*/ 86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16" h="141">
                  <a:moveTo>
                    <a:pt x="28" y="3"/>
                  </a:moveTo>
                  <a:cubicBezTo>
                    <a:pt x="28" y="1"/>
                    <a:pt x="26" y="0"/>
                    <a:pt x="24" y="0"/>
                  </a:cubicBezTo>
                  <a:cubicBezTo>
                    <a:pt x="23" y="0"/>
                    <a:pt x="21" y="1"/>
                    <a:pt x="21" y="3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11"/>
                    <a:pt x="28" y="3"/>
                    <a:pt x="28" y="3"/>
                  </a:cubicBezTo>
                  <a:close/>
                  <a:moveTo>
                    <a:pt x="94" y="32"/>
                  </a:moveTo>
                  <a:cubicBezTo>
                    <a:pt x="29" y="3"/>
                    <a:pt x="29" y="3"/>
                    <a:pt x="29" y="3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94" y="32"/>
                    <a:pt x="94" y="32"/>
                    <a:pt x="94" y="32"/>
                  </a:cubicBezTo>
                  <a:close/>
                  <a:moveTo>
                    <a:pt x="45" y="32"/>
                  </a:moveTo>
                  <a:cubicBezTo>
                    <a:pt x="42" y="32"/>
                    <a:pt x="42" y="32"/>
                    <a:pt x="42" y="32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5" y="17"/>
                    <a:pt x="45" y="17"/>
                    <a:pt x="45" y="17"/>
                  </a:cubicBezTo>
                  <a:lnTo>
                    <a:pt x="45" y="32"/>
                  </a:lnTo>
                  <a:close/>
                  <a:moveTo>
                    <a:pt x="49" y="62"/>
                  </a:moveTo>
                  <a:cubicBezTo>
                    <a:pt x="42" y="64"/>
                    <a:pt x="42" y="64"/>
                    <a:pt x="42" y="64"/>
                  </a:cubicBezTo>
                  <a:cubicBezTo>
                    <a:pt x="42" y="103"/>
                    <a:pt x="42" y="103"/>
                    <a:pt x="42" y="103"/>
                  </a:cubicBezTo>
                  <a:cubicBezTo>
                    <a:pt x="42" y="103"/>
                    <a:pt x="42" y="103"/>
                    <a:pt x="42" y="103"/>
                  </a:cubicBezTo>
                  <a:cubicBezTo>
                    <a:pt x="42" y="108"/>
                    <a:pt x="42" y="108"/>
                    <a:pt x="42" y="108"/>
                  </a:cubicBezTo>
                  <a:cubicBezTo>
                    <a:pt x="42" y="108"/>
                    <a:pt x="42" y="108"/>
                    <a:pt x="42" y="108"/>
                  </a:cubicBezTo>
                  <a:cubicBezTo>
                    <a:pt x="42" y="108"/>
                    <a:pt x="42" y="108"/>
                    <a:pt x="42" y="108"/>
                  </a:cubicBezTo>
                  <a:cubicBezTo>
                    <a:pt x="42" y="116"/>
                    <a:pt x="36" y="122"/>
                    <a:pt x="28" y="123"/>
                  </a:cubicBezTo>
                  <a:cubicBezTo>
                    <a:pt x="28" y="103"/>
                    <a:pt x="28" y="103"/>
                    <a:pt x="28" y="103"/>
                  </a:cubicBezTo>
                  <a:cubicBezTo>
                    <a:pt x="28" y="103"/>
                    <a:pt x="28" y="103"/>
                    <a:pt x="28" y="103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1" y="71"/>
                    <a:pt x="21" y="71"/>
                    <a:pt x="21" y="71"/>
                  </a:cubicBezTo>
                  <a:cubicBezTo>
                    <a:pt x="21" y="76"/>
                    <a:pt x="21" y="76"/>
                    <a:pt x="21" y="76"/>
                  </a:cubicBezTo>
                  <a:cubicBezTo>
                    <a:pt x="21" y="76"/>
                    <a:pt x="21" y="76"/>
                    <a:pt x="21" y="76"/>
                  </a:cubicBezTo>
                  <a:cubicBezTo>
                    <a:pt x="21" y="97"/>
                    <a:pt x="21" y="97"/>
                    <a:pt x="21" y="97"/>
                  </a:cubicBezTo>
                  <a:cubicBezTo>
                    <a:pt x="13" y="95"/>
                    <a:pt x="7" y="89"/>
                    <a:pt x="7" y="81"/>
                  </a:cubicBezTo>
                  <a:cubicBezTo>
                    <a:pt x="7" y="81"/>
                    <a:pt x="7" y="81"/>
                    <a:pt x="7" y="81"/>
                  </a:cubicBezTo>
                  <a:cubicBezTo>
                    <a:pt x="7" y="81"/>
                    <a:pt x="7" y="81"/>
                    <a:pt x="7" y="81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11"/>
                    <a:pt x="7" y="23"/>
                    <a:pt x="7" y="23"/>
                  </a:cubicBezTo>
                  <a:cubicBezTo>
                    <a:pt x="7" y="22"/>
                    <a:pt x="6" y="20"/>
                    <a:pt x="4" y="20"/>
                  </a:cubicBezTo>
                  <a:cubicBezTo>
                    <a:pt x="2" y="20"/>
                    <a:pt x="0" y="22"/>
                    <a:pt x="0" y="23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1" y="82"/>
                    <a:pt x="1" y="82"/>
                    <a:pt x="1" y="82"/>
                  </a:cubicBezTo>
                  <a:cubicBezTo>
                    <a:pt x="1" y="92"/>
                    <a:pt x="10" y="101"/>
                    <a:pt x="21" y="103"/>
                  </a:cubicBezTo>
                  <a:cubicBezTo>
                    <a:pt x="21" y="141"/>
                    <a:pt x="21" y="141"/>
                    <a:pt x="21" y="141"/>
                  </a:cubicBezTo>
                  <a:cubicBezTo>
                    <a:pt x="28" y="141"/>
                    <a:pt x="28" y="141"/>
                    <a:pt x="28" y="141"/>
                  </a:cubicBezTo>
                  <a:cubicBezTo>
                    <a:pt x="28" y="129"/>
                    <a:pt x="28" y="129"/>
                    <a:pt x="28" y="129"/>
                  </a:cubicBezTo>
                  <a:cubicBezTo>
                    <a:pt x="39" y="128"/>
                    <a:pt x="49" y="119"/>
                    <a:pt x="49" y="109"/>
                  </a:cubicBezTo>
                  <a:cubicBezTo>
                    <a:pt x="49" y="109"/>
                    <a:pt x="49" y="109"/>
                    <a:pt x="49" y="109"/>
                  </a:cubicBezTo>
                  <a:cubicBezTo>
                    <a:pt x="49" y="102"/>
                    <a:pt x="49" y="102"/>
                    <a:pt x="49" y="102"/>
                  </a:cubicBezTo>
                  <a:cubicBezTo>
                    <a:pt x="49" y="102"/>
                    <a:pt x="49" y="102"/>
                    <a:pt x="49" y="102"/>
                  </a:cubicBezTo>
                  <a:lnTo>
                    <a:pt x="49" y="62"/>
                  </a:lnTo>
                  <a:close/>
                  <a:moveTo>
                    <a:pt x="70" y="52"/>
                  </a:moveTo>
                  <a:cubicBezTo>
                    <a:pt x="71" y="52"/>
                    <a:pt x="71" y="52"/>
                    <a:pt x="71" y="52"/>
                  </a:cubicBezTo>
                  <a:cubicBezTo>
                    <a:pt x="71" y="52"/>
                    <a:pt x="71" y="52"/>
                    <a:pt x="72" y="52"/>
                  </a:cubicBezTo>
                  <a:cubicBezTo>
                    <a:pt x="72" y="52"/>
                    <a:pt x="72" y="51"/>
                    <a:pt x="72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1"/>
                    <a:pt x="73" y="51"/>
                    <a:pt x="73" y="51"/>
                  </a:cubicBezTo>
                  <a:cubicBezTo>
                    <a:pt x="73" y="51"/>
                    <a:pt x="73" y="51"/>
                    <a:pt x="73" y="51"/>
                  </a:cubicBezTo>
                  <a:cubicBezTo>
                    <a:pt x="73" y="51"/>
                    <a:pt x="73" y="51"/>
                    <a:pt x="73" y="51"/>
                  </a:cubicBezTo>
                  <a:cubicBezTo>
                    <a:pt x="73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68" y="48"/>
                    <a:pt x="63" y="46"/>
                    <a:pt x="59" y="44"/>
                  </a:cubicBezTo>
                  <a:cubicBezTo>
                    <a:pt x="54" y="42"/>
                    <a:pt x="50" y="40"/>
                    <a:pt x="46" y="38"/>
                  </a:cubicBezTo>
                  <a:cubicBezTo>
                    <a:pt x="45" y="38"/>
                    <a:pt x="44" y="37"/>
                    <a:pt x="43" y="37"/>
                  </a:cubicBezTo>
                  <a:cubicBezTo>
                    <a:pt x="38" y="34"/>
                    <a:pt x="33" y="32"/>
                    <a:pt x="29" y="31"/>
                  </a:cubicBezTo>
                  <a:cubicBezTo>
                    <a:pt x="29" y="30"/>
                    <a:pt x="28" y="30"/>
                    <a:pt x="28" y="30"/>
                  </a:cubicBezTo>
                  <a:cubicBezTo>
                    <a:pt x="25" y="29"/>
                    <a:pt x="23" y="28"/>
                    <a:pt x="21" y="27"/>
                  </a:cubicBezTo>
                  <a:cubicBezTo>
                    <a:pt x="20" y="26"/>
                    <a:pt x="19" y="26"/>
                    <a:pt x="18" y="25"/>
                  </a:cubicBezTo>
                  <a:cubicBezTo>
                    <a:pt x="10" y="22"/>
                    <a:pt x="9" y="21"/>
                    <a:pt x="9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72"/>
                    <a:pt x="9" y="72"/>
                    <a:pt x="9" y="72"/>
                  </a:cubicBezTo>
                  <a:cubicBezTo>
                    <a:pt x="10" y="72"/>
                    <a:pt x="11" y="72"/>
                    <a:pt x="12" y="71"/>
                  </a:cubicBezTo>
                  <a:cubicBezTo>
                    <a:pt x="14" y="71"/>
                    <a:pt x="15" y="70"/>
                    <a:pt x="16" y="70"/>
                  </a:cubicBezTo>
                  <a:cubicBezTo>
                    <a:pt x="20" y="69"/>
                    <a:pt x="24" y="67"/>
                    <a:pt x="28" y="66"/>
                  </a:cubicBezTo>
                  <a:cubicBezTo>
                    <a:pt x="33" y="64"/>
                    <a:pt x="38" y="63"/>
                    <a:pt x="42" y="61"/>
                  </a:cubicBezTo>
                  <a:cubicBezTo>
                    <a:pt x="45" y="60"/>
                    <a:pt x="47" y="60"/>
                    <a:pt x="49" y="59"/>
                  </a:cubicBezTo>
                  <a:cubicBezTo>
                    <a:pt x="49" y="59"/>
                    <a:pt x="50" y="59"/>
                    <a:pt x="51" y="59"/>
                  </a:cubicBezTo>
                  <a:cubicBezTo>
                    <a:pt x="62" y="55"/>
                    <a:pt x="67" y="53"/>
                    <a:pt x="70" y="52"/>
                  </a:cubicBezTo>
                  <a:close/>
                  <a:moveTo>
                    <a:pt x="30" y="52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8" y="55"/>
                    <a:pt x="18" y="55"/>
                    <a:pt x="18" y="55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23" y="48"/>
                    <a:pt x="24" y="48"/>
                    <a:pt x="24" y="47"/>
                  </a:cubicBezTo>
                  <a:cubicBezTo>
                    <a:pt x="25" y="47"/>
                    <a:pt x="25" y="46"/>
                    <a:pt x="25" y="46"/>
                  </a:cubicBezTo>
                  <a:cubicBezTo>
                    <a:pt x="26" y="46"/>
                    <a:pt x="26" y="45"/>
                    <a:pt x="26" y="45"/>
                  </a:cubicBezTo>
                  <a:cubicBezTo>
                    <a:pt x="26" y="45"/>
                    <a:pt x="26" y="44"/>
                    <a:pt x="26" y="44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5" y="42"/>
                    <a:pt x="25" y="42"/>
                    <a:pt x="24" y="42"/>
                  </a:cubicBezTo>
                  <a:cubicBezTo>
                    <a:pt x="24" y="42"/>
                    <a:pt x="23" y="42"/>
                    <a:pt x="23" y="43"/>
                  </a:cubicBezTo>
                  <a:cubicBezTo>
                    <a:pt x="22" y="43"/>
                    <a:pt x="22" y="44"/>
                    <a:pt x="22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9" y="42"/>
                  </a:cubicBezTo>
                  <a:cubicBezTo>
                    <a:pt x="19" y="42"/>
                    <a:pt x="20" y="41"/>
                    <a:pt x="20" y="41"/>
                  </a:cubicBezTo>
                  <a:cubicBezTo>
                    <a:pt x="21" y="41"/>
                    <a:pt x="21" y="40"/>
                    <a:pt x="22" y="40"/>
                  </a:cubicBezTo>
                  <a:cubicBezTo>
                    <a:pt x="23" y="40"/>
                    <a:pt x="24" y="40"/>
                    <a:pt x="24" y="40"/>
                  </a:cubicBezTo>
                  <a:cubicBezTo>
                    <a:pt x="25" y="40"/>
                    <a:pt x="26" y="40"/>
                    <a:pt x="27" y="40"/>
                  </a:cubicBezTo>
                  <a:cubicBezTo>
                    <a:pt x="27" y="40"/>
                    <a:pt x="28" y="41"/>
                    <a:pt x="28" y="41"/>
                  </a:cubicBezTo>
                  <a:cubicBezTo>
                    <a:pt x="29" y="41"/>
                    <a:pt x="29" y="42"/>
                    <a:pt x="30" y="42"/>
                  </a:cubicBezTo>
                  <a:cubicBezTo>
                    <a:pt x="30" y="43"/>
                    <a:pt x="30" y="43"/>
                    <a:pt x="30" y="44"/>
                  </a:cubicBezTo>
                  <a:cubicBezTo>
                    <a:pt x="30" y="45"/>
                    <a:pt x="30" y="45"/>
                    <a:pt x="30" y="46"/>
                  </a:cubicBezTo>
                  <a:cubicBezTo>
                    <a:pt x="30" y="46"/>
                    <a:pt x="29" y="47"/>
                    <a:pt x="29" y="47"/>
                  </a:cubicBezTo>
                  <a:cubicBezTo>
                    <a:pt x="29" y="47"/>
                    <a:pt x="28" y="48"/>
                    <a:pt x="28" y="48"/>
                  </a:cubicBezTo>
                  <a:cubicBezTo>
                    <a:pt x="27" y="49"/>
                    <a:pt x="26" y="50"/>
                    <a:pt x="26" y="50"/>
                  </a:cubicBezTo>
                  <a:cubicBezTo>
                    <a:pt x="23" y="52"/>
                    <a:pt x="23" y="52"/>
                    <a:pt x="23" y="52"/>
                  </a:cubicBezTo>
                  <a:lnTo>
                    <a:pt x="30" y="52"/>
                  </a:lnTo>
                  <a:close/>
                  <a:moveTo>
                    <a:pt x="58" y="59"/>
                  </a:moveTo>
                  <a:cubicBezTo>
                    <a:pt x="51" y="61"/>
                    <a:pt x="51" y="61"/>
                    <a:pt x="51" y="61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116" y="85"/>
                    <a:pt x="116" y="85"/>
                    <a:pt x="116" y="85"/>
                  </a:cubicBezTo>
                  <a:cubicBezTo>
                    <a:pt x="82" y="70"/>
                    <a:pt x="65" y="63"/>
                    <a:pt x="58" y="59"/>
                  </a:cubicBezTo>
                  <a:close/>
                  <a:moveTo>
                    <a:pt x="70" y="88"/>
                  </a:moveTo>
                  <a:cubicBezTo>
                    <a:pt x="69" y="88"/>
                    <a:pt x="69" y="89"/>
                    <a:pt x="68" y="89"/>
                  </a:cubicBezTo>
                  <a:cubicBezTo>
                    <a:pt x="67" y="89"/>
                    <a:pt x="66" y="89"/>
                    <a:pt x="65" y="89"/>
                  </a:cubicBezTo>
                  <a:cubicBezTo>
                    <a:pt x="65" y="89"/>
                    <a:pt x="64" y="89"/>
                    <a:pt x="63" y="89"/>
                  </a:cubicBezTo>
                  <a:cubicBezTo>
                    <a:pt x="62" y="89"/>
                    <a:pt x="62" y="88"/>
                    <a:pt x="61" y="88"/>
                  </a:cubicBezTo>
                  <a:cubicBezTo>
                    <a:pt x="61" y="88"/>
                    <a:pt x="60" y="87"/>
                    <a:pt x="60" y="87"/>
                  </a:cubicBezTo>
                  <a:cubicBezTo>
                    <a:pt x="60" y="86"/>
                    <a:pt x="59" y="86"/>
                    <a:pt x="59" y="85"/>
                  </a:cubicBezTo>
                  <a:cubicBezTo>
                    <a:pt x="63" y="85"/>
                    <a:pt x="63" y="85"/>
                    <a:pt x="63" y="85"/>
                  </a:cubicBezTo>
                  <a:cubicBezTo>
                    <a:pt x="63" y="86"/>
                    <a:pt x="63" y="86"/>
                    <a:pt x="64" y="86"/>
                  </a:cubicBezTo>
                  <a:cubicBezTo>
                    <a:pt x="64" y="87"/>
                    <a:pt x="65" y="87"/>
                    <a:pt x="65" y="87"/>
                  </a:cubicBezTo>
                  <a:cubicBezTo>
                    <a:pt x="66" y="87"/>
                    <a:pt x="67" y="87"/>
                    <a:pt x="67" y="86"/>
                  </a:cubicBezTo>
                  <a:cubicBezTo>
                    <a:pt x="68" y="86"/>
                    <a:pt x="68" y="85"/>
                    <a:pt x="68" y="85"/>
                  </a:cubicBezTo>
                  <a:cubicBezTo>
                    <a:pt x="68" y="84"/>
                    <a:pt x="68" y="83"/>
                    <a:pt x="67" y="83"/>
                  </a:cubicBezTo>
                  <a:cubicBezTo>
                    <a:pt x="67" y="82"/>
                    <a:pt x="66" y="82"/>
                    <a:pt x="65" y="82"/>
                  </a:cubicBezTo>
                  <a:cubicBezTo>
                    <a:pt x="63" y="82"/>
                    <a:pt x="63" y="82"/>
                    <a:pt x="63" y="82"/>
                  </a:cubicBezTo>
                  <a:cubicBezTo>
                    <a:pt x="63" y="80"/>
                    <a:pt x="63" y="80"/>
                    <a:pt x="63" y="80"/>
                  </a:cubicBezTo>
                  <a:cubicBezTo>
                    <a:pt x="65" y="80"/>
                    <a:pt x="65" y="80"/>
                    <a:pt x="65" y="80"/>
                  </a:cubicBezTo>
                  <a:cubicBezTo>
                    <a:pt x="65" y="80"/>
                    <a:pt x="66" y="80"/>
                    <a:pt x="66" y="80"/>
                  </a:cubicBezTo>
                  <a:cubicBezTo>
                    <a:pt x="66" y="80"/>
                    <a:pt x="67" y="79"/>
                    <a:pt x="67" y="79"/>
                  </a:cubicBezTo>
                  <a:cubicBezTo>
                    <a:pt x="67" y="79"/>
                    <a:pt x="67" y="79"/>
                    <a:pt x="67" y="79"/>
                  </a:cubicBezTo>
                  <a:cubicBezTo>
                    <a:pt x="67" y="78"/>
                    <a:pt x="67" y="78"/>
                    <a:pt x="67" y="78"/>
                  </a:cubicBezTo>
                  <a:cubicBezTo>
                    <a:pt x="67" y="77"/>
                    <a:pt x="67" y="77"/>
                    <a:pt x="67" y="76"/>
                  </a:cubicBezTo>
                  <a:cubicBezTo>
                    <a:pt x="67" y="76"/>
                    <a:pt x="66" y="76"/>
                    <a:pt x="65" y="76"/>
                  </a:cubicBezTo>
                  <a:cubicBezTo>
                    <a:pt x="64" y="76"/>
                    <a:pt x="64" y="76"/>
                    <a:pt x="63" y="77"/>
                  </a:cubicBezTo>
                  <a:cubicBezTo>
                    <a:pt x="60" y="77"/>
                    <a:pt x="60" y="77"/>
                    <a:pt x="60" y="77"/>
                  </a:cubicBezTo>
                  <a:cubicBezTo>
                    <a:pt x="60" y="76"/>
                    <a:pt x="61" y="75"/>
                    <a:pt x="62" y="75"/>
                  </a:cubicBezTo>
                  <a:cubicBezTo>
                    <a:pt x="63" y="74"/>
                    <a:pt x="64" y="74"/>
                    <a:pt x="66" y="74"/>
                  </a:cubicBezTo>
                  <a:cubicBezTo>
                    <a:pt x="66" y="74"/>
                    <a:pt x="67" y="74"/>
                    <a:pt x="68" y="74"/>
                  </a:cubicBezTo>
                  <a:cubicBezTo>
                    <a:pt x="69" y="74"/>
                    <a:pt x="69" y="74"/>
                    <a:pt x="70" y="75"/>
                  </a:cubicBezTo>
                  <a:cubicBezTo>
                    <a:pt x="70" y="75"/>
                    <a:pt x="71" y="75"/>
                    <a:pt x="71" y="76"/>
                  </a:cubicBezTo>
                  <a:cubicBezTo>
                    <a:pt x="71" y="76"/>
                    <a:pt x="71" y="77"/>
                    <a:pt x="71" y="77"/>
                  </a:cubicBezTo>
                  <a:cubicBezTo>
                    <a:pt x="71" y="78"/>
                    <a:pt x="71" y="78"/>
                    <a:pt x="71" y="79"/>
                  </a:cubicBezTo>
                  <a:cubicBezTo>
                    <a:pt x="71" y="79"/>
                    <a:pt x="71" y="79"/>
                    <a:pt x="70" y="80"/>
                  </a:cubicBezTo>
                  <a:cubicBezTo>
                    <a:pt x="70" y="80"/>
                    <a:pt x="70" y="80"/>
                    <a:pt x="69" y="80"/>
                  </a:cubicBezTo>
                  <a:cubicBezTo>
                    <a:pt x="69" y="81"/>
                    <a:pt x="68" y="81"/>
                    <a:pt x="68" y="81"/>
                  </a:cubicBezTo>
                  <a:cubicBezTo>
                    <a:pt x="68" y="81"/>
                    <a:pt x="69" y="81"/>
                    <a:pt x="69" y="81"/>
                  </a:cubicBezTo>
                  <a:cubicBezTo>
                    <a:pt x="70" y="81"/>
                    <a:pt x="70" y="82"/>
                    <a:pt x="71" y="82"/>
                  </a:cubicBezTo>
                  <a:cubicBezTo>
                    <a:pt x="71" y="82"/>
                    <a:pt x="71" y="83"/>
                    <a:pt x="71" y="83"/>
                  </a:cubicBezTo>
                  <a:cubicBezTo>
                    <a:pt x="72" y="84"/>
                    <a:pt x="72" y="84"/>
                    <a:pt x="72" y="84"/>
                  </a:cubicBezTo>
                  <a:cubicBezTo>
                    <a:pt x="72" y="85"/>
                    <a:pt x="72" y="86"/>
                    <a:pt x="71" y="86"/>
                  </a:cubicBezTo>
                  <a:cubicBezTo>
                    <a:pt x="71" y="87"/>
                    <a:pt x="70" y="87"/>
                    <a:pt x="70" y="88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3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3" fontAlgn="auto">
                <a:spcBef>
                  <a:spcPts val="0"/>
                </a:spcBef>
                <a:spcAft>
                  <a:spcPts val="0"/>
                </a:spcAft>
              </a:pPr>
              <a:endParaRPr lang="en-CA" sz="700" dirty="0">
                <a:solidFill>
                  <a:srgbClr val="BF0E11"/>
                </a:solidFill>
                <a:latin typeface="Arial"/>
                <a:cs typeface="Arial" panose="020B0604020202020204" pitchFamily="34" charset="0"/>
              </a:endParaRPr>
            </a:p>
          </p:txBody>
        </p:sp>
        <p:grpSp>
          <p:nvGrpSpPr>
            <p:cNvPr id="173" name="Group 172"/>
            <p:cNvGrpSpPr>
              <a:grpSpLocks noChangeAspect="1"/>
            </p:cNvGrpSpPr>
            <p:nvPr userDrawn="1"/>
          </p:nvGrpSpPr>
          <p:grpSpPr>
            <a:xfrm>
              <a:off x="3935399" y="3305289"/>
              <a:ext cx="118872" cy="118872"/>
              <a:chOff x="3361406" y="3513469"/>
              <a:chExt cx="269544" cy="269774"/>
            </a:xfrm>
            <a:solidFill>
              <a:schemeClr val="bg1">
                <a:lumMod val="85000"/>
                <a:alpha val="30000"/>
              </a:schemeClr>
            </a:solidFill>
          </p:grpSpPr>
          <p:sp>
            <p:nvSpPr>
              <p:cNvPr id="174" name="Freeform 5"/>
              <p:cNvSpPr>
                <a:spLocks noEditPoints="1"/>
              </p:cNvSpPr>
              <p:nvPr/>
            </p:nvSpPr>
            <p:spPr bwMode="auto">
              <a:xfrm>
                <a:off x="3361406" y="3513469"/>
                <a:ext cx="269544" cy="269774"/>
              </a:xfrm>
              <a:custGeom>
                <a:avLst/>
                <a:gdLst>
                  <a:gd name="T0" fmla="*/ 614 w 632"/>
                  <a:gd name="T1" fmla="*/ 299 h 633"/>
                  <a:gd name="T2" fmla="*/ 586 w 632"/>
                  <a:gd name="T3" fmla="*/ 299 h 633"/>
                  <a:gd name="T4" fmla="*/ 334 w 632"/>
                  <a:gd name="T5" fmla="*/ 48 h 633"/>
                  <a:gd name="T6" fmla="*/ 334 w 632"/>
                  <a:gd name="T7" fmla="*/ 18 h 633"/>
                  <a:gd name="T8" fmla="*/ 316 w 632"/>
                  <a:gd name="T9" fmla="*/ 0 h 633"/>
                  <a:gd name="T10" fmla="*/ 298 w 632"/>
                  <a:gd name="T11" fmla="*/ 18 h 633"/>
                  <a:gd name="T12" fmla="*/ 298 w 632"/>
                  <a:gd name="T13" fmla="*/ 48 h 633"/>
                  <a:gd name="T14" fmla="*/ 46 w 632"/>
                  <a:gd name="T15" fmla="*/ 299 h 633"/>
                  <a:gd name="T16" fmla="*/ 18 w 632"/>
                  <a:gd name="T17" fmla="*/ 299 h 633"/>
                  <a:gd name="T18" fmla="*/ 0 w 632"/>
                  <a:gd name="T19" fmla="*/ 317 h 633"/>
                  <a:gd name="T20" fmla="*/ 18 w 632"/>
                  <a:gd name="T21" fmla="*/ 335 h 633"/>
                  <a:gd name="T22" fmla="*/ 46 w 632"/>
                  <a:gd name="T23" fmla="*/ 335 h 633"/>
                  <a:gd name="T24" fmla="*/ 298 w 632"/>
                  <a:gd name="T25" fmla="*/ 587 h 633"/>
                  <a:gd name="T26" fmla="*/ 298 w 632"/>
                  <a:gd name="T27" fmla="*/ 615 h 633"/>
                  <a:gd name="T28" fmla="*/ 316 w 632"/>
                  <a:gd name="T29" fmla="*/ 633 h 633"/>
                  <a:gd name="T30" fmla="*/ 334 w 632"/>
                  <a:gd name="T31" fmla="*/ 615 h 633"/>
                  <a:gd name="T32" fmla="*/ 334 w 632"/>
                  <a:gd name="T33" fmla="*/ 587 h 633"/>
                  <a:gd name="T34" fmla="*/ 586 w 632"/>
                  <a:gd name="T35" fmla="*/ 335 h 633"/>
                  <a:gd name="T36" fmla="*/ 614 w 632"/>
                  <a:gd name="T37" fmla="*/ 335 h 633"/>
                  <a:gd name="T38" fmla="*/ 632 w 632"/>
                  <a:gd name="T39" fmla="*/ 317 h 633"/>
                  <a:gd name="T40" fmla="*/ 614 w 632"/>
                  <a:gd name="T41" fmla="*/ 299 h 633"/>
                  <a:gd name="T42" fmla="*/ 334 w 632"/>
                  <a:gd name="T43" fmla="*/ 559 h 633"/>
                  <a:gd name="T44" fmla="*/ 334 w 632"/>
                  <a:gd name="T45" fmla="*/ 531 h 633"/>
                  <a:gd name="T46" fmla="*/ 316 w 632"/>
                  <a:gd name="T47" fmla="*/ 513 h 633"/>
                  <a:gd name="T48" fmla="*/ 298 w 632"/>
                  <a:gd name="T49" fmla="*/ 531 h 633"/>
                  <a:gd name="T50" fmla="*/ 298 w 632"/>
                  <a:gd name="T51" fmla="*/ 559 h 633"/>
                  <a:gd name="T52" fmla="*/ 74 w 632"/>
                  <a:gd name="T53" fmla="*/ 335 h 633"/>
                  <a:gd name="T54" fmla="*/ 101 w 632"/>
                  <a:gd name="T55" fmla="*/ 335 h 633"/>
                  <a:gd name="T56" fmla="*/ 119 w 632"/>
                  <a:gd name="T57" fmla="*/ 317 h 633"/>
                  <a:gd name="T58" fmla="*/ 101 w 632"/>
                  <a:gd name="T59" fmla="*/ 299 h 633"/>
                  <a:gd name="T60" fmla="*/ 75 w 632"/>
                  <a:gd name="T61" fmla="*/ 299 h 633"/>
                  <a:gd name="T62" fmla="*/ 298 w 632"/>
                  <a:gd name="T63" fmla="*/ 76 h 633"/>
                  <a:gd name="T64" fmla="*/ 298 w 632"/>
                  <a:gd name="T65" fmla="*/ 102 h 633"/>
                  <a:gd name="T66" fmla="*/ 316 w 632"/>
                  <a:gd name="T67" fmla="*/ 120 h 633"/>
                  <a:gd name="T68" fmla="*/ 334 w 632"/>
                  <a:gd name="T69" fmla="*/ 102 h 633"/>
                  <a:gd name="T70" fmla="*/ 334 w 632"/>
                  <a:gd name="T71" fmla="*/ 76 h 633"/>
                  <a:gd name="T72" fmla="*/ 558 w 632"/>
                  <a:gd name="T73" fmla="*/ 299 h 633"/>
                  <a:gd name="T74" fmla="*/ 531 w 632"/>
                  <a:gd name="T75" fmla="*/ 299 h 633"/>
                  <a:gd name="T76" fmla="*/ 513 w 632"/>
                  <a:gd name="T77" fmla="*/ 317 h 633"/>
                  <a:gd name="T78" fmla="*/ 531 w 632"/>
                  <a:gd name="T79" fmla="*/ 335 h 633"/>
                  <a:gd name="T80" fmla="*/ 558 w 632"/>
                  <a:gd name="T81" fmla="*/ 335 h 633"/>
                  <a:gd name="T82" fmla="*/ 334 w 632"/>
                  <a:gd name="T83" fmla="*/ 559 h 6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32" h="633">
                    <a:moveTo>
                      <a:pt x="614" y="299"/>
                    </a:moveTo>
                    <a:cubicBezTo>
                      <a:pt x="586" y="299"/>
                      <a:pt x="586" y="299"/>
                      <a:pt x="586" y="299"/>
                    </a:cubicBezTo>
                    <a:cubicBezTo>
                      <a:pt x="576" y="164"/>
                      <a:pt x="469" y="57"/>
                      <a:pt x="334" y="48"/>
                    </a:cubicBezTo>
                    <a:cubicBezTo>
                      <a:pt x="334" y="18"/>
                      <a:pt x="334" y="18"/>
                      <a:pt x="334" y="18"/>
                    </a:cubicBezTo>
                    <a:cubicBezTo>
                      <a:pt x="334" y="9"/>
                      <a:pt x="326" y="0"/>
                      <a:pt x="316" y="0"/>
                    </a:cubicBezTo>
                    <a:cubicBezTo>
                      <a:pt x="306" y="0"/>
                      <a:pt x="298" y="9"/>
                      <a:pt x="298" y="18"/>
                    </a:cubicBezTo>
                    <a:cubicBezTo>
                      <a:pt x="298" y="48"/>
                      <a:pt x="298" y="48"/>
                      <a:pt x="298" y="48"/>
                    </a:cubicBezTo>
                    <a:cubicBezTo>
                      <a:pt x="164" y="57"/>
                      <a:pt x="56" y="164"/>
                      <a:pt x="46" y="299"/>
                    </a:cubicBezTo>
                    <a:cubicBezTo>
                      <a:pt x="18" y="299"/>
                      <a:pt x="18" y="299"/>
                      <a:pt x="18" y="299"/>
                    </a:cubicBezTo>
                    <a:cubicBezTo>
                      <a:pt x="8" y="299"/>
                      <a:pt x="0" y="307"/>
                      <a:pt x="0" y="317"/>
                    </a:cubicBezTo>
                    <a:cubicBezTo>
                      <a:pt x="0" y="327"/>
                      <a:pt x="8" y="335"/>
                      <a:pt x="18" y="335"/>
                    </a:cubicBezTo>
                    <a:cubicBezTo>
                      <a:pt x="46" y="335"/>
                      <a:pt x="46" y="335"/>
                      <a:pt x="46" y="335"/>
                    </a:cubicBezTo>
                    <a:cubicBezTo>
                      <a:pt x="55" y="470"/>
                      <a:pt x="163" y="578"/>
                      <a:pt x="298" y="587"/>
                    </a:cubicBezTo>
                    <a:cubicBezTo>
                      <a:pt x="298" y="615"/>
                      <a:pt x="298" y="615"/>
                      <a:pt x="298" y="615"/>
                    </a:cubicBezTo>
                    <a:cubicBezTo>
                      <a:pt x="298" y="625"/>
                      <a:pt x="306" y="633"/>
                      <a:pt x="316" y="633"/>
                    </a:cubicBezTo>
                    <a:cubicBezTo>
                      <a:pt x="326" y="633"/>
                      <a:pt x="334" y="625"/>
                      <a:pt x="334" y="615"/>
                    </a:cubicBezTo>
                    <a:cubicBezTo>
                      <a:pt x="334" y="587"/>
                      <a:pt x="334" y="587"/>
                      <a:pt x="334" y="587"/>
                    </a:cubicBezTo>
                    <a:cubicBezTo>
                      <a:pt x="469" y="578"/>
                      <a:pt x="577" y="470"/>
                      <a:pt x="586" y="335"/>
                    </a:cubicBezTo>
                    <a:cubicBezTo>
                      <a:pt x="614" y="335"/>
                      <a:pt x="614" y="335"/>
                      <a:pt x="614" y="335"/>
                    </a:cubicBezTo>
                    <a:cubicBezTo>
                      <a:pt x="624" y="335"/>
                      <a:pt x="632" y="327"/>
                      <a:pt x="632" y="317"/>
                    </a:cubicBezTo>
                    <a:cubicBezTo>
                      <a:pt x="632" y="307"/>
                      <a:pt x="624" y="299"/>
                      <a:pt x="614" y="299"/>
                    </a:cubicBezTo>
                    <a:close/>
                    <a:moveTo>
                      <a:pt x="334" y="559"/>
                    </a:moveTo>
                    <a:cubicBezTo>
                      <a:pt x="334" y="531"/>
                      <a:pt x="334" y="531"/>
                      <a:pt x="334" y="531"/>
                    </a:cubicBezTo>
                    <a:cubicBezTo>
                      <a:pt x="334" y="522"/>
                      <a:pt x="326" y="513"/>
                      <a:pt x="316" y="513"/>
                    </a:cubicBezTo>
                    <a:cubicBezTo>
                      <a:pt x="306" y="513"/>
                      <a:pt x="298" y="522"/>
                      <a:pt x="298" y="531"/>
                    </a:cubicBezTo>
                    <a:cubicBezTo>
                      <a:pt x="298" y="559"/>
                      <a:pt x="298" y="559"/>
                      <a:pt x="298" y="559"/>
                    </a:cubicBezTo>
                    <a:cubicBezTo>
                      <a:pt x="179" y="550"/>
                      <a:pt x="83" y="454"/>
                      <a:pt x="74" y="335"/>
                    </a:cubicBezTo>
                    <a:cubicBezTo>
                      <a:pt x="101" y="335"/>
                      <a:pt x="101" y="335"/>
                      <a:pt x="101" y="335"/>
                    </a:cubicBezTo>
                    <a:cubicBezTo>
                      <a:pt x="111" y="335"/>
                      <a:pt x="119" y="327"/>
                      <a:pt x="119" y="317"/>
                    </a:cubicBezTo>
                    <a:cubicBezTo>
                      <a:pt x="119" y="307"/>
                      <a:pt x="111" y="299"/>
                      <a:pt x="101" y="299"/>
                    </a:cubicBezTo>
                    <a:cubicBezTo>
                      <a:pt x="75" y="299"/>
                      <a:pt x="75" y="299"/>
                      <a:pt x="75" y="299"/>
                    </a:cubicBezTo>
                    <a:cubicBezTo>
                      <a:pt x="84" y="180"/>
                      <a:pt x="179" y="85"/>
                      <a:pt x="298" y="76"/>
                    </a:cubicBezTo>
                    <a:cubicBezTo>
                      <a:pt x="298" y="102"/>
                      <a:pt x="298" y="102"/>
                      <a:pt x="298" y="102"/>
                    </a:cubicBezTo>
                    <a:cubicBezTo>
                      <a:pt x="298" y="112"/>
                      <a:pt x="306" y="120"/>
                      <a:pt x="316" y="120"/>
                    </a:cubicBezTo>
                    <a:cubicBezTo>
                      <a:pt x="326" y="120"/>
                      <a:pt x="334" y="112"/>
                      <a:pt x="334" y="102"/>
                    </a:cubicBezTo>
                    <a:cubicBezTo>
                      <a:pt x="334" y="76"/>
                      <a:pt x="334" y="76"/>
                      <a:pt x="334" y="76"/>
                    </a:cubicBezTo>
                    <a:cubicBezTo>
                      <a:pt x="453" y="85"/>
                      <a:pt x="549" y="180"/>
                      <a:pt x="558" y="299"/>
                    </a:cubicBezTo>
                    <a:cubicBezTo>
                      <a:pt x="531" y="299"/>
                      <a:pt x="531" y="299"/>
                      <a:pt x="531" y="299"/>
                    </a:cubicBezTo>
                    <a:cubicBezTo>
                      <a:pt x="521" y="299"/>
                      <a:pt x="513" y="307"/>
                      <a:pt x="513" y="317"/>
                    </a:cubicBezTo>
                    <a:cubicBezTo>
                      <a:pt x="513" y="327"/>
                      <a:pt x="521" y="335"/>
                      <a:pt x="531" y="335"/>
                    </a:cubicBezTo>
                    <a:cubicBezTo>
                      <a:pt x="558" y="335"/>
                      <a:pt x="558" y="335"/>
                      <a:pt x="558" y="335"/>
                    </a:cubicBezTo>
                    <a:cubicBezTo>
                      <a:pt x="549" y="454"/>
                      <a:pt x="453" y="550"/>
                      <a:pt x="334" y="5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FFFFFF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75" name="Freeform 6"/>
              <p:cNvSpPr>
                <a:spLocks/>
              </p:cNvSpPr>
              <p:nvPr/>
            </p:nvSpPr>
            <p:spPr bwMode="auto">
              <a:xfrm>
                <a:off x="3431033" y="3617794"/>
                <a:ext cx="62503" cy="96053"/>
              </a:xfrm>
              <a:custGeom>
                <a:avLst/>
                <a:gdLst>
                  <a:gd name="T0" fmla="*/ 73 w 147"/>
                  <a:gd name="T1" fmla="*/ 0 h 225"/>
                  <a:gd name="T2" fmla="*/ 62 w 147"/>
                  <a:gd name="T3" fmla="*/ 25 h 225"/>
                  <a:gd name="T4" fmla="*/ 25 w 147"/>
                  <a:gd name="T5" fmla="*/ 9 h 225"/>
                  <a:gd name="T6" fmla="*/ 11 w 147"/>
                  <a:gd name="T7" fmla="*/ 15 h 225"/>
                  <a:gd name="T8" fmla="*/ 18 w 147"/>
                  <a:gd name="T9" fmla="*/ 29 h 225"/>
                  <a:gd name="T10" fmla="*/ 56 w 147"/>
                  <a:gd name="T11" fmla="*/ 46 h 225"/>
                  <a:gd name="T12" fmla="*/ 52 w 147"/>
                  <a:gd name="T13" fmla="*/ 79 h 225"/>
                  <a:gd name="T14" fmla="*/ 11 w 147"/>
                  <a:gd name="T15" fmla="*/ 79 h 225"/>
                  <a:gd name="T16" fmla="*/ 0 w 147"/>
                  <a:gd name="T17" fmla="*/ 90 h 225"/>
                  <a:gd name="T18" fmla="*/ 11 w 147"/>
                  <a:gd name="T19" fmla="*/ 101 h 225"/>
                  <a:gd name="T20" fmla="*/ 52 w 147"/>
                  <a:gd name="T21" fmla="*/ 101 h 225"/>
                  <a:gd name="T22" fmla="*/ 56 w 147"/>
                  <a:gd name="T23" fmla="*/ 134 h 225"/>
                  <a:gd name="T24" fmla="*/ 18 w 147"/>
                  <a:gd name="T25" fmla="*/ 151 h 225"/>
                  <a:gd name="T26" fmla="*/ 11 w 147"/>
                  <a:gd name="T27" fmla="*/ 166 h 225"/>
                  <a:gd name="T28" fmla="*/ 22 w 147"/>
                  <a:gd name="T29" fmla="*/ 173 h 225"/>
                  <a:gd name="T30" fmla="*/ 25 w 147"/>
                  <a:gd name="T31" fmla="*/ 172 h 225"/>
                  <a:gd name="T32" fmla="*/ 64 w 147"/>
                  <a:gd name="T33" fmla="*/ 155 h 225"/>
                  <a:gd name="T34" fmla="*/ 147 w 147"/>
                  <a:gd name="T35" fmla="*/ 225 h 225"/>
                  <a:gd name="T36" fmla="*/ 147 w 147"/>
                  <a:gd name="T37" fmla="*/ 20 h 225"/>
                  <a:gd name="T38" fmla="*/ 78 w 147"/>
                  <a:gd name="T39" fmla="*/ 4 h 225"/>
                  <a:gd name="T40" fmla="*/ 73 w 147"/>
                  <a:gd name="T41" fmla="*/ 0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47" h="225">
                    <a:moveTo>
                      <a:pt x="73" y="0"/>
                    </a:moveTo>
                    <a:cubicBezTo>
                      <a:pt x="68" y="8"/>
                      <a:pt x="65" y="16"/>
                      <a:pt x="62" y="25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0" y="7"/>
                      <a:pt x="13" y="9"/>
                      <a:pt x="11" y="15"/>
                    </a:cubicBezTo>
                    <a:cubicBezTo>
                      <a:pt x="9" y="20"/>
                      <a:pt x="12" y="27"/>
                      <a:pt x="18" y="29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4" y="57"/>
                      <a:pt x="52" y="68"/>
                      <a:pt x="52" y="79"/>
                    </a:cubicBezTo>
                    <a:cubicBezTo>
                      <a:pt x="11" y="79"/>
                      <a:pt x="11" y="79"/>
                      <a:pt x="11" y="79"/>
                    </a:cubicBezTo>
                    <a:cubicBezTo>
                      <a:pt x="4" y="79"/>
                      <a:pt x="0" y="83"/>
                      <a:pt x="0" y="90"/>
                    </a:cubicBezTo>
                    <a:cubicBezTo>
                      <a:pt x="0" y="95"/>
                      <a:pt x="4" y="101"/>
                      <a:pt x="11" y="101"/>
                    </a:cubicBezTo>
                    <a:cubicBezTo>
                      <a:pt x="52" y="101"/>
                      <a:pt x="52" y="101"/>
                      <a:pt x="52" y="101"/>
                    </a:cubicBezTo>
                    <a:cubicBezTo>
                      <a:pt x="52" y="113"/>
                      <a:pt x="54" y="124"/>
                      <a:pt x="56" y="134"/>
                    </a:cubicBezTo>
                    <a:cubicBezTo>
                      <a:pt x="18" y="151"/>
                      <a:pt x="18" y="151"/>
                      <a:pt x="18" y="151"/>
                    </a:cubicBezTo>
                    <a:cubicBezTo>
                      <a:pt x="11" y="154"/>
                      <a:pt x="9" y="161"/>
                      <a:pt x="11" y="166"/>
                    </a:cubicBezTo>
                    <a:cubicBezTo>
                      <a:pt x="13" y="169"/>
                      <a:pt x="18" y="173"/>
                      <a:pt x="22" y="173"/>
                    </a:cubicBezTo>
                    <a:cubicBezTo>
                      <a:pt x="23" y="173"/>
                      <a:pt x="24" y="172"/>
                      <a:pt x="25" y="172"/>
                    </a:cubicBezTo>
                    <a:cubicBezTo>
                      <a:pt x="64" y="155"/>
                      <a:pt x="64" y="155"/>
                      <a:pt x="64" y="155"/>
                    </a:cubicBezTo>
                    <a:cubicBezTo>
                      <a:pt x="79" y="190"/>
                      <a:pt x="109" y="211"/>
                      <a:pt x="147" y="225"/>
                    </a:cubicBezTo>
                    <a:cubicBezTo>
                      <a:pt x="147" y="20"/>
                      <a:pt x="147" y="20"/>
                      <a:pt x="147" y="20"/>
                    </a:cubicBezTo>
                    <a:cubicBezTo>
                      <a:pt x="120" y="20"/>
                      <a:pt x="97" y="13"/>
                      <a:pt x="78" y="4"/>
                    </a:cubicBezTo>
                    <a:cubicBezTo>
                      <a:pt x="77" y="2"/>
                      <a:pt x="75" y="1"/>
                      <a:pt x="7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FFFFFF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76" name="Freeform 7"/>
              <p:cNvSpPr>
                <a:spLocks/>
              </p:cNvSpPr>
              <p:nvPr/>
            </p:nvSpPr>
            <p:spPr bwMode="auto">
              <a:xfrm>
                <a:off x="3499051" y="3617794"/>
                <a:ext cx="62273" cy="96053"/>
              </a:xfrm>
              <a:custGeom>
                <a:avLst/>
                <a:gdLst>
                  <a:gd name="T0" fmla="*/ 134 w 146"/>
                  <a:gd name="T1" fmla="*/ 101 h 225"/>
                  <a:gd name="T2" fmla="*/ 146 w 146"/>
                  <a:gd name="T3" fmla="*/ 90 h 225"/>
                  <a:gd name="T4" fmla="*/ 135 w 146"/>
                  <a:gd name="T5" fmla="*/ 79 h 225"/>
                  <a:gd name="T6" fmla="*/ 95 w 146"/>
                  <a:gd name="T7" fmla="*/ 79 h 225"/>
                  <a:gd name="T8" fmla="*/ 91 w 146"/>
                  <a:gd name="T9" fmla="*/ 46 h 225"/>
                  <a:gd name="T10" fmla="*/ 129 w 146"/>
                  <a:gd name="T11" fmla="*/ 29 h 225"/>
                  <a:gd name="T12" fmla="*/ 134 w 146"/>
                  <a:gd name="T13" fmla="*/ 15 h 225"/>
                  <a:gd name="T14" fmla="*/ 120 w 146"/>
                  <a:gd name="T15" fmla="*/ 9 h 225"/>
                  <a:gd name="T16" fmla="*/ 84 w 146"/>
                  <a:gd name="T17" fmla="*/ 23 h 225"/>
                  <a:gd name="T18" fmla="*/ 74 w 146"/>
                  <a:gd name="T19" fmla="*/ 0 h 225"/>
                  <a:gd name="T20" fmla="*/ 69 w 146"/>
                  <a:gd name="T21" fmla="*/ 4 h 225"/>
                  <a:gd name="T22" fmla="*/ 0 w 146"/>
                  <a:gd name="T23" fmla="*/ 20 h 225"/>
                  <a:gd name="T24" fmla="*/ 0 w 146"/>
                  <a:gd name="T25" fmla="*/ 225 h 225"/>
                  <a:gd name="T26" fmla="*/ 83 w 146"/>
                  <a:gd name="T27" fmla="*/ 156 h 225"/>
                  <a:gd name="T28" fmla="*/ 120 w 146"/>
                  <a:gd name="T29" fmla="*/ 172 h 225"/>
                  <a:gd name="T30" fmla="*/ 124 w 146"/>
                  <a:gd name="T31" fmla="*/ 173 h 225"/>
                  <a:gd name="T32" fmla="*/ 134 w 146"/>
                  <a:gd name="T33" fmla="*/ 166 h 225"/>
                  <a:gd name="T34" fmla="*/ 129 w 146"/>
                  <a:gd name="T35" fmla="*/ 151 h 225"/>
                  <a:gd name="T36" fmla="*/ 90 w 146"/>
                  <a:gd name="T37" fmla="*/ 135 h 225"/>
                  <a:gd name="T38" fmla="*/ 95 w 146"/>
                  <a:gd name="T39" fmla="*/ 101 h 225"/>
                  <a:gd name="T40" fmla="*/ 134 w 146"/>
                  <a:gd name="T41" fmla="*/ 101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46" h="225">
                    <a:moveTo>
                      <a:pt x="134" y="101"/>
                    </a:moveTo>
                    <a:cubicBezTo>
                      <a:pt x="141" y="101"/>
                      <a:pt x="145" y="95"/>
                      <a:pt x="146" y="90"/>
                    </a:cubicBezTo>
                    <a:cubicBezTo>
                      <a:pt x="146" y="83"/>
                      <a:pt x="141" y="79"/>
                      <a:pt x="135" y="79"/>
                    </a:cubicBezTo>
                    <a:cubicBezTo>
                      <a:pt x="95" y="79"/>
                      <a:pt x="95" y="79"/>
                      <a:pt x="95" y="79"/>
                    </a:cubicBezTo>
                    <a:cubicBezTo>
                      <a:pt x="95" y="67"/>
                      <a:pt x="93" y="56"/>
                      <a:pt x="91" y="46"/>
                    </a:cubicBezTo>
                    <a:cubicBezTo>
                      <a:pt x="129" y="29"/>
                      <a:pt x="129" y="29"/>
                      <a:pt x="129" y="29"/>
                    </a:cubicBezTo>
                    <a:cubicBezTo>
                      <a:pt x="134" y="27"/>
                      <a:pt x="136" y="20"/>
                      <a:pt x="134" y="15"/>
                    </a:cubicBezTo>
                    <a:cubicBezTo>
                      <a:pt x="132" y="9"/>
                      <a:pt x="125" y="7"/>
                      <a:pt x="120" y="9"/>
                    </a:cubicBezTo>
                    <a:cubicBezTo>
                      <a:pt x="84" y="23"/>
                      <a:pt x="84" y="23"/>
                      <a:pt x="84" y="23"/>
                    </a:cubicBezTo>
                    <a:cubicBezTo>
                      <a:pt x="82" y="16"/>
                      <a:pt x="79" y="8"/>
                      <a:pt x="74" y="0"/>
                    </a:cubicBezTo>
                    <a:cubicBezTo>
                      <a:pt x="72" y="1"/>
                      <a:pt x="70" y="2"/>
                      <a:pt x="69" y="4"/>
                    </a:cubicBezTo>
                    <a:cubicBezTo>
                      <a:pt x="50" y="13"/>
                      <a:pt x="27" y="20"/>
                      <a:pt x="0" y="20"/>
                    </a:cubicBezTo>
                    <a:cubicBezTo>
                      <a:pt x="0" y="225"/>
                      <a:pt x="0" y="225"/>
                      <a:pt x="0" y="225"/>
                    </a:cubicBezTo>
                    <a:cubicBezTo>
                      <a:pt x="37" y="213"/>
                      <a:pt x="67" y="190"/>
                      <a:pt x="83" y="156"/>
                    </a:cubicBezTo>
                    <a:cubicBezTo>
                      <a:pt x="120" y="172"/>
                      <a:pt x="120" y="172"/>
                      <a:pt x="120" y="172"/>
                    </a:cubicBezTo>
                    <a:cubicBezTo>
                      <a:pt x="121" y="172"/>
                      <a:pt x="123" y="173"/>
                      <a:pt x="124" y="173"/>
                    </a:cubicBezTo>
                    <a:cubicBezTo>
                      <a:pt x="129" y="173"/>
                      <a:pt x="133" y="169"/>
                      <a:pt x="134" y="166"/>
                    </a:cubicBezTo>
                    <a:cubicBezTo>
                      <a:pt x="136" y="161"/>
                      <a:pt x="134" y="154"/>
                      <a:pt x="129" y="151"/>
                    </a:cubicBezTo>
                    <a:cubicBezTo>
                      <a:pt x="90" y="135"/>
                      <a:pt x="90" y="135"/>
                      <a:pt x="90" y="135"/>
                    </a:cubicBezTo>
                    <a:cubicBezTo>
                      <a:pt x="93" y="124"/>
                      <a:pt x="95" y="113"/>
                      <a:pt x="95" y="101"/>
                    </a:cubicBezTo>
                    <a:lnTo>
                      <a:pt x="134" y="10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FFFFFF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77" name="Freeform 8"/>
              <p:cNvSpPr>
                <a:spLocks/>
              </p:cNvSpPr>
              <p:nvPr/>
            </p:nvSpPr>
            <p:spPr bwMode="auto">
              <a:xfrm>
                <a:off x="3451484" y="3572296"/>
                <a:ext cx="88929" cy="48946"/>
              </a:xfrm>
              <a:custGeom>
                <a:avLst/>
                <a:gdLst>
                  <a:gd name="T0" fmla="*/ 179 w 209"/>
                  <a:gd name="T1" fmla="*/ 96 h 115"/>
                  <a:gd name="T2" fmla="*/ 156 w 209"/>
                  <a:gd name="T3" fmla="*/ 72 h 115"/>
                  <a:gd name="T4" fmla="*/ 185 w 209"/>
                  <a:gd name="T5" fmla="*/ 39 h 115"/>
                  <a:gd name="T6" fmla="*/ 189 w 209"/>
                  <a:gd name="T7" fmla="*/ 39 h 115"/>
                  <a:gd name="T8" fmla="*/ 209 w 209"/>
                  <a:gd name="T9" fmla="*/ 19 h 115"/>
                  <a:gd name="T10" fmla="*/ 189 w 209"/>
                  <a:gd name="T11" fmla="*/ 0 h 115"/>
                  <a:gd name="T12" fmla="*/ 170 w 209"/>
                  <a:gd name="T13" fmla="*/ 19 h 115"/>
                  <a:gd name="T14" fmla="*/ 172 w 209"/>
                  <a:gd name="T15" fmla="*/ 28 h 115"/>
                  <a:gd name="T16" fmla="*/ 142 w 209"/>
                  <a:gd name="T17" fmla="*/ 62 h 115"/>
                  <a:gd name="T18" fmla="*/ 106 w 209"/>
                  <a:gd name="T19" fmla="*/ 53 h 115"/>
                  <a:gd name="T20" fmla="*/ 67 w 209"/>
                  <a:gd name="T21" fmla="*/ 63 h 115"/>
                  <a:gd name="T22" fmla="*/ 37 w 209"/>
                  <a:gd name="T23" fmla="*/ 28 h 115"/>
                  <a:gd name="T24" fmla="*/ 39 w 209"/>
                  <a:gd name="T25" fmla="*/ 19 h 115"/>
                  <a:gd name="T26" fmla="*/ 19 w 209"/>
                  <a:gd name="T27" fmla="*/ 0 h 115"/>
                  <a:gd name="T28" fmla="*/ 0 w 209"/>
                  <a:gd name="T29" fmla="*/ 19 h 115"/>
                  <a:gd name="T30" fmla="*/ 19 w 209"/>
                  <a:gd name="T31" fmla="*/ 39 h 115"/>
                  <a:gd name="T32" fmla="*/ 24 w 209"/>
                  <a:gd name="T33" fmla="*/ 39 h 115"/>
                  <a:gd name="T34" fmla="*/ 52 w 209"/>
                  <a:gd name="T35" fmla="*/ 73 h 115"/>
                  <a:gd name="T36" fmla="*/ 33 w 209"/>
                  <a:gd name="T37" fmla="*/ 96 h 115"/>
                  <a:gd name="T38" fmla="*/ 37 w 209"/>
                  <a:gd name="T39" fmla="*/ 99 h 115"/>
                  <a:gd name="T40" fmla="*/ 106 w 209"/>
                  <a:gd name="T41" fmla="*/ 115 h 115"/>
                  <a:gd name="T42" fmla="*/ 174 w 209"/>
                  <a:gd name="T43" fmla="*/ 99 h 115"/>
                  <a:gd name="T44" fmla="*/ 179 w 209"/>
                  <a:gd name="T45" fmla="*/ 96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09" h="115">
                    <a:moveTo>
                      <a:pt x="179" y="96"/>
                    </a:moveTo>
                    <a:cubicBezTo>
                      <a:pt x="173" y="86"/>
                      <a:pt x="165" y="78"/>
                      <a:pt x="156" y="72"/>
                    </a:cubicBezTo>
                    <a:cubicBezTo>
                      <a:pt x="177" y="49"/>
                      <a:pt x="183" y="41"/>
                      <a:pt x="185" y="39"/>
                    </a:cubicBezTo>
                    <a:cubicBezTo>
                      <a:pt x="187" y="39"/>
                      <a:pt x="188" y="39"/>
                      <a:pt x="189" y="39"/>
                    </a:cubicBezTo>
                    <a:cubicBezTo>
                      <a:pt x="200" y="39"/>
                      <a:pt x="209" y="30"/>
                      <a:pt x="209" y="19"/>
                    </a:cubicBezTo>
                    <a:cubicBezTo>
                      <a:pt x="209" y="9"/>
                      <a:pt x="200" y="0"/>
                      <a:pt x="189" y="0"/>
                    </a:cubicBezTo>
                    <a:cubicBezTo>
                      <a:pt x="178" y="0"/>
                      <a:pt x="170" y="9"/>
                      <a:pt x="170" y="19"/>
                    </a:cubicBezTo>
                    <a:cubicBezTo>
                      <a:pt x="170" y="23"/>
                      <a:pt x="170" y="25"/>
                      <a:pt x="172" y="28"/>
                    </a:cubicBezTo>
                    <a:cubicBezTo>
                      <a:pt x="142" y="62"/>
                      <a:pt x="142" y="62"/>
                      <a:pt x="142" y="62"/>
                    </a:cubicBezTo>
                    <a:cubicBezTo>
                      <a:pt x="131" y="56"/>
                      <a:pt x="119" y="53"/>
                      <a:pt x="106" y="53"/>
                    </a:cubicBezTo>
                    <a:cubicBezTo>
                      <a:pt x="92" y="53"/>
                      <a:pt x="79" y="56"/>
                      <a:pt x="67" y="63"/>
                    </a:cubicBezTo>
                    <a:cubicBezTo>
                      <a:pt x="45" y="38"/>
                      <a:pt x="38" y="30"/>
                      <a:pt x="37" y="28"/>
                    </a:cubicBezTo>
                    <a:cubicBezTo>
                      <a:pt x="38" y="26"/>
                      <a:pt x="39" y="23"/>
                      <a:pt x="39" y="19"/>
                    </a:cubicBezTo>
                    <a:cubicBezTo>
                      <a:pt x="39" y="9"/>
                      <a:pt x="30" y="0"/>
                      <a:pt x="19" y="0"/>
                    </a:cubicBezTo>
                    <a:cubicBezTo>
                      <a:pt x="8" y="0"/>
                      <a:pt x="0" y="9"/>
                      <a:pt x="0" y="19"/>
                    </a:cubicBezTo>
                    <a:cubicBezTo>
                      <a:pt x="0" y="30"/>
                      <a:pt x="8" y="39"/>
                      <a:pt x="19" y="39"/>
                    </a:cubicBezTo>
                    <a:cubicBezTo>
                      <a:pt x="21" y="39"/>
                      <a:pt x="22" y="39"/>
                      <a:pt x="24" y="39"/>
                    </a:cubicBezTo>
                    <a:cubicBezTo>
                      <a:pt x="52" y="73"/>
                      <a:pt x="52" y="73"/>
                      <a:pt x="52" y="73"/>
                    </a:cubicBezTo>
                    <a:cubicBezTo>
                      <a:pt x="45" y="80"/>
                      <a:pt x="38" y="87"/>
                      <a:pt x="33" y="96"/>
                    </a:cubicBezTo>
                    <a:cubicBezTo>
                      <a:pt x="34" y="97"/>
                      <a:pt x="35" y="98"/>
                      <a:pt x="37" y="99"/>
                    </a:cubicBezTo>
                    <a:cubicBezTo>
                      <a:pt x="55" y="108"/>
                      <a:pt x="79" y="115"/>
                      <a:pt x="106" y="115"/>
                    </a:cubicBezTo>
                    <a:cubicBezTo>
                      <a:pt x="132" y="115"/>
                      <a:pt x="156" y="108"/>
                      <a:pt x="174" y="99"/>
                    </a:cubicBezTo>
                    <a:cubicBezTo>
                      <a:pt x="176" y="98"/>
                      <a:pt x="177" y="97"/>
                      <a:pt x="179" y="9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FFFFFF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78" name="Group 177"/>
            <p:cNvGrpSpPr>
              <a:grpSpLocks noChangeAspect="1"/>
            </p:cNvGrpSpPr>
            <p:nvPr userDrawn="1"/>
          </p:nvGrpSpPr>
          <p:grpSpPr>
            <a:xfrm>
              <a:off x="3718526" y="2531484"/>
              <a:ext cx="128016" cy="128016"/>
              <a:chOff x="6484382" y="1810174"/>
              <a:chExt cx="278397" cy="278397"/>
            </a:xfrm>
            <a:solidFill>
              <a:schemeClr val="bg1">
                <a:lumMod val="85000"/>
                <a:alpha val="30000"/>
              </a:schemeClr>
            </a:solidFill>
          </p:grpSpPr>
          <p:sp>
            <p:nvSpPr>
              <p:cNvPr id="179" name="Freeform 122"/>
              <p:cNvSpPr>
                <a:spLocks noEditPoints="1"/>
              </p:cNvSpPr>
              <p:nvPr/>
            </p:nvSpPr>
            <p:spPr bwMode="auto">
              <a:xfrm>
                <a:off x="6574695" y="1975886"/>
                <a:ext cx="99428" cy="23200"/>
              </a:xfrm>
              <a:custGeom>
                <a:avLst/>
                <a:gdLst>
                  <a:gd name="T0" fmla="*/ 241 w 241"/>
                  <a:gd name="T1" fmla="*/ 19 h 55"/>
                  <a:gd name="T2" fmla="*/ 241 w 241"/>
                  <a:gd name="T3" fmla="*/ 19 h 55"/>
                  <a:gd name="T4" fmla="*/ 239 w 241"/>
                  <a:gd name="T5" fmla="*/ 12 h 55"/>
                  <a:gd name="T6" fmla="*/ 235 w 241"/>
                  <a:gd name="T7" fmla="*/ 6 h 55"/>
                  <a:gd name="T8" fmla="*/ 229 w 241"/>
                  <a:gd name="T9" fmla="*/ 1 h 55"/>
                  <a:gd name="T10" fmla="*/ 221 w 241"/>
                  <a:gd name="T11" fmla="*/ 0 h 55"/>
                  <a:gd name="T12" fmla="*/ 19 w 241"/>
                  <a:gd name="T13" fmla="*/ 0 h 55"/>
                  <a:gd name="T14" fmla="*/ 19 w 241"/>
                  <a:gd name="T15" fmla="*/ 0 h 55"/>
                  <a:gd name="T16" fmla="*/ 12 w 241"/>
                  <a:gd name="T17" fmla="*/ 1 h 55"/>
                  <a:gd name="T18" fmla="*/ 5 w 241"/>
                  <a:gd name="T19" fmla="*/ 6 h 55"/>
                  <a:gd name="T20" fmla="*/ 1 w 241"/>
                  <a:gd name="T21" fmla="*/ 12 h 55"/>
                  <a:gd name="T22" fmla="*/ 0 w 241"/>
                  <a:gd name="T23" fmla="*/ 19 h 55"/>
                  <a:gd name="T24" fmla="*/ 0 w 241"/>
                  <a:gd name="T25" fmla="*/ 35 h 55"/>
                  <a:gd name="T26" fmla="*/ 0 w 241"/>
                  <a:gd name="T27" fmla="*/ 35 h 55"/>
                  <a:gd name="T28" fmla="*/ 1 w 241"/>
                  <a:gd name="T29" fmla="*/ 43 h 55"/>
                  <a:gd name="T30" fmla="*/ 5 w 241"/>
                  <a:gd name="T31" fmla="*/ 49 h 55"/>
                  <a:gd name="T32" fmla="*/ 12 w 241"/>
                  <a:gd name="T33" fmla="*/ 54 h 55"/>
                  <a:gd name="T34" fmla="*/ 19 w 241"/>
                  <a:gd name="T35" fmla="*/ 55 h 55"/>
                  <a:gd name="T36" fmla="*/ 221 w 241"/>
                  <a:gd name="T37" fmla="*/ 55 h 55"/>
                  <a:gd name="T38" fmla="*/ 221 w 241"/>
                  <a:gd name="T39" fmla="*/ 55 h 55"/>
                  <a:gd name="T40" fmla="*/ 229 w 241"/>
                  <a:gd name="T41" fmla="*/ 54 h 55"/>
                  <a:gd name="T42" fmla="*/ 235 w 241"/>
                  <a:gd name="T43" fmla="*/ 49 h 55"/>
                  <a:gd name="T44" fmla="*/ 239 w 241"/>
                  <a:gd name="T45" fmla="*/ 43 h 55"/>
                  <a:gd name="T46" fmla="*/ 241 w 241"/>
                  <a:gd name="T47" fmla="*/ 35 h 55"/>
                  <a:gd name="T48" fmla="*/ 241 w 241"/>
                  <a:gd name="T49" fmla="*/ 19 h 55"/>
                  <a:gd name="T50" fmla="*/ 213 w 241"/>
                  <a:gd name="T51" fmla="*/ 38 h 55"/>
                  <a:gd name="T52" fmla="*/ 119 w 241"/>
                  <a:gd name="T53" fmla="*/ 38 h 55"/>
                  <a:gd name="T54" fmla="*/ 119 w 241"/>
                  <a:gd name="T55" fmla="*/ 38 h 55"/>
                  <a:gd name="T56" fmla="*/ 115 w 241"/>
                  <a:gd name="T57" fmla="*/ 37 h 55"/>
                  <a:gd name="T58" fmla="*/ 111 w 241"/>
                  <a:gd name="T59" fmla="*/ 35 h 55"/>
                  <a:gd name="T60" fmla="*/ 109 w 241"/>
                  <a:gd name="T61" fmla="*/ 31 h 55"/>
                  <a:gd name="T62" fmla="*/ 108 w 241"/>
                  <a:gd name="T63" fmla="*/ 27 h 55"/>
                  <a:gd name="T64" fmla="*/ 108 w 241"/>
                  <a:gd name="T65" fmla="*/ 27 h 55"/>
                  <a:gd name="T66" fmla="*/ 109 w 241"/>
                  <a:gd name="T67" fmla="*/ 23 h 55"/>
                  <a:gd name="T68" fmla="*/ 111 w 241"/>
                  <a:gd name="T69" fmla="*/ 20 h 55"/>
                  <a:gd name="T70" fmla="*/ 115 w 241"/>
                  <a:gd name="T71" fmla="*/ 18 h 55"/>
                  <a:gd name="T72" fmla="*/ 119 w 241"/>
                  <a:gd name="T73" fmla="*/ 18 h 55"/>
                  <a:gd name="T74" fmla="*/ 213 w 241"/>
                  <a:gd name="T75" fmla="*/ 18 h 55"/>
                  <a:gd name="T76" fmla="*/ 213 w 241"/>
                  <a:gd name="T77" fmla="*/ 18 h 55"/>
                  <a:gd name="T78" fmla="*/ 217 w 241"/>
                  <a:gd name="T79" fmla="*/ 18 h 55"/>
                  <a:gd name="T80" fmla="*/ 220 w 241"/>
                  <a:gd name="T81" fmla="*/ 20 h 55"/>
                  <a:gd name="T82" fmla="*/ 223 w 241"/>
                  <a:gd name="T83" fmla="*/ 23 h 55"/>
                  <a:gd name="T84" fmla="*/ 223 w 241"/>
                  <a:gd name="T85" fmla="*/ 27 h 55"/>
                  <a:gd name="T86" fmla="*/ 223 w 241"/>
                  <a:gd name="T87" fmla="*/ 27 h 55"/>
                  <a:gd name="T88" fmla="*/ 223 w 241"/>
                  <a:gd name="T89" fmla="*/ 31 h 55"/>
                  <a:gd name="T90" fmla="*/ 220 w 241"/>
                  <a:gd name="T91" fmla="*/ 35 h 55"/>
                  <a:gd name="T92" fmla="*/ 217 w 241"/>
                  <a:gd name="T93" fmla="*/ 37 h 55"/>
                  <a:gd name="T94" fmla="*/ 213 w 241"/>
                  <a:gd name="T95" fmla="*/ 38 h 55"/>
                  <a:gd name="T96" fmla="*/ 213 w 241"/>
                  <a:gd name="T97" fmla="*/ 38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41" h="55">
                    <a:moveTo>
                      <a:pt x="241" y="19"/>
                    </a:moveTo>
                    <a:lnTo>
                      <a:pt x="241" y="19"/>
                    </a:lnTo>
                    <a:lnTo>
                      <a:pt x="239" y="12"/>
                    </a:lnTo>
                    <a:lnTo>
                      <a:pt x="235" y="6"/>
                    </a:lnTo>
                    <a:lnTo>
                      <a:pt x="229" y="1"/>
                    </a:lnTo>
                    <a:lnTo>
                      <a:pt x="221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2" y="1"/>
                    </a:lnTo>
                    <a:lnTo>
                      <a:pt x="5" y="6"/>
                    </a:lnTo>
                    <a:lnTo>
                      <a:pt x="1" y="12"/>
                    </a:lnTo>
                    <a:lnTo>
                      <a:pt x="0" y="19"/>
                    </a:lnTo>
                    <a:lnTo>
                      <a:pt x="0" y="35"/>
                    </a:lnTo>
                    <a:lnTo>
                      <a:pt x="0" y="35"/>
                    </a:lnTo>
                    <a:lnTo>
                      <a:pt x="1" y="43"/>
                    </a:lnTo>
                    <a:lnTo>
                      <a:pt x="5" y="49"/>
                    </a:lnTo>
                    <a:lnTo>
                      <a:pt x="12" y="54"/>
                    </a:lnTo>
                    <a:lnTo>
                      <a:pt x="19" y="55"/>
                    </a:lnTo>
                    <a:lnTo>
                      <a:pt x="221" y="55"/>
                    </a:lnTo>
                    <a:lnTo>
                      <a:pt x="221" y="55"/>
                    </a:lnTo>
                    <a:lnTo>
                      <a:pt x="229" y="54"/>
                    </a:lnTo>
                    <a:lnTo>
                      <a:pt x="235" y="49"/>
                    </a:lnTo>
                    <a:lnTo>
                      <a:pt x="239" y="43"/>
                    </a:lnTo>
                    <a:lnTo>
                      <a:pt x="241" y="35"/>
                    </a:lnTo>
                    <a:lnTo>
                      <a:pt x="241" y="19"/>
                    </a:lnTo>
                    <a:close/>
                    <a:moveTo>
                      <a:pt x="213" y="38"/>
                    </a:moveTo>
                    <a:lnTo>
                      <a:pt x="119" y="38"/>
                    </a:lnTo>
                    <a:lnTo>
                      <a:pt x="119" y="38"/>
                    </a:lnTo>
                    <a:lnTo>
                      <a:pt x="115" y="37"/>
                    </a:lnTo>
                    <a:lnTo>
                      <a:pt x="111" y="35"/>
                    </a:lnTo>
                    <a:lnTo>
                      <a:pt x="109" y="31"/>
                    </a:lnTo>
                    <a:lnTo>
                      <a:pt x="108" y="27"/>
                    </a:lnTo>
                    <a:lnTo>
                      <a:pt x="108" y="27"/>
                    </a:lnTo>
                    <a:lnTo>
                      <a:pt x="109" y="23"/>
                    </a:lnTo>
                    <a:lnTo>
                      <a:pt x="111" y="20"/>
                    </a:lnTo>
                    <a:lnTo>
                      <a:pt x="115" y="18"/>
                    </a:lnTo>
                    <a:lnTo>
                      <a:pt x="119" y="18"/>
                    </a:lnTo>
                    <a:lnTo>
                      <a:pt x="213" y="18"/>
                    </a:lnTo>
                    <a:lnTo>
                      <a:pt x="213" y="18"/>
                    </a:lnTo>
                    <a:lnTo>
                      <a:pt x="217" y="18"/>
                    </a:lnTo>
                    <a:lnTo>
                      <a:pt x="220" y="20"/>
                    </a:lnTo>
                    <a:lnTo>
                      <a:pt x="223" y="23"/>
                    </a:lnTo>
                    <a:lnTo>
                      <a:pt x="223" y="27"/>
                    </a:lnTo>
                    <a:lnTo>
                      <a:pt x="223" y="27"/>
                    </a:lnTo>
                    <a:lnTo>
                      <a:pt x="223" y="31"/>
                    </a:lnTo>
                    <a:lnTo>
                      <a:pt x="220" y="35"/>
                    </a:lnTo>
                    <a:lnTo>
                      <a:pt x="217" y="37"/>
                    </a:lnTo>
                    <a:lnTo>
                      <a:pt x="213" y="38"/>
                    </a:lnTo>
                    <a:lnTo>
                      <a:pt x="213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BF0E11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80" name="Freeform 123"/>
              <p:cNvSpPr>
                <a:spLocks noEditPoints="1"/>
              </p:cNvSpPr>
              <p:nvPr/>
            </p:nvSpPr>
            <p:spPr bwMode="auto">
              <a:xfrm>
                <a:off x="6574695" y="1898830"/>
                <a:ext cx="99428" cy="70428"/>
              </a:xfrm>
              <a:custGeom>
                <a:avLst/>
                <a:gdLst>
                  <a:gd name="T0" fmla="*/ 210 w 240"/>
                  <a:gd name="T1" fmla="*/ 170 h 170"/>
                  <a:gd name="T2" fmla="*/ 217 w 240"/>
                  <a:gd name="T3" fmla="*/ 170 h 170"/>
                  <a:gd name="T4" fmla="*/ 228 w 240"/>
                  <a:gd name="T5" fmla="*/ 165 h 170"/>
                  <a:gd name="T6" fmla="*/ 235 w 240"/>
                  <a:gd name="T7" fmla="*/ 156 h 170"/>
                  <a:gd name="T8" fmla="*/ 240 w 240"/>
                  <a:gd name="T9" fmla="*/ 147 h 170"/>
                  <a:gd name="T10" fmla="*/ 240 w 240"/>
                  <a:gd name="T11" fmla="*/ 30 h 170"/>
                  <a:gd name="T12" fmla="*/ 240 w 240"/>
                  <a:gd name="T13" fmla="*/ 23 h 170"/>
                  <a:gd name="T14" fmla="*/ 235 w 240"/>
                  <a:gd name="T15" fmla="*/ 14 h 170"/>
                  <a:gd name="T16" fmla="*/ 228 w 240"/>
                  <a:gd name="T17" fmla="*/ 5 h 170"/>
                  <a:gd name="T18" fmla="*/ 217 w 240"/>
                  <a:gd name="T19" fmla="*/ 0 h 170"/>
                  <a:gd name="T20" fmla="*/ 30 w 240"/>
                  <a:gd name="T21" fmla="*/ 0 h 170"/>
                  <a:gd name="T22" fmla="*/ 24 w 240"/>
                  <a:gd name="T23" fmla="*/ 0 h 170"/>
                  <a:gd name="T24" fmla="*/ 14 w 240"/>
                  <a:gd name="T25" fmla="*/ 5 h 170"/>
                  <a:gd name="T26" fmla="*/ 5 w 240"/>
                  <a:gd name="T27" fmla="*/ 14 h 170"/>
                  <a:gd name="T28" fmla="*/ 0 w 240"/>
                  <a:gd name="T29" fmla="*/ 23 h 170"/>
                  <a:gd name="T30" fmla="*/ 0 w 240"/>
                  <a:gd name="T31" fmla="*/ 140 h 170"/>
                  <a:gd name="T32" fmla="*/ 0 w 240"/>
                  <a:gd name="T33" fmla="*/ 147 h 170"/>
                  <a:gd name="T34" fmla="*/ 5 w 240"/>
                  <a:gd name="T35" fmla="*/ 156 h 170"/>
                  <a:gd name="T36" fmla="*/ 14 w 240"/>
                  <a:gd name="T37" fmla="*/ 165 h 170"/>
                  <a:gd name="T38" fmla="*/ 24 w 240"/>
                  <a:gd name="T39" fmla="*/ 170 h 170"/>
                  <a:gd name="T40" fmla="*/ 30 w 240"/>
                  <a:gd name="T41" fmla="*/ 170 h 170"/>
                  <a:gd name="T42" fmla="*/ 20 w 240"/>
                  <a:gd name="T43" fmla="*/ 30 h 170"/>
                  <a:gd name="T44" fmla="*/ 23 w 240"/>
                  <a:gd name="T45" fmla="*/ 23 h 170"/>
                  <a:gd name="T46" fmla="*/ 30 w 240"/>
                  <a:gd name="T47" fmla="*/ 20 h 170"/>
                  <a:gd name="T48" fmla="*/ 210 w 240"/>
                  <a:gd name="T49" fmla="*/ 20 h 170"/>
                  <a:gd name="T50" fmla="*/ 217 w 240"/>
                  <a:gd name="T51" fmla="*/ 23 h 170"/>
                  <a:gd name="T52" fmla="*/ 220 w 240"/>
                  <a:gd name="T53" fmla="*/ 30 h 170"/>
                  <a:gd name="T54" fmla="*/ 220 w 240"/>
                  <a:gd name="T55" fmla="*/ 140 h 170"/>
                  <a:gd name="T56" fmla="*/ 217 w 240"/>
                  <a:gd name="T57" fmla="*/ 147 h 170"/>
                  <a:gd name="T58" fmla="*/ 210 w 240"/>
                  <a:gd name="T59" fmla="*/ 150 h 170"/>
                  <a:gd name="T60" fmla="*/ 30 w 240"/>
                  <a:gd name="T61" fmla="*/ 150 h 170"/>
                  <a:gd name="T62" fmla="*/ 23 w 240"/>
                  <a:gd name="T63" fmla="*/ 147 h 170"/>
                  <a:gd name="T64" fmla="*/ 20 w 240"/>
                  <a:gd name="T65" fmla="*/ 14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40" h="170">
                    <a:moveTo>
                      <a:pt x="30" y="170"/>
                    </a:moveTo>
                    <a:lnTo>
                      <a:pt x="210" y="170"/>
                    </a:lnTo>
                    <a:lnTo>
                      <a:pt x="210" y="170"/>
                    </a:lnTo>
                    <a:lnTo>
                      <a:pt x="217" y="170"/>
                    </a:lnTo>
                    <a:lnTo>
                      <a:pt x="223" y="167"/>
                    </a:lnTo>
                    <a:lnTo>
                      <a:pt x="228" y="165"/>
                    </a:lnTo>
                    <a:lnTo>
                      <a:pt x="232" y="162"/>
                    </a:lnTo>
                    <a:lnTo>
                      <a:pt x="235" y="156"/>
                    </a:lnTo>
                    <a:lnTo>
                      <a:pt x="237" y="152"/>
                    </a:lnTo>
                    <a:lnTo>
                      <a:pt x="240" y="147"/>
                    </a:lnTo>
                    <a:lnTo>
                      <a:pt x="240" y="140"/>
                    </a:lnTo>
                    <a:lnTo>
                      <a:pt x="240" y="30"/>
                    </a:lnTo>
                    <a:lnTo>
                      <a:pt x="240" y="30"/>
                    </a:lnTo>
                    <a:lnTo>
                      <a:pt x="240" y="23"/>
                    </a:lnTo>
                    <a:lnTo>
                      <a:pt x="237" y="18"/>
                    </a:lnTo>
                    <a:lnTo>
                      <a:pt x="235" y="14"/>
                    </a:lnTo>
                    <a:lnTo>
                      <a:pt x="232" y="8"/>
                    </a:lnTo>
                    <a:lnTo>
                      <a:pt x="228" y="5"/>
                    </a:lnTo>
                    <a:lnTo>
                      <a:pt x="223" y="3"/>
                    </a:lnTo>
                    <a:lnTo>
                      <a:pt x="217" y="0"/>
                    </a:lnTo>
                    <a:lnTo>
                      <a:pt x="21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4" y="0"/>
                    </a:lnTo>
                    <a:lnTo>
                      <a:pt x="18" y="3"/>
                    </a:lnTo>
                    <a:lnTo>
                      <a:pt x="14" y="5"/>
                    </a:lnTo>
                    <a:lnTo>
                      <a:pt x="8" y="8"/>
                    </a:lnTo>
                    <a:lnTo>
                      <a:pt x="5" y="14"/>
                    </a:lnTo>
                    <a:lnTo>
                      <a:pt x="3" y="18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0" y="140"/>
                    </a:lnTo>
                    <a:lnTo>
                      <a:pt x="0" y="140"/>
                    </a:lnTo>
                    <a:lnTo>
                      <a:pt x="0" y="147"/>
                    </a:lnTo>
                    <a:lnTo>
                      <a:pt x="3" y="152"/>
                    </a:lnTo>
                    <a:lnTo>
                      <a:pt x="5" y="156"/>
                    </a:lnTo>
                    <a:lnTo>
                      <a:pt x="8" y="162"/>
                    </a:lnTo>
                    <a:lnTo>
                      <a:pt x="14" y="165"/>
                    </a:lnTo>
                    <a:lnTo>
                      <a:pt x="18" y="167"/>
                    </a:lnTo>
                    <a:lnTo>
                      <a:pt x="24" y="170"/>
                    </a:lnTo>
                    <a:lnTo>
                      <a:pt x="30" y="170"/>
                    </a:lnTo>
                    <a:lnTo>
                      <a:pt x="30" y="170"/>
                    </a:lnTo>
                    <a:close/>
                    <a:moveTo>
                      <a:pt x="20" y="30"/>
                    </a:moveTo>
                    <a:lnTo>
                      <a:pt x="20" y="30"/>
                    </a:lnTo>
                    <a:lnTo>
                      <a:pt x="22" y="26"/>
                    </a:lnTo>
                    <a:lnTo>
                      <a:pt x="23" y="23"/>
                    </a:lnTo>
                    <a:lnTo>
                      <a:pt x="26" y="22"/>
                    </a:lnTo>
                    <a:lnTo>
                      <a:pt x="30" y="20"/>
                    </a:lnTo>
                    <a:lnTo>
                      <a:pt x="210" y="20"/>
                    </a:lnTo>
                    <a:lnTo>
                      <a:pt x="210" y="20"/>
                    </a:lnTo>
                    <a:lnTo>
                      <a:pt x="214" y="22"/>
                    </a:lnTo>
                    <a:lnTo>
                      <a:pt x="217" y="23"/>
                    </a:lnTo>
                    <a:lnTo>
                      <a:pt x="219" y="26"/>
                    </a:lnTo>
                    <a:lnTo>
                      <a:pt x="220" y="30"/>
                    </a:lnTo>
                    <a:lnTo>
                      <a:pt x="220" y="140"/>
                    </a:lnTo>
                    <a:lnTo>
                      <a:pt x="220" y="140"/>
                    </a:lnTo>
                    <a:lnTo>
                      <a:pt x="219" y="144"/>
                    </a:lnTo>
                    <a:lnTo>
                      <a:pt x="217" y="147"/>
                    </a:lnTo>
                    <a:lnTo>
                      <a:pt x="214" y="148"/>
                    </a:lnTo>
                    <a:lnTo>
                      <a:pt x="210" y="150"/>
                    </a:lnTo>
                    <a:lnTo>
                      <a:pt x="30" y="150"/>
                    </a:lnTo>
                    <a:lnTo>
                      <a:pt x="30" y="150"/>
                    </a:lnTo>
                    <a:lnTo>
                      <a:pt x="26" y="148"/>
                    </a:lnTo>
                    <a:lnTo>
                      <a:pt x="23" y="147"/>
                    </a:lnTo>
                    <a:lnTo>
                      <a:pt x="22" y="144"/>
                    </a:lnTo>
                    <a:lnTo>
                      <a:pt x="20" y="140"/>
                    </a:lnTo>
                    <a:lnTo>
                      <a:pt x="20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BF0E11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81" name="Freeform 124"/>
              <p:cNvSpPr>
                <a:spLocks/>
              </p:cNvSpPr>
              <p:nvPr/>
            </p:nvSpPr>
            <p:spPr bwMode="auto">
              <a:xfrm>
                <a:off x="6519182" y="1844145"/>
                <a:ext cx="53857" cy="55514"/>
              </a:xfrm>
              <a:custGeom>
                <a:avLst/>
                <a:gdLst>
                  <a:gd name="T0" fmla="*/ 79 w 130"/>
                  <a:gd name="T1" fmla="*/ 100 h 135"/>
                  <a:gd name="T2" fmla="*/ 116 w 130"/>
                  <a:gd name="T3" fmla="*/ 135 h 135"/>
                  <a:gd name="T4" fmla="*/ 116 w 130"/>
                  <a:gd name="T5" fmla="*/ 135 h 135"/>
                  <a:gd name="T6" fmla="*/ 118 w 130"/>
                  <a:gd name="T7" fmla="*/ 129 h 135"/>
                  <a:gd name="T8" fmla="*/ 121 w 130"/>
                  <a:gd name="T9" fmla="*/ 124 h 135"/>
                  <a:gd name="T10" fmla="*/ 125 w 130"/>
                  <a:gd name="T11" fmla="*/ 120 h 135"/>
                  <a:gd name="T12" fmla="*/ 130 w 130"/>
                  <a:gd name="T13" fmla="*/ 117 h 135"/>
                  <a:gd name="T14" fmla="*/ 97 w 130"/>
                  <a:gd name="T15" fmla="*/ 84 h 135"/>
                  <a:gd name="T16" fmla="*/ 97 w 130"/>
                  <a:gd name="T17" fmla="*/ 84 h 135"/>
                  <a:gd name="T18" fmla="*/ 101 w 130"/>
                  <a:gd name="T19" fmla="*/ 75 h 135"/>
                  <a:gd name="T20" fmla="*/ 103 w 130"/>
                  <a:gd name="T21" fmla="*/ 66 h 135"/>
                  <a:gd name="T22" fmla="*/ 105 w 130"/>
                  <a:gd name="T23" fmla="*/ 58 h 135"/>
                  <a:gd name="T24" fmla="*/ 105 w 130"/>
                  <a:gd name="T25" fmla="*/ 48 h 135"/>
                  <a:gd name="T26" fmla="*/ 103 w 130"/>
                  <a:gd name="T27" fmla="*/ 39 h 135"/>
                  <a:gd name="T28" fmla="*/ 101 w 130"/>
                  <a:gd name="T29" fmla="*/ 31 h 135"/>
                  <a:gd name="T30" fmla="*/ 97 w 130"/>
                  <a:gd name="T31" fmla="*/ 23 h 135"/>
                  <a:gd name="T32" fmla="*/ 90 w 130"/>
                  <a:gd name="T33" fmla="*/ 16 h 135"/>
                  <a:gd name="T34" fmla="*/ 90 w 130"/>
                  <a:gd name="T35" fmla="*/ 16 h 135"/>
                  <a:gd name="T36" fmla="*/ 82 w 130"/>
                  <a:gd name="T37" fmla="*/ 9 h 135"/>
                  <a:gd name="T38" fmla="*/ 72 w 130"/>
                  <a:gd name="T39" fmla="*/ 4 h 135"/>
                  <a:gd name="T40" fmla="*/ 63 w 130"/>
                  <a:gd name="T41" fmla="*/ 1 h 135"/>
                  <a:gd name="T42" fmla="*/ 52 w 130"/>
                  <a:gd name="T43" fmla="*/ 0 h 135"/>
                  <a:gd name="T44" fmla="*/ 43 w 130"/>
                  <a:gd name="T45" fmla="*/ 1 h 135"/>
                  <a:gd name="T46" fmla="*/ 32 w 130"/>
                  <a:gd name="T47" fmla="*/ 4 h 135"/>
                  <a:gd name="T48" fmla="*/ 24 w 130"/>
                  <a:gd name="T49" fmla="*/ 9 h 135"/>
                  <a:gd name="T50" fmla="*/ 14 w 130"/>
                  <a:gd name="T51" fmla="*/ 16 h 135"/>
                  <a:gd name="T52" fmla="*/ 14 w 130"/>
                  <a:gd name="T53" fmla="*/ 16 h 135"/>
                  <a:gd name="T54" fmla="*/ 8 w 130"/>
                  <a:gd name="T55" fmla="*/ 24 h 135"/>
                  <a:gd name="T56" fmla="*/ 4 w 130"/>
                  <a:gd name="T57" fmla="*/ 34 h 135"/>
                  <a:gd name="T58" fmla="*/ 1 w 130"/>
                  <a:gd name="T59" fmla="*/ 43 h 135"/>
                  <a:gd name="T60" fmla="*/ 0 w 130"/>
                  <a:gd name="T61" fmla="*/ 54 h 135"/>
                  <a:gd name="T62" fmla="*/ 1 w 130"/>
                  <a:gd name="T63" fmla="*/ 63 h 135"/>
                  <a:gd name="T64" fmla="*/ 4 w 130"/>
                  <a:gd name="T65" fmla="*/ 74 h 135"/>
                  <a:gd name="T66" fmla="*/ 8 w 130"/>
                  <a:gd name="T67" fmla="*/ 82 h 135"/>
                  <a:gd name="T68" fmla="*/ 14 w 130"/>
                  <a:gd name="T69" fmla="*/ 92 h 135"/>
                  <a:gd name="T70" fmla="*/ 14 w 130"/>
                  <a:gd name="T71" fmla="*/ 92 h 135"/>
                  <a:gd name="T72" fmla="*/ 23 w 130"/>
                  <a:gd name="T73" fmla="*/ 97 h 135"/>
                  <a:gd name="T74" fmla="*/ 29 w 130"/>
                  <a:gd name="T75" fmla="*/ 101 h 135"/>
                  <a:gd name="T76" fmla="*/ 37 w 130"/>
                  <a:gd name="T77" fmla="*/ 105 h 135"/>
                  <a:gd name="T78" fmla="*/ 47 w 130"/>
                  <a:gd name="T79" fmla="*/ 106 h 135"/>
                  <a:gd name="T80" fmla="*/ 55 w 130"/>
                  <a:gd name="T81" fmla="*/ 106 h 135"/>
                  <a:gd name="T82" fmla="*/ 63 w 130"/>
                  <a:gd name="T83" fmla="*/ 105 h 135"/>
                  <a:gd name="T84" fmla="*/ 71 w 130"/>
                  <a:gd name="T85" fmla="*/ 102 h 135"/>
                  <a:gd name="T86" fmla="*/ 79 w 130"/>
                  <a:gd name="T87" fmla="*/ 100 h 135"/>
                  <a:gd name="T88" fmla="*/ 79 w 130"/>
                  <a:gd name="T89" fmla="*/ 10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30" h="135">
                    <a:moveTo>
                      <a:pt x="79" y="100"/>
                    </a:moveTo>
                    <a:lnTo>
                      <a:pt x="116" y="135"/>
                    </a:lnTo>
                    <a:lnTo>
                      <a:pt x="116" y="135"/>
                    </a:lnTo>
                    <a:lnTo>
                      <a:pt x="118" y="129"/>
                    </a:lnTo>
                    <a:lnTo>
                      <a:pt x="121" y="124"/>
                    </a:lnTo>
                    <a:lnTo>
                      <a:pt x="125" y="120"/>
                    </a:lnTo>
                    <a:lnTo>
                      <a:pt x="130" y="117"/>
                    </a:lnTo>
                    <a:lnTo>
                      <a:pt x="97" y="84"/>
                    </a:lnTo>
                    <a:lnTo>
                      <a:pt x="97" y="84"/>
                    </a:lnTo>
                    <a:lnTo>
                      <a:pt x="101" y="75"/>
                    </a:lnTo>
                    <a:lnTo>
                      <a:pt x="103" y="66"/>
                    </a:lnTo>
                    <a:lnTo>
                      <a:pt x="105" y="58"/>
                    </a:lnTo>
                    <a:lnTo>
                      <a:pt x="105" y="48"/>
                    </a:lnTo>
                    <a:lnTo>
                      <a:pt x="103" y="39"/>
                    </a:lnTo>
                    <a:lnTo>
                      <a:pt x="101" y="31"/>
                    </a:lnTo>
                    <a:lnTo>
                      <a:pt x="97" y="23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82" y="9"/>
                    </a:lnTo>
                    <a:lnTo>
                      <a:pt x="72" y="4"/>
                    </a:lnTo>
                    <a:lnTo>
                      <a:pt x="63" y="1"/>
                    </a:lnTo>
                    <a:lnTo>
                      <a:pt x="52" y="0"/>
                    </a:lnTo>
                    <a:lnTo>
                      <a:pt x="43" y="1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8" y="24"/>
                    </a:lnTo>
                    <a:lnTo>
                      <a:pt x="4" y="34"/>
                    </a:lnTo>
                    <a:lnTo>
                      <a:pt x="1" y="43"/>
                    </a:lnTo>
                    <a:lnTo>
                      <a:pt x="0" y="54"/>
                    </a:lnTo>
                    <a:lnTo>
                      <a:pt x="1" y="63"/>
                    </a:lnTo>
                    <a:lnTo>
                      <a:pt x="4" y="74"/>
                    </a:lnTo>
                    <a:lnTo>
                      <a:pt x="8" y="82"/>
                    </a:lnTo>
                    <a:lnTo>
                      <a:pt x="14" y="92"/>
                    </a:lnTo>
                    <a:lnTo>
                      <a:pt x="14" y="92"/>
                    </a:lnTo>
                    <a:lnTo>
                      <a:pt x="23" y="97"/>
                    </a:lnTo>
                    <a:lnTo>
                      <a:pt x="29" y="101"/>
                    </a:lnTo>
                    <a:lnTo>
                      <a:pt x="37" y="105"/>
                    </a:lnTo>
                    <a:lnTo>
                      <a:pt x="47" y="106"/>
                    </a:lnTo>
                    <a:lnTo>
                      <a:pt x="55" y="106"/>
                    </a:lnTo>
                    <a:lnTo>
                      <a:pt x="63" y="105"/>
                    </a:lnTo>
                    <a:lnTo>
                      <a:pt x="71" y="102"/>
                    </a:lnTo>
                    <a:lnTo>
                      <a:pt x="79" y="100"/>
                    </a:lnTo>
                    <a:lnTo>
                      <a:pt x="79" y="1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BF0E11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82" name="Freeform 125"/>
              <p:cNvSpPr>
                <a:spLocks/>
              </p:cNvSpPr>
              <p:nvPr/>
            </p:nvSpPr>
            <p:spPr bwMode="auto">
              <a:xfrm>
                <a:off x="6602038" y="1810174"/>
                <a:ext cx="43914" cy="81200"/>
              </a:xfrm>
              <a:custGeom>
                <a:avLst/>
                <a:gdLst>
                  <a:gd name="T0" fmla="*/ 42 w 107"/>
                  <a:gd name="T1" fmla="*/ 105 h 197"/>
                  <a:gd name="T2" fmla="*/ 42 w 107"/>
                  <a:gd name="T3" fmla="*/ 197 h 197"/>
                  <a:gd name="T4" fmla="*/ 66 w 107"/>
                  <a:gd name="T5" fmla="*/ 197 h 197"/>
                  <a:gd name="T6" fmla="*/ 66 w 107"/>
                  <a:gd name="T7" fmla="*/ 105 h 197"/>
                  <a:gd name="T8" fmla="*/ 66 w 107"/>
                  <a:gd name="T9" fmla="*/ 105 h 197"/>
                  <a:gd name="T10" fmla="*/ 74 w 107"/>
                  <a:gd name="T11" fmla="*/ 101 h 197"/>
                  <a:gd name="T12" fmla="*/ 82 w 107"/>
                  <a:gd name="T13" fmla="*/ 97 h 197"/>
                  <a:gd name="T14" fmla="*/ 89 w 107"/>
                  <a:gd name="T15" fmla="*/ 91 h 197"/>
                  <a:gd name="T16" fmla="*/ 95 w 107"/>
                  <a:gd name="T17" fmla="*/ 86 h 197"/>
                  <a:gd name="T18" fmla="*/ 100 w 107"/>
                  <a:gd name="T19" fmla="*/ 78 h 197"/>
                  <a:gd name="T20" fmla="*/ 103 w 107"/>
                  <a:gd name="T21" fmla="*/ 71 h 197"/>
                  <a:gd name="T22" fmla="*/ 105 w 107"/>
                  <a:gd name="T23" fmla="*/ 62 h 197"/>
                  <a:gd name="T24" fmla="*/ 107 w 107"/>
                  <a:gd name="T25" fmla="*/ 52 h 197"/>
                  <a:gd name="T26" fmla="*/ 107 w 107"/>
                  <a:gd name="T27" fmla="*/ 52 h 197"/>
                  <a:gd name="T28" fmla="*/ 105 w 107"/>
                  <a:gd name="T29" fmla="*/ 41 h 197"/>
                  <a:gd name="T30" fmla="*/ 103 w 107"/>
                  <a:gd name="T31" fmla="*/ 32 h 197"/>
                  <a:gd name="T32" fmla="*/ 97 w 107"/>
                  <a:gd name="T33" fmla="*/ 23 h 197"/>
                  <a:gd name="T34" fmla="*/ 91 w 107"/>
                  <a:gd name="T35" fmla="*/ 16 h 197"/>
                  <a:gd name="T36" fmla="*/ 82 w 107"/>
                  <a:gd name="T37" fmla="*/ 9 h 197"/>
                  <a:gd name="T38" fmla="*/ 74 w 107"/>
                  <a:gd name="T39" fmla="*/ 4 h 197"/>
                  <a:gd name="T40" fmla="*/ 64 w 107"/>
                  <a:gd name="T41" fmla="*/ 1 h 197"/>
                  <a:gd name="T42" fmla="*/ 53 w 107"/>
                  <a:gd name="T43" fmla="*/ 0 h 197"/>
                  <a:gd name="T44" fmla="*/ 53 w 107"/>
                  <a:gd name="T45" fmla="*/ 0 h 197"/>
                  <a:gd name="T46" fmla="*/ 42 w 107"/>
                  <a:gd name="T47" fmla="*/ 1 h 197"/>
                  <a:gd name="T48" fmla="*/ 33 w 107"/>
                  <a:gd name="T49" fmla="*/ 4 h 197"/>
                  <a:gd name="T50" fmla="*/ 23 w 107"/>
                  <a:gd name="T51" fmla="*/ 9 h 197"/>
                  <a:gd name="T52" fmla="*/ 15 w 107"/>
                  <a:gd name="T53" fmla="*/ 16 h 197"/>
                  <a:gd name="T54" fmla="*/ 10 w 107"/>
                  <a:gd name="T55" fmla="*/ 23 h 197"/>
                  <a:gd name="T56" fmla="*/ 4 w 107"/>
                  <a:gd name="T57" fmla="*/ 32 h 197"/>
                  <a:gd name="T58" fmla="*/ 2 w 107"/>
                  <a:gd name="T59" fmla="*/ 41 h 197"/>
                  <a:gd name="T60" fmla="*/ 0 w 107"/>
                  <a:gd name="T61" fmla="*/ 52 h 197"/>
                  <a:gd name="T62" fmla="*/ 0 w 107"/>
                  <a:gd name="T63" fmla="*/ 52 h 197"/>
                  <a:gd name="T64" fmla="*/ 0 w 107"/>
                  <a:gd name="T65" fmla="*/ 62 h 197"/>
                  <a:gd name="T66" fmla="*/ 3 w 107"/>
                  <a:gd name="T67" fmla="*/ 71 h 197"/>
                  <a:gd name="T68" fmla="*/ 7 w 107"/>
                  <a:gd name="T69" fmla="*/ 79 h 197"/>
                  <a:gd name="T70" fmla="*/ 12 w 107"/>
                  <a:gd name="T71" fmla="*/ 87 h 197"/>
                  <a:gd name="T72" fmla="*/ 19 w 107"/>
                  <a:gd name="T73" fmla="*/ 93 h 197"/>
                  <a:gd name="T74" fmla="*/ 26 w 107"/>
                  <a:gd name="T75" fmla="*/ 98 h 197"/>
                  <a:gd name="T76" fmla="*/ 34 w 107"/>
                  <a:gd name="T77" fmla="*/ 102 h 197"/>
                  <a:gd name="T78" fmla="*/ 42 w 107"/>
                  <a:gd name="T79" fmla="*/ 105 h 197"/>
                  <a:gd name="T80" fmla="*/ 42 w 107"/>
                  <a:gd name="T81" fmla="*/ 105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07" h="197">
                    <a:moveTo>
                      <a:pt x="42" y="105"/>
                    </a:moveTo>
                    <a:lnTo>
                      <a:pt x="42" y="197"/>
                    </a:lnTo>
                    <a:lnTo>
                      <a:pt x="66" y="197"/>
                    </a:lnTo>
                    <a:lnTo>
                      <a:pt x="66" y="105"/>
                    </a:lnTo>
                    <a:lnTo>
                      <a:pt x="66" y="105"/>
                    </a:lnTo>
                    <a:lnTo>
                      <a:pt x="74" y="101"/>
                    </a:lnTo>
                    <a:lnTo>
                      <a:pt x="82" y="97"/>
                    </a:lnTo>
                    <a:lnTo>
                      <a:pt x="89" y="91"/>
                    </a:lnTo>
                    <a:lnTo>
                      <a:pt x="95" y="86"/>
                    </a:lnTo>
                    <a:lnTo>
                      <a:pt x="100" y="78"/>
                    </a:lnTo>
                    <a:lnTo>
                      <a:pt x="103" y="71"/>
                    </a:lnTo>
                    <a:lnTo>
                      <a:pt x="105" y="62"/>
                    </a:lnTo>
                    <a:lnTo>
                      <a:pt x="107" y="52"/>
                    </a:lnTo>
                    <a:lnTo>
                      <a:pt x="107" y="52"/>
                    </a:lnTo>
                    <a:lnTo>
                      <a:pt x="105" y="41"/>
                    </a:lnTo>
                    <a:lnTo>
                      <a:pt x="103" y="32"/>
                    </a:lnTo>
                    <a:lnTo>
                      <a:pt x="97" y="23"/>
                    </a:lnTo>
                    <a:lnTo>
                      <a:pt x="91" y="16"/>
                    </a:lnTo>
                    <a:lnTo>
                      <a:pt x="82" y="9"/>
                    </a:lnTo>
                    <a:lnTo>
                      <a:pt x="74" y="4"/>
                    </a:lnTo>
                    <a:lnTo>
                      <a:pt x="64" y="1"/>
                    </a:lnTo>
                    <a:lnTo>
                      <a:pt x="53" y="0"/>
                    </a:lnTo>
                    <a:lnTo>
                      <a:pt x="53" y="0"/>
                    </a:lnTo>
                    <a:lnTo>
                      <a:pt x="42" y="1"/>
                    </a:lnTo>
                    <a:lnTo>
                      <a:pt x="33" y="4"/>
                    </a:lnTo>
                    <a:lnTo>
                      <a:pt x="23" y="9"/>
                    </a:lnTo>
                    <a:lnTo>
                      <a:pt x="15" y="16"/>
                    </a:lnTo>
                    <a:lnTo>
                      <a:pt x="10" y="23"/>
                    </a:lnTo>
                    <a:lnTo>
                      <a:pt x="4" y="32"/>
                    </a:lnTo>
                    <a:lnTo>
                      <a:pt x="2" y="41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62"/>
                    </a:lnTo>
                    <a:lnTo>
                      <a:pt x="3" y="71"/>
                    </a:lnTo>
                    <a:lnTo>
                      <a:pt x="7" y="79"/>
                    </a:lnTo>
                    <a:lnTo>
                      <a:pt x="12" y="87"/>
                    </a:lnTo>
                    <a:lnTo>
                      <a:pt x="19" y="93"/>
                    </a:lnTo>
                    <a:lnTo>
                      <a:pt x="26" y="98"/>
                    </a:lnTo>
                    <a:lnTo>
                      <a:pt x="34" y="102"/>
                    </a:lnTo>
                    <a:lnTo>
                      <a:pt x="42" y="105"/>
                    </a:lnTo>
                    <a:lnTo>
                      <a:pt x="42" y="10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BF0E11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83" name="Freeform 126"/>
              <p:cNvSpPr>
                <a:spLocks/>
              </p:cNvSpPr>
              <p:nvPr/>
            </p:nvSpPr>
            <p:spPr bwMode="auto">
              <a:xfrm>
                <a:off x="6484382" y="1927001"/>
                <a:ext cx="82028" cy="43914"/>
              </a:xfrm>
              <a:custGeom>
                <a:avLst/>
                <a:gdLst>
                  <a:gd name="T0" fmla="*/ 105 w 198"/>
                  <a:gd name="T1" fmla="*/ 67 h 107"/>
                  <a:gd name="T2" fmla="*/ 198 w 198"/>
                  <a:gd name="T3" fmla="*/ 67 h 107"/>
                  <a:gd name="T4" fmla="*/ 198 w 198"/>
                  <a:gd name="T5" fmla="*/ 44 h 107"/>
                  <a:gd name="T6" fmla="*/ 105 w 198"/>
                  <a:gd name="T7" fmla="*/ 44 h 107"/>
                  <a:gd name="T8" fmla="*/ 105 w 198"/>
                  <a:gd name="T9" fmla="*/ 44 h 107"/>
                  <a:gd name="T10" fmla="*/ 104 w 198"/>
                  <a:gd name="T11" fmla="*/ 34 h 107"/>
                  <a:gd name="T12" fmla="*/ 100 w 198"/>
                  <a:gd name="T13" fmla="*/ 26 h 107"/>
                  <a:gd name="T14" fmla="*/ 94 w 198"/>
                  <a:gd name="T15" fmla="*/ 19 h 107"/>
                  <a:gd name="T16" fmla="*/ 88 w 198"/>
                  <a:gd name="T17" fmla="*/ 13 h 107"/>
                  <a:gd name="T18" fmla="*/ 81 w 198"/>
                  <a:gd name="T19" fmla="*/ 9 h 107"/>
                  <a:gd name="T20" fmla="*/ 71 w 198"/>
                  <a:gd name="T21" fmla="*/ 5 h 107"/>
                  <a:gd name="T22" fmla="*/ 63 w 198"/>
                  <a:gd name="T23" fmla="*/ 2 h 107"/>
                  <a:gd name="T24" fmla="*/ 54 w 198"/>
                  <a:gd name="T25" fmla="*/ 0 h 107"/>
                  <a:gd name="T26" fmla="*/ 54 w 198"/>
                  <a:gd name="T27" fmla="*/ 0 h 107"/>
                  <a:gd name="T28" fmla="*/ 43 w 198"/>
                  <a:gd name="T29" fmla="*/ 2 h 107"/>
                  <a:gd name="T30" fmla="*/ 34 w 198"/>
                  <a:gd name="T31" fmla="*/ 5 h 107"/>
                  <a:gd name="T32" fmla="*/ 24 w 198"/>
                  <a:gd name="T33" fmla="*/ 10 h 107"/>
                  <a:gd name="T34" fmla="*/ 16 w 198"/>
                  <a:gd name="T35" fmla="*/ 17 h 107"/>
                  <a:gd name="T36" fmla="*/ 9 w 198"/>
                  <a:gd name="T37" fmla="*/ 25 h 107"/>
                  <a:gd name="T38" fmla="*/ 5 w 198"/>
                  <a:gd name="T39" fmla="*/ 33 h 107"/>
                  <a:gd name="T40" fmla="*/ 1 w 198"/>
                  <a:gd name="T41" fmla="*/ 44 h 107"/>
                  <a:gd name="T42" fmla="*/ 0 w 198"/>
                  <a:gd name="T43" fmla="*/ 54 h 107"/>
                  <a:gd name="T44" fmla="*/ 0 w 198"/>
                  <a:gd name="T45" fmla="*/ 54 h 107"/>
                  <a:gd name="T46" fmla="*/ 1 w 198"/>
                  <a:gd name="T47" fmla="*/ 65 h 107"/>
                  <a:gd name="T48" fmla="*/ 5 w 198"/>
                  <a:gd name="T49" fmla="*/ 75 h 107"/>
                  <a:gd name="T50" fmla="*/ 9 w 198"/>
                  <a:gd name="T51" fmla="*/ 84 h 107"/>
                  <a:gd name="T52" fmla="*/ 16 w 198"/>
                  <a:gd name="T53" fmla="*/ 92 h 107"/>
                  <a:gd name="T54" fmla="*/ 24 w 198"/>
                  <a:gd name="T55" fmla="*/ 98 h 107"/>
                  <a:gd name="T56" fmla="*/ 34 w 198"/>
                  <a:gd name="T57" fmla="*/ 103 h 107"/>
                  <a:gd name="T58" fmla="*/ 43 w 198"/>
                  <a:gd name="T59" fmla="*/ 106 h 107"/>
                  <a:gd name="T60" fmla="*/ 54 w 198"/>
                  <a:gd name="T61" fmla="*/ 107 h 107"/>
                  <a:gd name="T62" fmla="*/ 54 w 198"/>
                  <a:gd name="T63" fmla="*/ 107 h 107"/>
                  <a:gd name="T64" fmla="*/ 63 w 198"/>
                  <a:gd name="T65" fmla="*/ 107 h 107"/>
                  <a:gd name="T66" fmla="*/ 71 w 198"/>
                  <a:gd name="T67" fmla="*/ 104 h 107"/>
                  <a:gd name="T68" fmla="*/ 80 w 198"/>
                  <a:gd name="T69" fmla="*/ 100 h 107"/>
                  <a:gd name="T70" fmla="*/ 86 w 198"/>
                  <a:gd name="T71" fmla="*/ 96 h 107"/>
                  <a:gd name="T72" fmla="*/ 93 w 198"/>
                  <a:gd name="T73" fmla="*/ 89 h 107"/>
                  <a:gd name="T74" fmla="*/ 98 w 198"/>
                  <a:gd name="T75" fmla="*/ 83 h 107"/>
                  <a:gd name="T76" fmla="*/ 102 w 198"/>
                  <a:gd name="T77" fmla="*/ 76 h 107"/>
                  <a:gd name="T78" fmla="*/ 105 w 198"/>
                  <a:gd name="T79" fmla="*/ 67 h 107"/>
                  <a:gd name="T80" fmla="*/ 105 w 198"/>
                  <a:gd name="T81" fmla="*/ 6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98" h="107">
                    <a:moveTo>
                      <a:pt x="105" y="67"/>
                    </a:moveTo>
                    <a:lnTo>
                      <a:pt x="198" y="67"/>
                    </a:lnTo>
                    <a:lnTo>
                      <a:pt x="198" y="44"/>
                    </a:lnTo>
                    <a:lnTo>
                      <a:pt x="105" y="44"/>
                    </a:lnTo>
                    <a:lnTo>
                      <a:pt x="105" y="44"/>
                    </a:lnTo>
                    <a:lnTo>
                      <a:pt x="104" y="34"/>
                    </a:lnTo>
                    <a:lnTo>
                      <a:pt x="100" y="26"/>
                    </a:lnTo>
                    <a:lnTo>
                      <a:pt x="94" y="19"/>
                    </a:lnTo>
                    <a:lnTo>
                      <a:pt x="88" y="13"/>
                    </a:lnTo>
                    <a:lnTo>
                      <a:pt x="81" y="9"/>
                    </a:lnTo>
                    <a:lnTo>
                      <a:pt x="71" y="5"/>
                    </a:lnTo>
                    <a:lnTo>
                      <a:pt x="63" y="2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43" y="2"/>
                    </a:lnTo>
                    <a:lnTo>
                      <a:pt x="34" y="5"/>
                    </a:lnTo>
                    <a:lnTo>
                      <a:pt x="24" y="10"/>
                    </a:lnTo>
                    <a:lnTo>
                      <a:pt x="16" y="17"/>
                    </a:lnTo>
                    <a:lnTo>
                      <a:pt x="9" y="25"/>
                    </a:lnTo>
                    <a:lnTo>
                      <a:pt x="5" y="33"/>
                    </a:lnTo>
                    <a:lnTo>
                      <a:pt x="1" y="44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1" y="65"/>
                    </a:lnTo>
                    <a:lnTo>
                      <a:pt x="5" y="75"/>
                    </a:lnTo>
                    <a:lnTo>
                      <a:pt x="9" y="84"/>
                    </a:lnTo>
                    <a:lnTo>
                      <a:pt x="16" y="92"/>
                    </a:lnTo>
                    <a:lnTo>
                      <a:pt x="24" y="98"/>
                    </a:lnTo>
                    <a:lnTo>
                      <a:pt x="34" y="103"/>
                    </a:lnTo>
                    <a:lnTo>
                      <a:pt x="43" y="106"/>
                    </a:lnTo>
                    <a:lnTo>
                      <a:pt x="54" y="107"/>
                    </a:lnTo>
                    <a:lnTo>
                      <a:pt x="54" y="107"/>
                    </a:lnTo>
                    <a:lnTo>
                      <a:pt x="63" y="107"/>
                    </a:lnTo>
                    <a:lnTo>
                      <a:pt x="71" y="104"/>
                    </a:lnTo>
                    <a:lnTo>
                      <a:pt x="80" y="100"/>
                    </a:lnTo>
                    <a:lnTo>
                      <a:pt x="86" y="96"/>
                    </a:lnTo>
                    <a:lnTo>
                      <a:pt x="93" y="89"/>
                    </a:lnTo>
                    <a:lnTo>
                      <a:pt x="98" y="83"/>
                    </a:lnTo>
                    <a:lnTo>
                      <a:pt x="102" y="76"/>
                    </a:lnTo>
                    <a:lnTo>
                      <a:pt x="105" y="67"/>
                    </a:lnTo>
                    <a:lnTo>
                      <a:pt x="105" y="6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BF0E11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84" name="Freeform 127"/>
              <p:cNvSpPr>
                <a:spLocks/>
              </p:cNvSpPr>
              <p:nvPr/>
            </p:nvSpPr>
            <p:spPr bwMode="auto">
              <a:xfrm>
                <a:off x="6674123" y="1844145"/>
                <a:ext cx="54686" cy="55514"/>
              </a:xfrm>
              <a:custGeom>
                <a:avLst/>
                <a:gdLst>
                  <a:gd name="T0" fmla="*/ 16 w 132"/>
                  <a:gd name="T1" fmla="*/ 135 h 135"/>
                  <a:gd name="T2" fmla="*/ 51 w 132"/>
                  <a:gd name="T3" fmla="*/ 100 h 135"/>
                  <a:gd name="T4" fmla="*/ 51 w 132"/>
                  <a:gd name="T5" fmla="*/ 100 h 135"/>
                  <a:gd name="T6" fmla="*/ 59 w 132"/>
                  <a:gd name="T7" fmla="*/ 102 h 135"/>
                  <a:gd name="T8" fmla="*/ 68 w 132"/>
                  <a:gd name="T9" fmla="*/ 105 h 135"/>
                  <a:gd name="T10" fmla="*/ 77 w 132"/>
                  <a:gd name="T11" fmla="*/ 106 h 135"/>
                  <a:gd name="T12" fmla="*/ 85 w 132"/>
                  <a:gd name="T13" fmla="*/ 106 h 135"/>
                  <a:gd name="T14" fmla="*/ 93 w 132"/>
                  <a:gd name="T15" fmla="*/ 105 h 135"/>
                  <a:gd name="T16" fmla="*/ 101 w 132"/>
                  <a:gd name="T17" fmla="*/ 101 h 135"/>
                  <a:gd name="T18" fmla="*/ 109 w 132"/>
                  <a:gd name="T19" fmla="*/ 97 h 135"/>
                  <a:gd name="T20" fmla="*/ 116 w 132"/>
                  <a:gd name="T21" fmla="*/ 92 h 135"/>
                  <a:gd name="T22" fmla="*/ 116 w 132"/>
                  <a:gd name="T23" fmla="*/ 92 h 135"/>
                  <a:gd name="T24" fmla="*/ 123 w 132"/>
                  <a:gd name="T25" fmla="*/ 82 h 135"/>
                  <a:gd name="T26" fmla="*/ 128 w 132"/>
                  <a:gd name="T27" fmla="*/ 74 h 135"/>
                  <a:gd name="T28" fmla="*/ 131 w 132"/>
                  <a:gd name="T29" fmla="*/ 63 h 135"/>
                  <a:gd name="T30" fmla="*/ 132 w 132"/>
                  <a:gd name="T31" fmla="*/ 54 h 135"/>
                  <a:gd name="T32" fmla="*/ 131 w 132"/>
                  <a:gd name="T33" fmla="*/ 43 h 135"/>
                  <a:gd name="T34" fmla="*/ 128 w 132"/>
                  <a:gd name="T35" fmla="*/ 34 h 135"/>
                  <a:gd name="T36" fmla="*/ 123 w 132"/>
                  <a:gd name="T37" fmla="*/ 24 h 135"/>
                  <a:gd name="T38" fmla="*/ 116 w 132"/>
                  <a:gd name="T39" fmla="*/ 16 h 135"/>
                  <a:gd name="T40" fmla="*/ 116 w 132"/>
                  <a:gd name="T41" fmla="*/ 16 h 135"/>
                  <a:gd name="T42" fmla="*/ 108 w 132"/>
                  <a:gd name="T43" fmla="*/ 9 h 135"/>
                  <a:gd name="T44" fmla="*/ 99 w 132"/>
                  <a:gd name="T45" fmla="*/ 4 h 135"/>
                  <a:gd name="T46" fmla="*/ 89 w 132"/>
                  <a:gd name="T47" fmla="*/ 1 h 135"/>
                  <a:gd name="T48" fmla="*/ 78 w 132"/>
                  <a:gd name="T49" fmla="*/ 0 h 135"/>
                  <a:gd name="T50" fmla="*/ 69 w 132"/>
                  <a:gd name="T51" fmla="*/ 1 h 135"/>
                  <a:gd name="T52" fmla="*/ 58 w 132"/>
                  <a:gd name="T53" fmla="*/ 4 h 135"/>
                  <a:gd name="T54" fmla="*/ 50 w 132"/>
                  <a:gd name="T55" fmla="*/ 9 h 135"/>
                  <a:gd name="T56" fmla="*/ 41 w 132"/>
                  <a:gd name="T57" fmla="*/ 16 h 135"/>
                  <a:gd name="T58" fmla="*/ 41 w 132"/>
                  <a:gd name="T59" fmla="*/ 16 h 135"/>
                  <a:gd name="T60" fmla="*/ 35 w 132"/>
                  <a:gd name="T61" fmla="*/ 23 h 135"/>
                  <a:gd name="T62" fmla="*/ 31 w 132"/>
                  <a:gd name="T63" fmla="*/ 31 h 135"/>
                  <a:gd name="T64" fmla="*/ 27 w 132"/>
                  <a:gd name="T65" fmla="*/ 39 h 135"/>
                  <a:gd name="T66" fmla="*/ 26 w 132"/>
                  <a:gd name="T67" fmla="*/ 48 h 135"/>
                  <a:gd name="T68" fmla="*/ 26 w 132"/>
                  <a:gd name="T69" fmla="*/ 58 h 135"/>
                  <a:gd name="T70" fmla="*/ 27 w 132"/>
                  <a:gd name="T71" fmla="*/ 66 h 135"/>
                  <a:gd name="T72" fmla="*/ 30 w 132"/>
                  <a:gd name="T73" fmla="*/ 75 h 135"/>
                  <a:gd name="T74" fmla="*/ 35 w 132"/>
                  <a:gd name="T75" fmla="*/ 84 h 135"/>
                  <a:gd name="T76" fmla="*/ 0 w 132"/>
                  <a:gd name="T77" fmla="*/ 117 h 135"/>
                  <a:gd name="T78" fmla="*/ 0 w 132"/>
                  <a:gd name="T79" fmla="*/ 117 h 135"/>
                  <a:gd name="T80" fmla="*/ 6 w 132"/>
                  <a:gd name="T81" fmla="*/ 120 h 135"/>
                  <a:gd name="T82" fmla="*/ 10 w 132"/>
                  <a:gd name="T83" fmla="*/ 124 h 135"/>
                  <a:gd name="T84" fmla="*/ 14 w 132"/>
                  <a:gd name="T85" fmla="*/ 129 h 135"/>
                  <a:gd name="T86" fmla="*/ 16 w 132"/>
                  <a:gd name="T87" fmla="*/ 135 h 135"/>
                  <a:gd name="T88" fmla="*/ 16 w 132"/>
                  <a:gd name="T89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32" h="135">
                    <a:moveTo>
                      <a:pt x="16" y="135"/>
                    </a:moveTo>
                    <a:lnTo>
                      <a:pt x="51" y="100"/>
                    </a:lnTo>
                    <a:lnTo>
                      <a:pt x="51" y="100"/>
                    </a:lnTo>
                    <a:lnTo>
                      <a:pt x="59" y="102"/>
                    </a:lnTo>
                    <a:lnTo>
                      <a:pt x="68" y="105"/>
                    </a:lnTo>
                    <a:lnTo>
                      <a:pt x="77" y="106"/>
                    </a:lnTo>
                    <a:lnTo>
                      <a:pt x="85" y="106"/>
                    </a:lnTo>
                    <a:lnTo>
                      <a:pt x="93" y="105"/>
                    </a:lnTo>
                    <a:lnTo>
                      <a:pt x="101" y="101"/>
                    </a:lnTo>
                    <a:lnTo>
                      <a:pt x="109" y="97"/>
                    </a:lnTo>
                    <a:lnTo>
                      <a:pt x="116" y="92"/>
                    </a:lnTo>
                    <a:lnTo>
                      <a:pt x="116" y="92"/>
                    </a:lnTo>
                    <a:lnTo>
                      <a:pt x="123" y="82"/>
                    </a:lnTo>
                    <a:lnTo>
                      <a:pt x="128" y="74"/>
                    </a:lnTo>
                    <a:lnTo>
                      <a:pt x="131" y="63"/>
                    </a:lnTo>
                    <a:lnTo>
                      <a:pt x="132" y="54"/>
                    </a:lnTo>
                    <a:lnTo>
                      <a:pt x="131" y="43"/>
                    </a:lnTo>
                    <a:lnTo>
                      <a:pt x="128" y="34"/>
                    </a:lnTo>
                    <a:lnTo>
                      <a:pt x="123" y="24"/>
                    </a:lnTo>
                    <a:lnTo>
                      <a:pt x="116" y="16"/>
                    </a:lnTo>
                    <a:lnTo>
                      <a:pt x="116" y="16"/>
                    </a:lnTo>
                    <a:lnTo>
                      <a:pt x="108" y="9"/>
                    </a:lnTo>
                    <a:lnTo>
                      <a:pt x="99" y="4"/>
                    </a:lnTo>
                    <a:lnTo>
                      <a:pt x="89" y="1"/>
                    </a:lnTo>
                    <a:lnTo>
                      <a:pt x="78" y="0"/>
                    </a:lnTo>
                    <a:lnTo>
                      <a:pt x="69" y="1"/>
                    </a:lnTo>
                    <a:lnTo>
                      <a:pt x="58" y="4"/>
                    </a:lnTo>
                    <a:lnTo>
                      <a:pt x="50" y="9"/>
                    </a:lnTo>
                    <a:lnTo>
                      <a:pt x="41" y="16"/>
                    </a:lnTo>
                    <a:lnTo>
                      <a:pt x="41" y="16"/>
                    </a:lnTo>
                    <a:lnTo>
                      <a:pt x="35" y="23"/>
                    </a:lnTo>
                    <a:lnTo>
                      <a:pt x="31" y="31"/>
                    </a:lnTo>
                    <a:lnTo>
                      <a:pt x="27" y="39"/>
                    </a:lnTo>
                    <a:lnTo>
                      <a:pt x="26" y="48"/>
                    </a:lnTo>
                    <a:lnTo>
                      <a:pt x="26" y="58"/>
                    </a:lnTo>
                    <a:lnTo>
                      <a:pt x="27" y="66"/>
                    </a:lnTo>
                    <a:lnTo>
                      <a:pt x="30" y="75"/>
                    </a:lnTo>
                    <a:lnTo>
                      <a:pt x="35" y="84"/>
                    </a:lnTo>
                    <a:lnTo>
                      <a:pt x="0" y="117"/>
                    </a:lnTo>
                    <a:lnTo>
                      <a:pt x="0" y="117"/>
                    </a:lnTo>
                    <a:lnTo>
                      <a:pt x="6" y="120"/>
                    </a:lnTo>
                    <a:lnTo>
                      <a:pt x="10" y="124"/>
                    </a:lnTo>
                    <a:lnTo>
                      <a:pt x="14" y="129"/>
                    </a:lnTo>
                    <a:lnTo>
                      <a:pt x="16" y="135"/>
                    </a:lnTo>
                    <a:lnTo>
                      <a:pt x="16" y="1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BF0E11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85" name="Freeform 128"/>
              <p:cNvSpPr>
                <a:spLocks/>
              </p:cNvSpPr>
              <p:nvPr/>
            </p:nvSpPr>
            <p:spPr bwMode="auto">
              <a:xfrm>
                <a:off x="6519182" y="1999086"/>
                <a:ext cx="55514" cy="54686"/>
              </a:xfrm>
              <a:custGeom>
                <a:avLst/>
                <a:gdLst>
                  <a:gd name="T0" fmla="*/ 117 w 133"/>
                  <a:gd name="T1" fmla="*/ 0 h 133"/>
                  <a:gd name="T2" fmla="*/ 82 w 133"/>
                  <a:gd name="T3" fmla="*/ 35 h 133"/>
                  <a:gd name="T4" fmla="*/ 82 w 133"/>
                  <a:gd name="T5" fmla="*/ 35 h 133"/>
                  <a:gd name="T6" fmla="*/ 74 w 133"/>
                  <a:gd name="T7" fmla="*/ 31 h 133"/>
                  <a:gd name="T8" fmla="*/ 66 w 133"/>
                  <a:gd name="T9" fmla="*/ 29 h 133"/>
                  <a:gd name="T10" fmla="*/ 56 w 133"/>
                  <a:gd name="T11" fmla="*/ 27 h 133"/>
                  <a:gd name="T12" fmla="*/ 47 w 133"/>
                  <a:gd name="T13" fmla="*/ 27 h 133"/>
                  <a:gd name="T14" fmla="*/ 39 w 133"/>
                  <a:gd name="T15" fmla="*/ 29 h 133"/>
                  <a:gd name="T16" fmla="*/ 31 w 133"/>
                  <a:gd name="T17" fmla="*/ 31 h 133"/>
                  <a:gd name="T18" fmla="*/ 23 w 133"/>
                  <a:gd name="T19" fmla="*/ 35 h 133"/>
                  <a:gd name="T20" fmla="*/ 14 w 133"/>
                  <a:gd name="T21" fmla="*/ 42 h 133"/>
                  <a:gd name="T22" fmla="*/ 14 w 133"/>
                  <a:gd name="T23" fmla="*/ 42 h 133"/>
                  <a:gd name="T24" fmla="*/ 8 w 133"/>
                  <a:gd name="T25" fmla="*/ 50 h 133"/>
                  <a:gd name="T26" fmla="*/ 4 w 133"/>
                  <a:gd name="T27" fmla="*/ 60 h 133"/>
                  <a:gd name="T28" fmla="*/ 1 w 133"/>
                  <a:gd name="T29" fmla="*/ 69 h 133"/>
                  <a:gd name="T30" fmla="*/ 0 w 133"/>
                  <a:gd name="T31" fmla="*/ 80 h 133"/>
                  <a:gd name="T32" fmla="*/ 1 w 133"/>
                  <a:gd name="T33" fmla="*/ 89 h 133"/>
                  <a:gd name="T34" fmla="*/ 4 w 133"/>
                  <a:gd name="T35" fmla="*/ 100 h 133"/>
                  <a:gd name="T36" fmla="*/ 8 w 133"/>
                  <a:gd name="T37" fmla="*/ 110 h 133"/>
                  <a:gd name="T38" fmla="*/ 14 w 133"/>
                  <a:gd name="T39" fmla="*/ 118 h 133"/>
                  <a:gd name="T40" fmla="*/ 14 w 133"/>
                  <a:gd name="T41" fmla="*/ 118 h 133"/>
                  <a:gd name="T42" fmla="*/ 24 w 133"/>
                  <a:gd name="T43" fmla="*/ 124 h 133"/>
                  <a:gd name="T44" fmla="*/ 32 w 133"/>
                  <a:gd name="T45" fmla="*/ 129 h 133"/>
                  <a:gd name="T46" fmla="*/ 43 w 133"/>
                  <a:gd name="T47" fmla="*/ 133 h 133"/>
                  <a:gd name="T48" fmla="*/ 52 w 133"/>
                  <a:gd name="T49" fmla="*/ 133 h 133"/>
                  <a:gd name="T50" fmla="*/ 63 w 133"/>
                  <a:gd name="T51" fmla="*/ 133 h 133"/>
                  <a:gd name="T52" fmla="*/ 72 w 133"/>
                  <a:gd name="T53" fmla="*/ 129 h 133"/>
                  <a:gd name="T54" fmla="*/ 82 w 133"/>
                  <a:gd name="T55" fmla="*/ 124 h 133"/>
                  <a:gd name="T56" fmla="*/ 90 w 133"/>
                  <a:gd name="T57" fmla="*/ 118 h 133"/>
                  <a:gd name="T58" fmla="*/ 90 w 133"/>
                  <a:gd name="T59" fmla="*/ 118 h 133"/>
                  <a:gd name="T60" fmla="*/ 95 w 133"/>
                  <a:gd name="T61" fmla="*/ 111 h 133"/>
                  <a:gd name="T62" fmla="*/ 101 w 133"/>
                  <a:gd name="T63" fmla="*/ 103 h 133"/>
                  <a:gd name="T64" fmla="*/ 103 w 133"/>
                  <a:gd name="T65" fmla="*/ 95 h 133"/>
                  <a:gd name="T66" fmla="*/ 105 w 133"/>
                  <a:gd name="T67" fmla="*/ 85 h 133"/>
                  <a:gd name="T68" fmla="*/ 106 w 133"/>
                  <a:gd name="T69" fmla="*/ 77 h 133"/>
                  <a:gd name="T70" fmla="*/ 105 w 133"/>
                  <a:gd name="T71" fmla="*/ 69 h 133"/>
                  <a:gd name="T72" fmla="*/ 102 w 133"/>
                  <a:gd name="T73" fmla="*/ 61 h 133"/>
                  <a:gd name="T74" fmla="*/ 98 w 133"/>
                  <a:gd name="T75" fmla="*/ 53 h 133"/>
                  <a:gd name="T76" fmla="*/ 133 w 133"/>
                  <a:gd name="T77" fmla="*/ 17 h 133"/>
                  <a:gd name="T78" fmla="*/ 133 w 133"/>
                  <a:gd name="T79" fmla="*/ 17 h 133"/>
                  <a:gd name="T80" fmla="*/ 128 w 133"/>
                  <a:gd name="T81" fmla="*/ 15 h 133"/>
                  <a:gd name="T82" fmla="*/ 124 w 133"/>
                  <a:gd name="T83" fmla="*/ 11 h 133"/>
                  <a:gd name="T84" fmla="*/ 120 w 133"/>
                  <a:gd name="T85" fmla="*/ 6 h 133"/>
                  <a:gd name="T86" fmla="*/ 117 w 133"/>
                  <a:gd name="T87" fmla="*/ 0 h 133"/>
                  <a:gd name="T88" fmla="*/ 117 w 133"/>
                  <a:gd name="T89" fmla="*/ 0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33" h="133">
                    <a:moveTo>
                      <a:pt x="117" y="0"/>
                    </a:moveTo>
                    <a:lnTo>
                      <a:pt x="82" y="35"/>
                    </a:lnTo>
                    <a:lnTo>
                      <a:pt x="82" y="35"/>
                    </a:lnTo>
                    <a:lnTo>
                      <a:pt x="74" y="31"/>
                    </a:lnTo>
                    <a:lnTo>
                      <a:pt x="66" y="29"/>
                    </a:lnTo>
                    <a:lnTo>
                      <a:pt x="56" y="27"/>
                    </a:lnTo>
                    <a:lnTo>
                      <a:pt x="47" y="27"/>
                    </a:lnTo>
                    <a:lnTo>
                      <a:pt x="39" y="29"/>
                    </a:lnTo>
                    <a:lnTo>
                      <a:pt x="31" y="31"/>
                    </a:lnTo>
                    <a:lnTo>
                      <a:pt x="23" y="35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8" y="50"/>
                    </a:lnTo>
                    <a:lnTo>
                      <a:pt x="4" y="60"/>
                    </a:lnTo>
                    <a:lnTo>
                      <a:pt x="1" y="69"/>
                    </a:lnTo>
                    <a:lnTo>
                      <a:pt x="0" y="80"/>
                    </a:lnTo>
                    <a:lnTo>
                      <a:pt x="1" y="89"/>
                    </a:lnTo>
                    <a:lnTo>
                      <a:pt x="4" y="100"/>
                    </a:lnTo>
                    <a:lnTo>
                      <a:pt x="8" y="110"/>
                    </a:lnTo>
                    <a:lnTo>
                      <a:pt x="14" y="118"/>
                    </a:lnTo>
                    <a:lnTo>
                      <a:pt x="14" y="118"/>
                    </a:lnTo>
                    <a:lnTo>
                      <a:pt x="24" y="124"/>
                    </a:lnTo>
                    <a:lnTo>
                      <a:pt x="32" y="129"/>
                    </a:lnTo>
                    <a:lnTo>
                      <a:pt x="43" y="133"/>
                    </a:lnTo>
                    <a:lnTo>
                      <a:pt x="52" y="133"/>
                    </a:lnTo>
                    <a:lnTo>
                      <a:pt x="63" y="133"/>
                    </a:lnTo>
                    <a:lnTo>
                      <a:pt x="72" y="129"/>
                    </a:lnTo>
                    <a:lnTo>
                      <a:pt x="82" y="124"/>
                    </a:lnTo>
                    <a:lnTo>
                      <a:pt x="90" y="118"/>
                    </a:lnTo>
                    <a:lnTo>
                      <a:pt x="90" y="118"/>
                    </a:lnTo>
                    <a:lnTo>
                      <a:pt x="95" y="111"/>
                    </a:lnTo>
                    <a:lnTo>
                      <a:pt x="101" y="103"/>
                    </a:lnTo>
                    <a:lnTo>
                      <a:pt x="103" y="95"/>
                    </a:lnTo>
                    <a:lnTo>
                      <a:pt x="105" y="85"/>
                    </a:lnTo>
                    <a:lnTo>
                      <a:pt x="106" y="77"/>
                    </a:lnTo>
                    <a:lnTo>
                      <a:pt x="105" y="69"/>
                    </a:lnTo>
                    <a:lnTo>
                      <a:pt x="102" y="61"/>
                    </a:lnTo>
                    <a:lnTo>
                      <a:pt x="98" y="53"/>
                    </a:lnTo>
                    <a:lnTo>
                      <a:pt x="133" y="17"/>
                    </a:lnTo>
                    <a:lnTo>
                      <a:pt x="133" y="17"/>
                    </a:lnTo>
                    <a:lnTo>
                      <a:pt x="128" y="15"/>
                    </a:lnTo>
                    <a:lnTo>
                      <a:pt x="124" y="11"/>
                    </a:lnTo>
                    <a:lnTo>
                      <a:pt x="120" y="6"/>
                    </a:lnTo>
                    <a:lnTo>
                      <a:pt x="117" y="0"/>
                    </a:lnTo>
                    <a:lnTo>
                      <a:pt x="11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BF0E11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86" name="Freeform 129"/>
              <p:cNvSpPr>
                <a:spLocks/>
              </p:cNvSpPr>
              <p:nvPr/>
            </p:nvSpPr>
            <p:spPr bwMode="auto">
              <a:xfrm>
                <a:off x="6680751" y="1927001"/>
                <a:ext cx="82028" cy="43914"/>
              </a:xfrm>
              <a:custGeom>
                <a:avLst/>
                <a:gdLst>
                  <a:gd name="T0" fmla="*/ 146 w 199"/>
                  <a:gd name="T1" fmla="*/ 0 h 107"/>
                  <a:gd name="T2" fmla="*/ 146 w 199"/>
                  <a:gd name="T3" fmla="*/ 0 h 107"/>
                  <a:gd name="T4" fmla="*/ 136 w 199"/>
                  <a:gd name="T5" fmla="*/ 2 h 107"/>
                  <a:gd name="T6" fmla="*/ 127 w 199"/>
                  <a:gd name="T7" fmla="*/ 5 h 107"/>
                  <a:gd name="T8" fmla="*/ 119 w 199"/>
                  <a:gd name="T9" fmla="*/ 9 h 107"/>
                  <a:gd name="T10" fmla="*/ 112 w 199"/>
                  <a:gd name="T11" fmla="*/ 13 h 107"/>
                  <a:gd name="T12" fmla="*/ 105 w 199"/>
                  <a:gd name="T13" fmla="*/ 19 h 107"/>
                  <a:gd name="T14" fmla="*/ 100 w 199"/>
                  <a:gd name="T15" fmla="*/ 26 h 107"/>
                  <a:gd name="T16" fmla="*/ 96 w 199"/>
                  <a:gd name="T17" fmla="*/ 34 h 107"/>
                  <a:gd name="T18" fmla="*/ 93 w 199"/>
                  <a:gd name="T19" fmla="*/ 44 h 107"/>
                  <a:gd name="T20" fmla="*/ 0 w 199"/>
                  <a:gd name="T21" fmla="*/ 44 h 107"/>
                  <a:gd name="T22" fmla="*/ 0 w 199"/>
                  <a:gd name="T23" fmla="*/ 67 h 107"/>
                  <a:gd name="T24" fmla="*/ 93 w 199"/>
                  <a:gd name="T25" fmla="*/ 67 h 107"/>
                  <a:gd name="T26" fmla="*/ 93 w 199"/>
                  <a:gd name="T27" fmla="*/ 67 h 107"/>
                  <a:gd name="T28" fmla="*/ 97 w 199"/>
                  <a:gd name="T29" fmla="*/ 76 h 107"/>
                  <a:gd name="T30" fmla="*/ 101 w 199"/>
                  <a:gd name="T31" fmla="*/ 83 h 107"/>
                  <a:gd name="T32" fmla="*/ 107 w 199"/>
                  <a:gd name="T33" fmla="*/ 89 h 107"/>
                  <a:gd name="T34" fmla="*/ 112 w 199"/>
                  <a:gd name="T35" fmla="*/ 96 h 107"/>
                  <a:gd name="T36" fmla="*/ 120 w 199"/>
                  <a:gd name="T37" fmla="*/ 100 h 107"/>
                  <a:gd name="T38" fmla="*/ 128 w 199"/>
                  <a:gd name="T39" fmla="*/ 104 h 107"/>
                  <a:gd name="T40" fmla="*/ 136 w 199"/>
                  <a:gd name="T41" fmla="*/ 107 h 107"/>
                  <a:gd name="T42" fmla="*/ 146 w 199"/>
                  <a:gd name="T43" fmla="*/ 107 h 107"/>
                  <a:gd name="T44" fmla="*/ 146 w 199"/>
                  <a:gd name="T45" fmla="*/ 107 h 107"/>
                  <a:gd name="T46" fmla="*/ 157 w 199"/>
                  <a:gd name="T47" fmla="*/ 106 h 107"/>
                  <a:gd name="T48" fmla="*/ 166 w 199"/>
                  <a:gd name="T49" fmla="*/ 103 h 107"/>
                  <a:gd name="T50" fmla="*/ 176 w 199"/>
                  <a:gd name="T51" fmla="*/ 98 h 107"/>
                  <a:gd name="T52" fmla="*/ 182 w 199"/>
                  <a:gd name="T53" fmla="*/ 92 h 107"/>
                  <a:gd name="T54" fmla="*/ 189 w 199"/>
                  <a:gd name="T55" fmla="*/ 84 h 107"/>
                  <a:gd name="T56" fmla="*/ 194 w 199"/>
                  <a:gd name="T57" fmla="*/ 75 h 107"/>
                  <a:gd name="T58" fmla="*/ 197 w 199"/>
                  <a:gd name="T59" fmla="*/ 65 h 107"/>
                  <a:gd name="T60" fmla="*/ 199 w 199"/>
                  <a:gd name="T61" fmla="*/ 54 h 107"/>
                  <a:gd name="T62" fmla="*/ 199 w 199"/>
                  <a:gd name="T63" fmla="*/ 54 h 107"/>
                  <a:gd name="T64" fmla="*/ 197 w 199"/>
                  <a:gd name="T65" fmla="*/ 44 h 107"/>
                  <a:gd name="T66" fmla="*/ 194 w 199"/>
                  <a:gd name="T67" fmla="*/ 33 h 107"/>
                  <a:gd name="T68" fmla="*/ 189 w 199"/>
                  <a:gd name="T69" fmla="*/ 25 h 107"/>
                  <a:gd name="T70" fmla="*/ 182 w 199"/>
                  <a:gd name="T71" fmla="*/ 17 h 107"/>
                  <a:gd name="T72" fmla="*/ 176 w 199"/>
                  <a:gd name="T73" fmla="*/ 10 h 107"/>
                  <a:gd name="T74" fmla="*/ 166 w 199"/>
                  <a:gd name="T75" fmla="*/ 5 h 107"/>
                  <a:gd name="T76" fmla="*/ 157 w 199"/>
                  <a:gd name="T77" fmla="*/ 2 h 107"/>
                  <a:gd name="T78" fmla="*/ 146 w 199"/>
                  <a:gd name="T79" fmla="*/ 0 h 107"/>
                  <a:gd name="T80" fmla="*/ 146 w 199"/>
                  <a:gd name="T81" fmla="*/ 0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99" h="107">
                    <a:moveTo>
                      <a:pt x="146" y="0"/>
                    </a:moveTo>
                    <a:lnTo>
                      <a:pt x="146" y="0"/>
                    </a:lnTo>
                    <a:lnTo>
                      <a:pt x="136" y="2"/>
                    </a:lnTo>
                    <a:lnTo>
                      <a:pt x="127" y="5"/>
                    </a:lnTo>
                    <a:lnTo>
                      <a:pt x="119" y="9"/>
                    </a:lnTo>
                    <a:lnTo>
                      <a:pt x="112" y="13"/>
                    </a:lnTo>
                    <a:lnTo>
                      <a:pt x="105" y="19"/>
                    </a:lnTo>
                    <a:lnTo>
                      <a:pt x="100" y="26"/>
                    </a:lnTo>
                    <a:lnTo>
                      <a:pt x="96" y="34"/>
                    </a:lnTo>
                    <a:lnTo>
                      <a:pt x="93" y="44"/>
                    </a:lnTo>
                    <a:lnTo>
                      <a:pt x="0" y="44"/>
                    </a:lnTo>
                    <a:lnTo>
                      <a:pt x="0" y="67"/>
                    </a:lnTo>
                    <a:lnTo>
                      <a:pt x="93" y="67"/>
                    </a:lnTo>
                    <a:lnTo>
                      <a:pt x="93" y="67"/>
                    </a:lnTo>
                    <a:lnTo>
                      <a:pt x="97" y="76"/>
                    </a:lnTo>
                    <a:lnTo>
                      <a:pt x="101" y="83"/>
                    </a:lnTo>
                    <a:lnTo>
                      <a:pt x="107" y="89"/>
                    </a:lnTo>
                    <a:lnTo>
                      <a:pt x="112" y="96"/>
                    </a:lnTo>
                    <a:lnTo>
                      <a:pt x="120" y="100"/>
                    </a:lnTo>
                    <a:lnTo>
                      <a:pt x="128" y="104"/>
                    </a:lnTo>
                    <a:lnTo>
                      <a:pt x="136" y="107"/>
                    </a:lnTo>
                    <a:lnTo>
                      <a:pt x="146" y="107"/>
                    </a:lnTo>
                    <a:lnTo>
                      <a:pt x="146" y="107"/>
                    </a:lnTo>
                    <a:lnTo>
                      <a:pt x="157" y="106"/>
                    </a:lnTo>
                    <a:lnTo>
                      <a:pt x="166" y="103"/>
                    </a:lnTo>
                    <a:lnTo>
                      <a:pt x="176" y="98"/>
                    </a:lnTo>
                    <a:lnTo>
                      <a:pt x="182" y="92"/>
                    </a:lnTo>
                    <a:lnTo>
                      <a:pt x="189" y="84"/>
                    </a:lnTo>
                    <a:lnTo>
                      <a:pt x="194" y="75"/>
                    </a:lnTo>
                    <a:lnTo>
                      <a:pt x="197" y="65"/>
                    </a:lnTo>
                    <a:lnTo>
                      <a:pt x="199" y="54"/>
                    </a:lnTo>
                    <a:lnTo>
                      <a:pt x="199" y="54"/>
                    </a:lnTo>
                    <a:lnTo>
                      <a:pt x="197" y="44"/>
                    </a:lnTo>
                    <a:lnTo>
                      <a:pt x="194" y="33"/>
                    </a:lnTo>
                    <a:lnTo>
                      <a:pt x="189" y="25"/>
                    </a:lnTo>
                    <a:lnTo>
                      <a:pt x="182" y="17"/>
                    </a:lnTo>
                    <a:lnTo>
                      <a:pt x="176" y="10"/>
                    </a:lnTo>
                    <a:lnTo>
                      <a:pt x="166" y="5"/>
                    </a:lnTo>
                    <a:lnTo>
                      <a:pt x="157" y="2"/>
                    </a:lnTo>
                    <a:lnTo>
                      <a:pt x="146" y="0"/>
                    </a:lnTo>
                    <a:lnTo>
                      <a:pt x="14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BF0E11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87" name="Freeform 130"/>
              <p:cNvSpPr>
                <a:spLocks/>
              </p:cNvSpPr>
              <p:nvPr/>
            </p:nvSpPr>
            <p:spPr bwMode="auto">
              <a:xfrm>
                <a:off x="6672466" y="1999086"/>
                <a:ext cx="56342" cy="54686"/>
              </a:xfrm>
              <a:custGeom>
                <a:avLst/>
                <a:gdLst>
                  <a:gd name="T0" fmla="*/ 52 w 135"/>
                  <a:gd name="T1" fmla="*/ 35 h 133"/>
                  <a:gd name="T2" fmla="*/ 18 w 135"/>
                  <a:gd name="T3" fmla="*/ 0 h 133"/>
                  <a:gd name="T4" fmla="*/ 18 w 135"/>
                  <a:gd name="T5" fmla="*/ 0 h 133"/>
                  <a:gd name="T6" fmla="*/ 15 w 135"/>
                  <a:gd name="T7" fmla="*/ 6 h 133"/>
                  <a:gd name="T8" fmla="*/ 11 w 135"/>
                  <a:gd name="T9" fmla="*/ 11 h 133"/>
                  <a:gd name="T10" fmla="*/ 6 w 135"/>
                  <a:gd name="T11" fmla="*/ 15 h 133"/>
                  <a:gd name="T12" fmla="*/ 0 w 135"/>
                  <a:gd name="T13" fmla="*/ 17 h 133"/>
                  <a:gd name="T14" fmla="*/ 35 w 135"/>
                  <a:gd name="T15" fmla="*/ 53 h 133"/>
                  <a:gd name="T16" fmla="*/ 35 w 135"/>
                  <a:gd name="T17" fmla="*/ 53 h 133"/>
                  <a:gd name="T18" fmla="*/ 33 w 135"/>
                  <a:gd name="T19" fmla="*/ 61 h 133"/>
                  <a:gd name="T20" fmla="*/ 30 w 135"/>
                  <a:gd name="T21" fmla="*/ 69 h 133"/>
                  <a:gd name="T22" fmla="*/ 29 w 135"/>
                  <a:gd name="T23" fmla="*/ 77 h 133"/>
                  <a:gd name="T24" fmla="*/ 29 w 135"/>
                  <a:gd name="T25" fmla="*/ 85 h 133"/>
                  <a:gd name="T26" fmla="*/ 30 w 135"/>
                  <a:gd name="T27" fmla="*/ 95 h 133"/>
                  <a:gd name="T28" fmla="*/ 34 w 135"/>
                  <a:gd name="T29" fmla="*/ 103 h 133"/>
                  <a:gd name="T30" fmla="*/ 38 w 135"/>
                  <a:gd name="T31" fmla="*/ 111 h 133"/>
                  <a:gd name="T32" fmla="*/ 44 w 135"/>
                  <a:gd name="T33" fmla="*/ 118 h 133"/>
                  <a:gd name="T34" fmla="*/ 44 w 135"/>
                  <a:gd name="T35" fmla="*/ 118 h 133"/>
                  <a:gd name="T36" fmla="*/ 53 w 135"/>
                  <a:gd name="T37" fmla="*/ 124 h 133"/>
                  <a:gd name="T38" fmla="*/ 61 w 135"/>
                  <a:gd name="T39" fmla="*/ 129 h 133"/>
                  <a:gd name="T40" fmla="*/ 72 w 135"/>
                  <a:gd name="T41" fmla="*/ 133 h 133"/>
                  <a:gd name="T42" fmla="*/ 81 w 135"/>
                  <a:gd name="T43" fmla="*/ 133 h 133"/>
                  <a:gd name="T44" fmla="*/ 92 w 135"/>
                  <a:gd name="T45" fmla="*/ 133 h 133"/>
                  <a:gd name="T46" fmla="*/ 102 w 135"/>
                  <a:gd name="T47" fmla="*/ 129 h 133"/>
                  <a:gd name="T48" fmla="*/ 111 w 135"/>
                  <a:gd name="T49" fmla="*/ 124 h 133"/>
                  <a:gd name="T50" fmla="*/ 119 w 135"/>
                  <a:gd name="T51" fmla="*/ 118 h 133"/>
                  <a:gd name="T52" fmla="*/ 119 w 135"/>
                  <a:gd name="T53" fmla="*/ 118 h 133"/>
                  <a:gd name="T54" fmla="*/ 126 w 135"/>
                  <a:gd name="T55" fmla="*/ 110 h 133"/>
                  <a:gd name="T56" fmla="*/ 131 w 135"/>
                  <a:gd name="T57" fmla="*/ 100 h 133"/>
                  <a:gd name="T58" fmla="*/ 134 w 135"/>
                  <a:gd name="T59" fmla="*/ 89 h 133"/>
                  <a:gd name="T60" fmla="*/ 135 w 135"/>
                  <a:gd name="T61" fmla="*/ 80 h 133"/>
                  <a:gd name="T62" fmla="*/ 134 w 135"/>
                  <a:gd name="T63" fmla="*/ 69 h 133"/>
                  <a:gd name="T64" fmla="*/ 131 w 135"/>
                  <a:gd name="T65" fmla="*/ 60 h 133"/>
                  <a:gd name="T66" fmla="*/ 126 w 135"/>
                  <a:gd name="T67" fmla="*/ 50 h 133"/>
                  <a:gd name="T68" fmla="*/ 119 w 135"/>
                  <a:gd name="T69" fmla="*/ 42 h 133"/>
                  <a:gd name="T70" fmla="*/ 119 w 135"/>
                  <a:gd name="T71" fmla="*/ 42 h 133"/>
                  <a:gd name="T72" fmla="*/ 112 w 135"/>
                  <a:gd name="T73" fmla="*/ 35 h 133"/>
                  <a:gd name="T74" fmla="*/ 104 w 135"/>
                  <a:gd name="T75" fmla="*/ 31 h 133"/>
                  <a:gd name="T76" fmla="*/ 96 w 135"/>
                  <a:gd name="T77" fmla="*/ 29 h 133"/>
                  <a:gd name="T78" fmla="*/ 87 w 135"/>
                  <a:gd name="T79" fmla="*/ 27 h 133"/>
                  <a:gd name="T80" fmla="*/ 77 w 135"/>
                  <a:gd name="T81" fmla="*/ 27 h 133"/>
                  <a:gd name="T82" fmla="*/ 69 w 135"/>
                  <a:gd name="T83" fmla="*/ 29 h 133"/>
                  <a:gd name="T84" fmla="*/ 60 w 135"/>
                  <a:gd name="T85" fmla="*/ 31 h 133"/>
                  <a:gd name="T86" fmla="*/ 52 w 135"/>
                  <a:gd name="T87" fmla="*/ 35 h 133"/>
                  <a:gd name="T88" fmla="*/ 52 w 135"/>
                  <a:gd name="T89" fmla="*/ 35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35" h="133">
                    <a:moveTo>
                      <a:pt x="52" y="35"/>
                    </a:moveTo>
                    <a:lnTo>
                      <a:pt x="18" y="0"/>
                    </a:lnTo>
                    <a:lnTo>
                      <a:pt x="18" y="0"/>
                    </a:lnTo>
                    <a:lnTo>
                      <a:pt x="15" y="6"/>
                    </a:lnTo>
                    <a:lnTo>
                      <a:pt x="11" y="11"/>
                    </a:lnTo>
                    <a:lnTo>
                      <a:pt x="6" y="15"/>
                    </a:lnTo>
                    <a:lnTo>
                      <a:pt x="0" y="17"/>
                    </a:lnTo>
                    <a:lnTo>
                      <a:pt x="35" y="53"/>
                    </a:lnTo>
                    <a:lnTo>
                      <a:pt x="35" y="53"/>
                    </a:lnTo>
                    <a:lnTo>
                      <a:pt x="33" y="61"/>
                    </a:lnTo>
                    <a:lnTo>
                      <a:pt x="30" y="69"/>
                    </a:lnTo>
                    <a:lnTo>
                      <a:pt x="29" y="77"/>
                    </a:lnTo>
                    <a:lnTo>
                      <a:pt x="29" y="85"/>
                    </a:lnTo>
                    <a:lnTo>
                      <a:pt x="30" y="95"/>
                    </a:lnTo>
                    <a:lnTo>
                      <a:pt x="34" y="103"/>
                    </a:lnTo>
                    <a:lnTo>
                      <a:pt x="38" y="111"/>
                    </a:lnTo>
                    <a:lnTo>
                      <a:pt x="44" y="118"/>
                    </a:lnTo>
                    <a:lnTo>
                      <a:pt x="44" y="118"/>
                    </a:lnTo>
                    <a:lnTo>
                      <a:pt x="53" y="124"/>
                    </a:lnTo>
                    <a:lnTo>
                      <a:pt x="61" y="129"/>
                    </a:lnTo>
                    <a:lnTo>
                      <a:pt x="72" y="133"/>
                    </a:lnTo>
                    <a:lnTo>
                      <a:pt x="81" y="133"/>
                    </a:lnTo>
                    <a:lnTo>
                      <a:pt x="92" y="133"/>
                    </a:lnTo>
                    <a:lnTo>
                      <a:pt x="102" y="129"/>
                    </a:lnTo>
                    <a:lnTo>
                      <a:pt x="111" y="124"/>
                    </a:lnTo>
                    <a:lnTo>
                      <a:pt x="119" y="118"/>
                    </a:lnTo>
                    <a:lnTo>
                      <a:pt x="119" y="118"/>
                    </a:lnTo>
                    <a:lnTo>
                      <a:pt x="126" y="110"/>
                    </a:lnTo>
                    <a:lnTo>
                      <a:pt x="131" y="100"/>
                    </a:lnTo>
                    <a:lnTo>
                      <a:pt x="134" y="89"/>
                    </a:lnTo>
                    <a:lnTo>
                      <a:pt x="135" y="80"/>
                    </a:lnTo>
                    <a:lnTo>
                      <a:pt x="134" y="69"/>
                    </a:lnTo>
                    <a:lnTo>
                      <a:pt x="131" y="60"/>
                    </a:lnTo>
                    <a:lnTo>
                      <a:pt x="126" y="50"/>
                    </a:lnTo>
                    <a:lnTo>
                      <a:pt x="119" y="42"/>
                    </a:lnTo>
                    <a:lnTo>
                      <a:pt x="119" y="42"/>
                    </a:lnTo>
                    <a:lnTo>
                      <a:pt x="112" y="35"/>
                    </a:lnTo>
                    <a:lnTo>
                      <a:pt x="104" y="31"/>
                    </a:lnTo>
                    <a:lnTo>
                      <a:pt x="96" y="29"/>
                    </a:lnTo>
                    <a:lnTo>
                      <a:pt x="87" y="27"/>
                    </a:lnTo>
                    <a:lnTo>
                      <a:pt x="77" y="27"/>
                    </a:lnTo>
                    <a:lnTo>
                      <a:pt x="69" y="29"/>
                    </a:lnTo>
                    <a:lnTo>
                      <a:pt x="60" y="31"/>
                    </a:lnTo>
                    <a:lnTo>
                      <a:pt x="52" y="35"/>
                    </a:lnTo>
                    <a:lnTo>
                      <a:pt x="52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BF0E11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88" name="Freeform 131"/>
              <p:cNvSpPr>
                <a:spLocks/>
              </p:cNvSpPr>
              <p:nvPr/>
            </p:nvSpPr>
            <p:spPr bwMode="auto">
              <a:xfrm>
                <a:off x="6602038" y="2006543"/>
                <a:ext cx="43914" cy="82028"/>
              </a:xfrm>
              <a:custGeom>
                <a:avLst/>
                <a:gdLst>
                  <a:gd name="T0" fmla="*/ 66 w 107"/>
                  <a:gd name="T1" fmla="*/ 92 h 197"/>
                  <a:gd name="T2" fmla="*/ 66 w 107"/>
                  <a:gd name="T3" fmla="*/ 0 h 197"/>
                  <a:gd name="T4" fmla="*/ 42 w 107"/>
                  <a:gd name="T5" fmla="*/ 0 h 197"/>
                  <a:gd name="T6" fmla="*/ 42 w 107"/>
                  <a:gd name="T7" fmla="*/ 92 h 197"/>
                  <a:gd name="T8" fmla="*/ 42 w 107"/>
                  <a:gd name="T9" fmla="*/ 92 h 197"/>
                  <a:gd name="T10" fmla="*/ 34 w 107"/>
                  <a:gd name="T11" fmla="*/ 93 h 197"/>
                  <a:gd name="T12" fmla="*/ 26 w 107"/>
                  <a:gd name="T13" fmla="*/ 97 h 197"/>
                  <a:gd name="T14" fmla="*/ 19 w 107"/>
                  <a:gd name="T15" fmla="*/ 103 h 197"/>
                  <a:gd name="T16" fmla="*/ 12 w 107"/>
                  <a:gd name="T17" fmla="*/ 110 h 197"/>
                  <a:gd name="T18" fmla="*/ 7 w 107"/>
                  <a:gd name="T19" fmla="*/ 118 h 197"/>
                  <a:gd name="T20" fmla="*/ 3 w 107"/>
                  <a:gd name="T21" fmla="*/ 126 h 197"/>
                  <a:gd name="T22" fmla="*/ 0 w 107"/>
                  <a:gd name="T23" fmla="*/ 134 h 197"/>
                  <a:gd name="T24" fmla="*/ 0 w 107"/>
                  <a:gd name="T25" fmla="*/ 143 h 197"/>
                  <a:gd name="T26" fmla="*/ 0 w 107"/>
                  <a:gd name="T27" fmla="*/ 143 h 197"/>
                  <a:gd name="T28" fmla="*/ 2 w 107"/>
                  <a:gd name="T29" fmla="*/ 154 h 197"/>
                  <a:gd name="T30" fmla="*/ 4 w 107"/>
                  <a:gd name="T31" fmla="*/ 165 h 197"/>
                  <a:gd name="T32" fmla="*/ 10 w 107"/>
                  <a:gd name="T33" fmla="*/ 173 h 197"/>
                  <a:gd name="T34" fmla="*/ 15 w 107"/>
                  <a:gd name="T35" fmla="*/ 181 h 197"/>
                  <a:gd name="T36" fmla="*/ 23 w 107"/>
                  <a:gd name="T37" fmla="*/ 188 h 197"/>
                  <a:gd name="T38" fmla="*/ 33 w 107"/>
                  <a:gd name="T39" fmla="*/ 192 h 197"/>
                  <a:gd name="T40" fmla="*/ 42 w 107"/>
                  <a:gd name="T41" fmla="*/ 196 h 197"/>
                  <a:gd name="T42" fmla="*/ 53 w 107"/>
                  <a:gd name="T43" fmla="*/ 197 h 197"/>
                  <a:gd name="T44" fmla="*/ 53 w 107"/>
                  <a:gd name="T45" fmla="*/ 197 h 197"/>
                  <a:gd name="T46" fmla="*/ 64 w 107"/>
                  <a:gd name="T47" fmla="*/ 196 h 197"/>
                  <a:gd name="T48" fmla="*/ 74 w 107"/>
                  <a:gd name="T49" fmla="*/ 192 h 197"/>
                  <a:gd name="T50" fmla="*/ 82 w 107"/>
                  <a:gd name="T51" fmla="*/ 188 h 197"/>
                  <a:gd name="T52" fmla="*/ 91 w 107"/>
                  <a:gd name="T53" fmla="*/ 181 h 197"/>
                  <a:gd name="T54" fmla="*/ 97 w 107"/>
                  <a:gd name="T55" fmla="*/ 173 h 197"/>
                  <a:gd name="T56" fmla="*/ 103 w 107"/>
                  <a:gd name="T57" fmla="*/ 165 h 197"/>
                  <a:gd name="T58" fmla="*/ 105 w 107"/>
                  <a:gd name="T59" fmla="*/ 154 h 197"/>
                  <a:gd name="T60" fmla="*/ 107 w 107"/>
                  <a:gd name="T61" fmla="*/ 143 h 197"/>
                  <a:gd name="T62" fmla="*/ 107 w 107"/>
                  <a:gd name="T63" fmla="*/ 143 h 197"/>
                  <a:gd name="T64" fmla="*/ 105 w 107"/>
                  <a:gd name="T65" fmla="*/ 134 h 197"/>
                  <a:gd name="T66" fmla="*/ 103 w 107"/>
                  <a:gd name="T67" fmla="*/ 126 h 197"/>
                  <a:gd name="T68" fmla="*/ 100 w 107"/>
                  <a:gd name="T69" fmla="*/ 118 h 197"/>
                  <a:gd name="T70" fmla="*/ 95 w 107"/>
                  <a:gd name="T71" fmla="*/ 111 h 197"/>
                  <a:gd name="T72" fmla="*/ 89 w 107"/>
                  <a:gd name="T73" fmla="*/ 104 h 197"/>
                  <a:gd name="T74" fmla="*/ 82 w 107"/>
                  <a:gd name="T75" fmla="*/ 99 h 197"/>
                  <a:gd name="T76" fmla="*/ 74 w 107"/>
                  <a:gd name="T77" fmla="*/ 95 h 197"/>
                  <a:gd name="T78" fmla="*/ 66 w 107"/>
                  <a:gd name="T79" fmla="*/ 92 h 197"/>
                  <a:gd name="T80" fmla="*/ 66 w 107"/>
                  <a:gd name="T81" fmla="*/ 92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07" h="197">
                    <a:moveTo>
                      <a:pt x="66" y="92"/>
                    </a:moveTo>
                    <a:lnTo>
                      <a:pt x="66" y="0"/>
                    </a:lnTo>
                    <a:lnTo>
                      <a:pt x="42" y="0"/>
                    </a:lnTo>
                    <a:lnTo>
                      <a:pt x="42" y="92"/>
                    </a:lnTo>
                    <a:lnTo>
                      <a:pt x="42" y="92"/>
                    </a:lnTo>
                    <a:lnTo>
                      <a:pt x="34" y="93"/>
                    </a:lnTo>
                    <a:lnTo>
                      <a:pt x="26" y="97"/>
                    </a:lnTo>
                    <a:lnTo>
                      <a:pt x="19" y="103"/>
                    </a:lnTo>
                    <a:lnTo>
                      <a:pt x="12" y="110"/>
                    </a:lnTo>
                    <a:lnTo>
                      <a:pt x="7" y="118"/>
                    </a:lnTo>
                    <a:lnTo>
                      <a:pt x="3" y="126"/>
                    </a:lnTo>
                    <a:lnTo>
                      <a:pt x="0" y="134"/>
                    </a:lnTo>
                    <a:lnTo>
                      <a:pt x="0" y="143"/>
                    </a:lnTo>
                    <a:lnTo>
                      <a:pt x="0" y="143"/>
                    </a:lnTo>
                    <a:lnTo>
                      <a:pt x="2" y="154"/>
                    </a:lnTo>
                    <a:lnTo>
                      <a:pt x="4" y="165"/>
                    </a:lnTo>
                    <a:lnTo>
                      <a:pt x="10" y="173"/>
                    </a:lnTo>
                    <a:lnTo>
                      <a:pt x="15" y="181"/>
                    </a:lnTo>
                    <a:lnTo>
                      <a:pt x="23" y="188"/>
                    </a:lnTo>
                    <a:lnTo>
                      <a:pt x="33" y="192"/>
                    </a:lnTo>
                    <a:lnTo>
                      <a:pt x="42" y="196"/>
                    </a:lnTo>
                    <a:lnTo>
                      <a:pt x="53" y="197"/>
                    </a:lnTo>
                    <a:lnTo>
                      <a:pt x="53" y="197"/>
                    </a:lnTo>
                    <a:lnTo>
                      <a:pt x="64" y="196"/>
                    </a:lnTo>
                    <a:lnTo>
                      <a:pt x="74" y="192"/>
                    </a:lnTo>
                    <a:lnTo>
                      <a:pt x="82" y="188"/>
                    </a:lnTo>
                    <a:lnTo>
                      <a:pt x="91" y="181"/>
                    </a:lnTo>
                    <a:lnTo>
                      <a:pt x="97" y="173"/>
                    </a:lnTo>
                    <a:lnTo>
                      <a:pt x="103" y="165"/>
                    </a:lnTo>
                    <a:lnTo>
                      <a:pt x="105" y="154"/>
                    </a:lnTo>
                    <a:lnTo>
                      <a:pt x="107" y="143"/>
                    </a:lnTo>
                    <a:lnTo>
                      <a:pt x="107" y="143"/>
                    </a:lnTo>
                    <a:lnTo>
                      <a:pt x="105" y="134"/>
                    </a:lnTo>
                    <a:lnTo>
                      <a:pt x="103" y="126"/>
                    </a:lnTo>
                    <a:lnTo>
                      <a:pt x="100" y="118"/>
                    </a:lnTo>
                    <a:lnTo>
                      <a:pt x="95" y="111"/>
                    </a:lnTo>
                    <a:lnTo>
                      <a:pt x="89" y="104"/>
                    </a:lnTo>
                    <a:lnTo>
                      <a:pt x="82" y="99"/>
                    </a:lnTo>
                    <a:lnTo>
                      <a:pt x="74" y="95"/>
                    </a:lnTo>
                    <a:lnTo>
                      <a:pt x="66" y="92"/>
                    </a:lnTo>
                    <a:lnTo>
                      <a:pt x="66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BF0E11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89" name="Group 188"/>
            <p:cNvGrpSpPr>
              <a:grpSpLocks noChangeAspect="1"/>
            </p:cNvGrpSpPr>
            <p:nvPr userDrawn="1"/>
          </p:nvGrpSpPr>
          <p:grpSpPr>
            <a:xfrm>
              <a:off x="4480561" y="4292392"/>
              <a:ext cx="213625" cy="118872"/>
              <a:chOff x="6814787" y="2785123"/>
              <a:chExt cx="240819" cy="134005"/>
            </a:xfrm>
            <a:solidFill>
              <a:schemeClr val="bg1">
                <a:lumMod val="85000"/>
                <a:alpha val="30000"/>
              </a:schemeClr>
            </a:solidFill>
          </p:grpSpPr>
          <p:sp>
            <p:nvSpPr>
              <p:cNvPr id="190" name="Freeform 7"/>
              <p:cNvSpPr>
                <a:spLocks/>
              </p:cNvSpPr>
              <p:nvPr/>
            </p:nvSpPr>
            <p:spPr bwMode="auto">
              <a:xfrm>
                <a:off x="6814787" y="2828031"/>
                <a:ext cx="240819" cy="91097"/>
              </a:xfrm>
              <a:custGeom>
                <a:avLst/>
                <a:gdLst>
                  <a:gd name="T0" fmla="*/ 396 w 791"/>
                  <a:gd name="T1" fmla="*/ 93 h 299"/>
                  <a:gd name="T2" fmla="*/ 0 w 791"/>
                  <a:gd name="T3" fmla="*/ 0 h 299"/>
                  <a:gd name="T4" fmla="*/ 0 w 791"/>
                  <a:gd name="T5" fmla="*/ 178 h 299"/>
                  <a:gd name="T6" fmla="*/ 0 w 791"/>
                  <a:gd name="T7" fmla="*/ 180 h 299"/>
                  <a:gd name="T8" fmla="*/ 116 w 791"/>
                  <a:gd name="T9" fmla="*/ 264 h 299"/>
                  <a:gd name="T10" fmla="*/ 116 w 791"/>
                  <a:gd name="T11" fmla="*/ 264 h 299"/>
                  <a:gd name="T12" fmla="*/ 327 w 791"/>
                  <a:gd name="T13" fmla="*/ 297 h 299"/>
                  <a:gd name="T14" fmla="*/ 329 w 791"/>
                  <a:gd name="T15" fmla="*/ 297 h 299"/>
                  <a:gd name="T16" fmla="*/ 394 w 791"/>
                  <a:gd name="T17" fmla="*/ 299 h 299"/>
                  <a:gd name="T18" fmla="*/ 640 w 791"/>
                  <a:gd name="T19" fmla="*/ 273 h 299"/>
                  <a:gd name="T20" fmla="*/ 644 w 791"/>
                  <a:gd name="T21" fmla="*/ 272 h 299"/>
                  <a:gd name="T22" fmla="*/ 791 w 791"/>
                  <a:gd name="T23" fmla="*/ 180 h 299"/>
                  <a:gd name="T24" fmla="*/ 791 w 791"/>
                  <a:gd name="T25" fmla="*/ 180 h 299"/>
                  <a:gd name="T26" fmla="*/ 791 w 791"/>
                  <a:gd name="T27" fmla="*/ 0 h 299"/>
                  <a:gd name="T28" fmla="*/ 396 w 791"/>
                  <a:gd name="T29" fmla="*/ 93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91" h="299">
                    <a:moveTo>
                      <a:pt x="396" y="93"/>
                    </a:moveTo>
                    <a:cubicBezTo>
                      <a:pt x="222" y="93"/>
                      <a:pt x="46" y="61"/>
                      <a:pt x="0" y="0"/>
                    </a:cubicBezTo>
                    <a:cubicBezTo>
                      <a:pt x="0" y="178"/>
                      <a:pt x="0" y="178"/>
                      <a:pt x="0" y="178"/>
                    </a:cubicBezTo>
                    <a:cubicBezTo>
                      <a:pt x="0" y="179"/>
                      <a:pt x="0" y="180"/>
                      <a:pt x="0" y="180"/>
                    </a:cubicBezTo>
                    <a:cubicBezTo>
                      <a:pt x="0" y="213"/>
                      <a:pt x="44" y="242"/>
                      <a:pt x="116" y="264"/>
                    </a:cubicBezTo>
                    <a:cubicBezTo>
                      <a:pt x="116" y="264"/>
                      <a:pt x="116" y="264"/>
                      <a:pt x="116" y="264"/>
                    </a:cubicBezTo>
                    <a:cubicBezTo>
                      <a:pt x="172" y="281"/>
                      <a:pt x="245" y="293"/>
                      <a:pt x="327" y="297"/>
                    </a:cubicBezTo>
                    <a:cubicBezTo>
                      <a:pt x="329" y="297"/>
                      <a:pt x="329" y="297"/>
                      <a:pt x="329" y="297"/>
                    </a:cubicBezTo>
                    <a:cubicBezTo>
                      <a:pt x="350" y="298"/>
                      <a:pt x="372" y="299"/>
                      <a:pt x="394" y="299"/>
                    </a:cubicBezTo>
                    <a:cubicBezTo>
                      <a:pt x="487" y="299"/>
                      <a:pt x="572" y="289"/>
                      <a:pt x="640" y="273"/>
                    </a:cubicBezTo>
                    <a:cubicBezTo>
                      <a:pt x="644" y="272"/>
                      <a:pt x="644" y="272"/>
                      <a:pt x="644" y="272"/>
                    </a:cubicBezTo>
                    <a:cubicBezTo>
                      <a:pt x="734" y="250"/>
                      <a:pt x="791" y="217"/>
                      <a:pt x="791" y="180"/>
                    </a:cubicBezTo>
                    <a:cubicBezTo>
                      <a:pt x="791" y="180"/>
                      <a:pt x="791" y="180"/>
                      <a:pt x="791" y="180"/>
                    </a:cubicBezTo>
                    <a:cubicBezTo>
                      <a:pt x="791" y="0"/>
                      <a:pt x="791" y="0"/>
                      <a:pt x="791" y="0"/>
                    </a:cubicBezTo>
                    <a:cubicBezTo>
                      <a:pt x="745" y="61"/>
                      <a:pt x="569" y="93"/>
                      <a:pt x="396" y="9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91" name="Freeform 8"/>
              <p:cNvSpPr>
                <a:spLocks noEditPoints="1"/>
              </p:cNvSpPr>
              <p:nvPr/>
            </p:nvSpPr>
            <p:spPr bwMode="auto">
              <a:xfrm>
                <a:off x="6816590" y="2785123"/>
                <a:ext cx="237469" cy="65714"/>
              </a:xfrm>
              <a:custGeom>
                <a:avLst/>
                <a:gdLst>
                  <a:gd name="T0" fmla="*/ 0 w 780"/>
                  <a:gd name="T1" fmla="*/ 108 h 216"/>
                  <a:gd name="T2" fmla="*/ 780 w 780"/>
                  <a:gd name="T3" fmla="*/ 108 h 216"/>
                  <a:gd name="T4" fmla="*/ 278 w 780"/>
                  <a:gd name="T5" fmla="*/ 38 h 216"/>
                  <a:gd name="T6" fmla="*/ 371 w 780"/>
                  <a:gd name="T7" fmla="*/ 11 h 216"/>
                  <a:gd name="T8" fmla="*/ 390 w 780"/>
                  <a:gd name="T9" fmla="*/ 10 h 216"/>
                  <a:gd name="T10" fmla="*/ 409 w 780"/>
                  <a:gd name="T11" fmla="*/ 12 h 216"/>
                  <a:gd name="T12" fmla="*/ 498 w 780"/>
                  <a:gd name="T13" fmla="*/ 47 h 216"/>
                  <a:gd name="T14" fmla="*/ 463 w 780"/>
                  <a:gd name="T15" fmla="*/ 48 h 216"/>
                  <a:gd name="T16" fmla="*/ 412 w 780"/>
                  <a:gd name="T17" fmla="*/ 85 h 216"/>
                  <a:gd name="T18" fmla="*/ 386 w 780"/>
                  <a:gd name="T19" fmla="*/ 91 h 216"/>
                  <a:gd name="T20" fmla="*/ 364 w 780"/>
                  <a:gd name="T21" fmla="*/ 33 h 216"/>
                  <a:gd name="T22" fmla="*/ 281 w 780"/>
                  <a:gd name="T23" fmla="*/ 48 h 216"/>
                  <a:gd name="T24" fmla="*/ 278 w 780"/>
                  <a:gd name="T25" fmla="*/ 38 h 216"/>
                  <a:gd name="T26" fmla="*/ 212 w 780"/>
                  <a:gd name="T27" fmla="*/ 135 h 216"/>
                  <a:gd name="T28" fmla="*/ 263 w 780"/>
                  <a:gd name="T29" fmla="*/ 111 h 216"/>
                  <a:gd name="T30" fmla="*/ 65 w 780"/>
                  <a:gd name="T31" fmla="*/ 105 h 216"/>
                  <a:gd name="T32" fmla="*/ 87 w 780"/>
                  <a:gd name="T33" fmla="*/ 97 h 216"/>
                  <a:gd name="T34" fmla="*/ 212 w 780"/>
                  <a:gd name="T35" fmla="*/ 82 h 216"/>
                  <a:gd name="T36" fmla="*/ 215 w 780"/>
                  <a:gd name="T37" fmla="*/ 72 h 216"/>
                  <a:gd name="T38" fmla="*/ 335 w 780"/>
                  <a:gd name="T39" fmla="*/ 98 h 216"/>
                  <a:gd name="T40" fmla="*/ 344 w 780"/>
                  <a:gd name="T41" fmla="*/ 104 h 216"/>
                  <a:gd name="T42" fmla="*/ 336 w 780"/>
                  <a:gd name="T43" fmla="*/ 110 h 216"/>
                  <a:gd name="T44" fmla="*/ 246 w 780"/>
                  <a:gd name="T45" fmla="*/ 136 h 216"/>
                  <a:gd name="T46" fmla="*/ 498 w 780"/>
                  <a:gd name="T47" fmla="*/ 170 h 216"/>
                  <a:gd name="T48" fmla="*/ 407 w 780"/>
                  <a:gd name="T49" fmla="*/ 196 h 216"/>
                  <a:gd name="T50" fmla="*/ 386 w 780"/>
                  <a:gd name="T51" fmla="*/ 199 h 216"/>
                  <a:gd name="T52" fmla="*/ 366 w 780"/>
                  <a:gd name="T53" fmla="*/ 196 h 216"/>
                  <a:gd name="T54" fmla="*/ 278 w 780"/>
                  <a:gd name="T55" fmla="*/ 161 h 216"/>
                  <a:gd name="T56" fmla="*/ 312 w 780"/>
                  <a:gd name="T57" fmla="*/ 160 h 216"/>
                  <a:gd name="T58" fmla="*/ 364 w 780"/>
                  <a:gd name="T59" fmla="*/ 123 h 216"/>
                  <a:gd name="T60" fmla="*/ 390 w 780"/>
                  <a:gd name="T61" fmla="*/ 117 h 216"/>
                  <a:gd name="T62" fmla="*/ 412 w 780"/>
                  <a:gd name="T63" fmla="*/ 175 h 216"/>
                  <a:gd name="T64" fmla="*/ 494 w 780"/>
                  <a:gd name="T65" fmla="*/ 160 h 216"/>
                  <a:gd name="T66" fmla="*/ 498 w 780"/>
                  <a:gd name="T67" fmla="*/ 170 h 216"/>
                  <a:gd name="T68" fmla="*/ 689 w 780"/>
                  <a:gd name="T69" fmla="*/ 111 h 216"/>
                  <a:gd name="T70" fmla="*/ 563 w 780"/>
                  <a:gd name="T71" fmla="*/ 126 h 216"/>
                  <a:gd name="T72" fmla="*/ 560 w 780"/>
                  <a:gd name="T73" fmla="*/ 136 h 216"/>
                  <a:gd name="T74" fmla="*/ 441 w 780"/>
                  <a:gd name="T75" fmla="*/ 110 h 216"/>
                  <a:gd name="T76" fmla="*/ 431 w 780"/>
                  <a:gd name="T77" fmla="*/ 105 h 216"/>
                  <a:gd name="T78" fmla="*/ 437 w 780"/>
                  <a:gd name="T79" fmla="*/ 99 h 216"/>
                  <a:gd name="T80" fmla="*/ 529 w 780"/>
                  <a:gd name="T81" fmla="*/ 72 h 216"/>
                  <a:gd name="T82" fmla="*/ 563 w 780"/>
                  <a:gd name="T83" fmla="*/ 73 h 216"/>
                  <a:gd name="T84" fmla="*/ 511 w 780"/>
                  <a:gd name="T85" fmla="*/ 97 h 216"/>
                  <a:gd name="T86" fmla="*/ 711 w 780"/>
                  <a:gd name="T87" fmla="*/ 104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780" h="216">
                    <a:moveTo>
                      <a:pt x="390" y="0"/>
                    </a:moveTo>
                    <a:cubicBezTo>
                      <a:pt x="174" y="0"/>
                      <a:pt x="0" y="48"/>
                      <a:pt x="0" y="108"/>
                    </a:cubicBezTo>
                    <a:cubicBezTo>
                      <a:pt x="0" y="168"/>
                      <a:pt x="174" y="216"/>
                      <a:pt x="390" y="216"/>
                    </a:cubicBezTo>
                    <a:cubicBezTo>
                      <a:pt x="605" y="216"/>
                      <a:pt x="780" y="168"/>
                      <a:pt x="780" y="108"/>
                    </a:cubicBezTo>
                    <a:cubicBezTo>
                      <a:pt x="780" y="48"/>
                      <a:pt x="605" y="0"/>
                      <a:pt x="390" y="0"/>
                    </a:cubicBezTo>
                    <a:close/>
                    <a:moveTo>
                      <a:pt x="278" y="38"/>
                    </a:moveTo>
                    <a:cubicBezTo>
                      <a:pt x="366" y="12"/>
                      <a:pt x="366" y="12"/>
                      <a:pt x="366" y="12"/>
                    </a:cubicBezTo>
                    <a:cubicBezTo>
                      <a:pt x="368" y="12"/>
                      <a:pt x="369" y="12"/>
                      <a:pt x="371" y="11"/>
                    </a:cubicBezTo>
                    <a:cubicBezTo>
                      <a:pt x="375" y="10"/>
                      <a:pt x="380" y="10"/>
                      <a:pt x="386" y="10"/>
                    </a:cubicBezTo>
                    <a:cubicBezTo>
                      <a:pt x="390" y="10"/>
                      <a:pt x="390" y="10"/>
                      <a:pt x="390" y="10"/>
                    </a:cubicBezTo>
                    <a:cubicBezTo>
                      <a:pt x="397" y="10"/>
                      <a:pt x="403" y="11"/>
                      <a:pt x="407" y="12"/>
                    </a:cubicBezTo>
                    <a:cubicBezTo>
                      <a:pt x="408" y="12"/>
                      <a:pt x="408" y="12"/>
                      <a:pt x="409" y="12"/>
                    </a:cubicBezTo>
                    <a:cubicBezTo>
                      <a:pt x="498" y="38"/>
                      <a:pt x="498" y="38"/>
                      <a:pt x="498" y="38"/>
                    </a:cubicBezTo>
                    <a:cubicBezTo>
                      <a:pt x="506" y="41"/>
                      <a:pt x="506" y="45"/>
                      <a:pt x="498" y="47"/>
                    </a:cubicBezTo>
                    <a:cubicBezTo>
                      <a:pt x="494" y="48"/>
                      <a:pt x="494" y="48"/>
                      <a:pt x="494" y="48"/>
                    </a:cubicBezTo>
                    <a:cubicBezTo>
                      <a:pt x="486" y="51"/>
                      <a:pt x="472" y="51"/>
                      <a:pt x="463" y="48"/>
                    </a:cubicBezTo>
                    <a:cubicBezTo>
                      <a:pt x="412" y="33"/>
                      <a:pt x="412" y="33"/>
                      <a:pt x="412" y="33"/>
                    </a:cubicBezTo>
                    <a:cubicBezTo>
                      <a:pt x="412" y="85"/>
                      <a:pt x="412" y="85"/>
                      <a:pt x="412" y="85"/>
                    </a:cubicBezTo>
                    <a:cubicBezTo>
                      <a:pt x="412" y="89"/>
                      <a:pt x="402" y="91"/>
                      <a:pt x="390" y="91"/>
                    </a:cubicBezTo>
                    <a:cubicBezTo>
                      <a:pt x="386" y="91"/>
                      <a:pt x="386" y="91"/>
                      <a:pt x="386" y="91"/>
                    </a:cubicBezTo>
                    <a:cubicBezTo>
                      <a:pt x="374" y="91"/>
                      <a:pt x="364" y="89"/>
                      <a:pt x="364" y="85"/>
                    </a:cubicBezTo>
                    <a:cubicBezTo>
                      <a:pt x="364" y="33"/>
                      <a:pt x="364" y="33"/>
                      <a:pt x="364" y="33"/>
                    </a:cubicBezTo>
                    <a:cubicBezTo>
                      <a:pt x="312" y="48"/>
                      <a:pt x="312" y="48"/>
                      <a:pt x="312" y="48"/>
                    </a:cubicBezTo>
                    <a:cubicBezTo>
                      <a:pt x="303" y="51"/>
                      <a:pt x="289" y="51"/>
                      <a:pt x="281" y="48"/>
                    </a:cubicBezTo>
                    <a:cubicBezTo>
                      <a:pt x="278" y="47"/>
                      <a:pt x="278" y="47"/>
                      <a:pt x="278" y="47"/>
                    </a:cubicBezTo>
                    <a:cubicBezTo>
                      <a:pt x="269" y="45"/>
                      <a:pt x="269" y="41"/>
                      <a:pt x="278" y="38"/>
                    </a:cubicBezTo>
                    <a:close/>
                    <a:moveTo>
                      <a:pt x="215" y="136"/>
                    </a:moveTo>
                    <a:cubicBezTo>
                      <a:pt x="212" y="135"/>
                      <a:pt x="212" y="135"/>
                      <a:pt x="212" y="135"/>
                    </a:cubicBezTo>
                    <a:cubicBezTo>
                      <a:pt x="203" y="133"/>
                      <a:pt x="203" y="129"/>
                      <a:pt x="212" y="126"/>
                    </a:cubicBezTo>
                    <a:cubicBezTo>
                      <a:pt x="263" y="111"/>
                      <a:pt x="263" y="111"/>
                      <a:pt x="263" y="111"/>
                    </a:cubicBezTo>
                    <a:cubicBezTo>
                      <a:pt x="87" y="111"/>
                      <a:pt x="87" y="111"/>
                      <a:pt x="87" y="111"/>
                    </a:cubicBezTo>
                    <a:cubicBezTo>
                      <a:pt x="74" y="111"/>
                      <a:pt x="65" y="108"/>
                      <a:pt x="65" y="105"/>
                    </a:cubicBezTo>
                    <a:cubicBezTo>
                      <a:pt x="65" y="104"/>
                      <a:pt x="65" y="104"/>
                      <a:pt x="65" y="104"/>
                    </a:cubicBezTo>
                    <a:cubicBezTo>
                      <a:pt x="65" y="100"/>
                      <a:pt x="74" y="97"/>
                      <a:pt x="87" y="97"/>
                    </a:cubicBezTo>
                    <a:cubicBezTo>
                      <a:pt x="264" y="97"/>
                      <a:pt x="264" y="97"/>
                      <a:pt x="264" y="97"/>
                    </a:cubicBezTo>
                    <a:cubicBezTo>
                      <a:pt x="212" y="82"/>
                      <a:pt x="212" y="82"/>
                      <a:pt x="212" y="82"/>
                    </a:cubicBezTo>
                    <a:cubicBezTo>
                      <a:pt x="203" y="80"/>
                      <a:pt x="203" y="75"/>
                      <a:pt x="212" y="73"/>
                    </a:cubicBezTo>
                    <a:cubicBezTo>
                      <a:pt x="215" y="72"/>
                      <a:pt x="215" y="72"/>
                      <a:pt x="215" y="72"/>
                    </a:cubicBezTo>
                    <a:cubicBezTo>
                      <a:pt x="224" y="70"/>
                      <a:pt x="238" y="70"/>
                      <a:pt x="246" y="72"/>
                    </a:cubicBezTo>
                    <a:cubicBezTo>
                      <a:pt x="335" y="98"/>
                      <a:pt x="335" y="98"/>
                      <a:pt x="335" y="98"/>
                    </a:cubicBezTo>
                    <a:cubicBezTo>
                      <a:pt x="336" y="98"/>
                      <a:pt x="337" y="99"/>
                      <a:pt x="338" y="99"/>
                    </a:cubicBezTo>
                    <a:cubicBezTo>
                      <a:pt x="342" y="100"/>
                      <a:pt x="344" y="102"/>
                      <a:pt x="344" y="104"/>
                    </a:cubicBezTo>
                    <a:cubicBezTo>
                      <a:pt x="344" y="105"/>
                      <a:pt x="344" y="105"/>
                      <a:pt x="344" y="105"/>
                    </a:cubicBezTo>
                    <a:cubicBezTo>
                      <a:pt x="344" y="107"/>
                      <a:pt x="341" y="109"/>
                      <a:pt x="336" y="110"/>
                    </a:cubicBezTo>
                    <a:cubicBezTo>
                      <a:pt x="336" y="110"/>
                      <a:pt x="335" y="110"/>
                      <a:pt x="335" y="110"/>
                    </a:cubicBezTo>
                    <a:cubicBezTo>
                      <a:pt x="246" y="136"/>
                      <a:pt x="246" y="136"/>
                      <a:pt x="246" y="136"/>
                    </a:cubicBezTo>
                    <a:cubicBezTo>
                      <a:pt x="238" y="139"/>
                      <a:pt x="224" y="139"/>
                      <a:pt x="215" y="136"/>
                    </a:cubicBezTo>
                    <a:close/>
                    <a:moveTo>
                      <a:pt x="498" y="170"/>
                    </a:moveTo>
                    <a:cubicBezTo>
                      <a:pt x="409" y="196"/>
                      <a:pt x="409" y="196"/>
                      <a:pt x="409" y="196"/>
                    </a:cubicBezTo>
                    <a:cubicBezTo>
                      <a:pt x="408" y="196"/>
                      <a:pt x="408" y="196"/>
                      <a:pt x="407" y="196"/>
                    </a:cubicBezTo>
                    <a:cubicBezTo>
                      <a:pt x="403" y="198"/>
                      <a:pt x="397" y="199"/>
                      <a:pt x="390" y="199"/>
                    </a:cubicBezTo>
                    <a:cubicBezTo>
                      <a:pt x="386" y="199"/>
                      <a:pt x="386" y="199"/>
                      <a:pt x="386" y="199"/>
                    </a:cubicBezTo>
                    <a:cubicBezTo>
                      <a:pt x="380" y="199"/>
                      <a:pt x="375" y="198"/>
                      <a:pt x="371" y="197"/>
                    </a:cubicBezTo>
                    <a:cubicBezTo>
                      <a:pt x="369" y="197"/>
                      <a:pt x="368" y="196"/>
                      <a:pt x="366" y="196"/>
                    </a:cubicBezTo>
                    <a:cubicBezTo>
                      <a:pt x="278" y="170"/>
                      <a:pt x="278" y="170"/>
                      <a:pt x="278" y="170"/>
                    </a:cubicBezTo>
                    <a:cubicBezTo>
                      <a:pt x="269" y="167"/>
                      <a:pt x="269" y="163"/>
                      <a:pt x="278" y="161"/>
                    </a:cubicBezTo>
                    <a:cubicBezTo>
                      <a:pt x="281" y="160"/>
                      <a:pt x="281" y="160"/>
                      <a:pt x="281" y="160"/>
                    </a:cubicBezTo>
                    <a:cubicBezTo>
                      <a:pt x="289" y="157"/>
                      <a:pt x="303" y="157"/>
                      <a:pt x="312" y="160"/>
                    </a:cubicBezTo>
                    <a:cubicBezTo>
                      <a:pt x="364" y="175"/>
                      <a:pt x="364" y="175"/>
                      <a:pt x="364" y="175"/>
                    </a:cubicBezTo>
                    <a:cubicBezTo>
                      <a:pt x="364" y="123"/>
                      <a:pt x="364" y="123"/>
                      <a:pt x="364" y="123"/>
                    </a:cubicBezTo>
                    <a:cubicBezTo>
                      <a:pt x="364" y="120"/>
                      <a:pt x="374" y="117"/>
                      <a:pt x="386" y="117"/>
                    </a:cubicBezTo>
                    <a:cubicBezTo>
                      <a:pt x="390" y="117"/>
                      <a:pt x="390" y="117"/>
                      <a:pt x="390" y="117"/>
                    </a:cubicBezTo>
                    <a:cubicBezTo>
                      <a:pt x="402" y="117"/>
                      <a:pt x="412" y="120"/>
                      <a:pt x="412" y="123"/>
                    </a:cubicBezTo>
                    <a:cubicBezTo>
                      <a:pt x="412" y="175"/>
                      <a:pt x="412" y="175"/>
                      <a:pt x="412" y="175"/>
                    </a:cubicBezTo>
                    <a:cubicBezTo>
                      <a:pt x="463" y="160"/>
                      <a:pt x="463" y="160"/>
                      <a:pt x="463" y="160"/>
                    </a:cubicBezTo>
                    <a:cubicBezTo>
                      <a:pt x="472" y="157"/>
                      <a:pt x="486" y="157"/>
                      <a:pt x="494" y="160"/>
                    </a:cubicBezTo>
                    <a:cubicBezTo>
                      <a:pt x="498" y="161"/>
                      <a:pt x="498" y="161"/>
                      <a:pt x="498" y="161"/>
                    </a:cubicBezTo>
                    <a:cubicBezTo>
                      <a:pt x="506" y="163"/>
                      <a:pt x="506" y="167"/>
                      <a:pt x="498" y="170"/>
                    </a:cubicBezTo>
                    <a:close/>
                    <a:moveTo>
                      <a:pt x="711" y="105"/>
                    </a:moveTo>
                    <a:cubicBezTo>
                      <a:pt x="711" y="108"/>
                      <a:pt x="701" y="111"/>
                      <a:pt x="689" y="111"/>
                    </a:cubicBezTo>
                    <a:cubicBezTo>
                      <a:pt x="512" y="111"/>
                      <a:pt x="512" y="111"/>
                      <a:pt x="512" y="111"/>
                    </a:cubicBezTo>
                    <a:cubicBezTo>
                      <a:pt x="563" y="126"/>
                      <a:pt x="563" y="126"/>
                      <a:pt x="563" y="126"/>
                    </a:cubicBezTo>
                    <a:cubicBezTo>
                      <a:pt x="572" y="129"/>
                      <a:pt x="572" y="133"/>
                      <a:pt x="563" y="135"/>
                    </a:cubicBezTo>
                    <a:cubicBezTo>
                      <a:pt x="560" y="136"/>
                      <a:pt x="560" y="136"/>
                      <a:pt x="560" y="136"/>
                    </a:cubicBezTo>
                    <a:cubicBezTo>
                      <a:pt x="552" y="139"/>
                      <a:pt x="538" y="139"/>
                      <a:pt x="529" y="136"/>
                    </a:cubicBezTo>
                    <a:cubicBezTo>
                      <a:pt x="441" y="110"/>
                      <a:pt x="441" y="110"/>
                      <a:pt x="441" y="110"/>
                    </a:cubicBezTo>
                    <a:cubicBezTo>
                      <a:pt x="440" y="110"/>
                      <a:pt x="440" y="110"/>
                      <a:pt x="439" y="110"/>
                    </a:cubicBezTo>
                    <a:cubicBezTo>
                      <a:pt x="434" y="109"/>
                      <a:pt x="431" y="107"/>
                      <a:pt x="431" y="105"/>
                    </a:cubicBezTo>
                    <a:cubicBezTo>
                      <a:pt x="431" y="104"/>
                      <a:pt x="431" y="104"/>
                      <a:pt x="431" y="104"/>
                    </a:cubicBezTo>
                    <a:cubicBezTo>
                      <a:pt x="431" y="102"/>
                      <a:pt x="434" y="100"/>
                      <a:pt x="437" y="99"/>
                    </a:cubicBezTo>
                    <a:cubicBezTo>
                      <a:pt x="438" y="99"/>
                      <a:pt x="439" y="98"/>
                      <a:pt x="441" y="98"/>
                    </a:cubicBezTo>
                    <a:cubicBezTo>
                      <a:pt x="529" y="72"/>
                      <a:pt x="529" y="72"/>
                      <a:pt x="529" y="72"/>
                    </a:cubicBezTo>
                    <a:cubicBezTo>
                      <a:pt x="538" y="70"/>
                      <a:pt x="552" y="70"/>
                      <a:pt x="560" y="72"/>
                    </a:cubicBezTo>
                    <a:cubicBezTo>
                      <a:pt x="563" y="73"/>
                      <a:pt x="563" y="73"/>
                      <a:pt x="563" y="73"/>
                    </a:cubicBezTo>
                    <a:cubicBezTo>
                      <a:pt x="572" y="75"/>
                      <a:pt x="572" y="80"/>
                      <a:pt x="563" y="82"/>
                    </a:cubicBezTo>
                    <a:cubicBezTo>
                      <a:pt x="511" y="97"/>
                      <a:pt x="511" y="97"/>
                      <a:pt x="511" y="97"/>
                    </a:cubicBezTo>
                    <a:cubicBezTo>
                      <a:pt x="689" y="97"/>
                      <a:pt x="689" y="97"/>
                      <a:pt x="689" y="97"/>
                    </a:cubicBezTo>
                    <a:cubicBezTo>
                      <a:pt x="701" y="97"/>
                      <a:pt x="711" y="100"/>
                      <a:pt x="711" y="104"/>
                    </a:cubicBezTo>
                    <a:lnTo>
                      <a:pt x="711" y="10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92" name="Freeform 17"/>
            <p:cNvSpPr>
              <a:spLocks noChangeAspect="1" noEditPoints="1"/>
            </p:cNvSpPr>
            <p:nvPr userDrawn="1"/>
          </p:nvSpPr>
          <p:spPr bwMode="auto">
            <a:xfrm>
              <a:off x="4984525" y="2446670"/>
              <a:ext cx="182880" cy="148520"/>
            </a:xfrm>
            <a:custGeom>
              <a:avLst/>
              <a:gdLst>
                <a:gd name="T0" fmla="*/ 166 w 409"/>
                <a:gd name="T1" fmla="*/ 165 h 332"/>
                <a:gd name="T2" fmla="*/ 145 w 409"/>
                <a:gd name="T3" fmla="*/ 165 h 332"/>
                <a:gd name="T4" fmla="*/ 159 w 409"/>
                <a:gd name="T5" fmla="*/ 286 h 332"/>
                <a:gd name="T6" fmla="*/ 250 w 409"/>
                <a:gd name="T7" fmla="*/ 286 h 332"/>
                <a:gd name="T8" fmla="*/ 180 w 409"/>
                <a:gd name="T9" fmla="*/ 300 h 332"/>
                <a:gd name="T10" fmla="*/ 229 w 409"/>
                <a:gd name="T11" fmla="*/ 300 h 332"/>
                <a:gd name="T12" fmla="*/ 204 w 409"/>
                <a:gd name="T13" fmla="*/ 90 h 332"/>
                <a:gd name="T14" fmla="*/ 204 w 409"/>
                <a:gd name="T15" fmla="*/ 0 h 332"/>
                <a:gd name="T16" fmla="*/ 204 w 409"/>
                <a:gd name="T17" fmla="*/ 90 h 332"/>
                <a:gd name="T18" fmla="*/ 204 w 409"/>
                <a:gd name="T19" fmla="*/ 67 h 332"/>
                <a:gd name="T20" fmla="*/ 229 w 409"/>
                <a:gd name="T21" fmla="*/ 31 h 332"/>
                <a:gd name="T22" fmla="*/ 0 w 409"/>
                <a:gd name="T23" fmla="*/ 166 h 332"/>
                <a:gd name="T24" fmla="*/ 91 w 409"/>
                <a:gd name="T25" fmla="*/ 166 h 332"/>
                <a:gd name="T26" fmla="*/ 30 w 409"/>
                <a:gd name="T27" fmla="*/ 190 h 332"/>
                <a:gd name="T28" fmla="*/ 67 w 409"/>
                <a:gd name="T29" fmla="*/ 166 h 332"/>
                <a:gd name="T30" fmla="*/ 363 w 409"/>
                <a:gd name="T31" fmla="*/ 120 h 332"/>
                <a:gd name="T32" fmla="*/ 363 w 409"/>
                <a:gd name="T33" fmla="*/ 211 h 332"/>
                <a:gd name="T34" fmla="*/ 363 w 409"/>
                <a:gd name="T35" fmla="*/ 120 h 332"/>
                <a:gd name="T36" fmla="*/ 342 w 409"/>
                <a:gd name="T37" fmla="*/ 166 h 332"/>
                <a:gd name="T38" fmla="*/ 379 w 409"/>
                <a:gd name="T39" fmla="*/ 190 h 332"/>
                <a:gd name="T40" fmla="*/ 246 w 409"/>
                <a:gd name="T41" fmla="*/ 79 h 332"/>
                <a:gd name="T42" fmla="*/ 163 w 409"/>
                <a:gd name="T43" fmla="*/ 79 h 332"/>
                <a:gd name="T44" fmla="*/ 100 w 409"/>
                <a:gd name="T45" fmla="*/ 166 h 332"/>
                <a:gd name="T46" fmla="*/ 163 w 409"/>
                <a:gd name="T47" fmla="*/ 253 h 332"/>
                <a:gd name="T48" fmla="*/ 246 w 409"/>
                <a:gd name="T49" fmla="*/ 253 h 332"/>
                <a:gd name="T50" fmla="*/ 309 w 409"/>
                <a:gd name="T51" fmla="*/ 166 h 332"/>
                <a:gd name="T52" fmla="*/ 172 w 409"/>
                <a:gd name="T53" fmla="*/ 181 h 332"/>
                <a:gd name="T54" fmla="*/ 144 w 409"/>
                <a:gd name="T55" fmla="*/ 168 h 332"/>
                <a:gd name="T56" fmla="*/ 135 w 409"/>
                <a:gd name="T57" fmla="*/ 181 h 332"/>
                <a:gd name="T58" fmla="*/ 158 w 409"/>
                <a:gd name="T59" fmla="*/ 136 h 332"/>
                <a:gd name="T60" fmla="*/ 172 w 409"/>
                <a:gd name="T61" fmla="*/ 181 h 332"/>
                <a:gd name="T62" fmla="*/ 185 w 409"/>
                <a:gd name="T63" fmla="*/ 163 h 332"/>
                <a:gd name="T64" fmla="*/ 181 w 409"/>
                <a:gd name="T65" fmla="*/ 181 h 332"/>
                <a:gd name="T66" fmla="*/ 196 w 409"/>
                <a:gd name="T67" fmla="*/ 136 h 332"/>
                <a:gd name="T68" fmla="*/ 196 w 409"/>
                <a:gd name="T69" fmla="*/ 163 h 332"/>
                <a:gd name="T70" fmla="*/ 220 w 409"/>
                <a:gd name="T71" fmla="*/ 181 h 332"/>
                <a:gd name="T72" fmla="*/ 224 w 409"/>
                <a:gd name="T73" fmla="*/ 136 h 332"/>
                <a:gd name="T74" fmla="*/ 252 w 409"/>
                <a:gd name="T75" fmla="*/ 179 h 332"/>
                <a:gd name="T76" fmla="*/ 271 w 409"/>
                <a:gd name="T77" fmla="*/ 166 h 332"/>
                <a:gd name="T78" fmla="*/ 232 w 409"/>
                <a:gd name="T79" fmla="*/ 159 h 332"/>
                <a:gd name="T80" fmla="*/ 271 w 409"/>
                <a:gd name="T81" fmla="*/ 149 h 332"/>
                <a:gd name="T82" fmla="*/ 252 w 409"/>
                <a:gd name="T83" fmla="*/ 138 h 332"/>
                <a:gd name="T84" fmla="*/ 252 w 409"/>
                <a:gd name="T85" fmla="*/ 179 h 332"/>
                <a:gd name="T86" fmla="*/ 185 w 409"/>
                <a:gd name="T87" fmla="*/ 139 h 332"/>
                <a:gd name="T88" fmla="*/ 196 w 409"/>
                <a:gd name="T89" fmla="*/ 160 h 332"/>
                <a:gd name="T90" fmla="*/ 196 w 409"/>
                <a:gd name="T91" fmla="*/ 13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09" h="332">
                  <a:moveTo>
                    <a:pt x="145" y="165"/>
                  </a:moveTo>
                  <a:cubicBezTo>
                    <a:pt x="166" y="165"/>
                    <a:pt x="166" y="165"/>
                    <a:pt x="166" y="165"/>
                  </a:cubicBezTo>
                  <a:cubicBezTo>
                    <a:pt x="156" y="139"/>
                    <a:pt x="156" y="139"/>
                    <a:pt x="156" y="139"/>
                  </a:cubicBezTo>
                  <a:lnTo>
                    <a:pt x="145" y="165"/>
                  </a:lnTo>
                  <a:close/>
                  <a:moveTo>
                    <a:pt x="204" y="241"/>
                  </a:moveTo>
                  <a:cubicBezTo>
                    <a:pt x="179" y="241"/>
                    <a:pt x="159" y="261"/>
                    <a:pt x="159" y="286"/>
                  </a:cubicBezTo>
                  <a:cubicBezTo>
                    <a:pt x="159" y="311"/>
                    <a:pt x="179" y="332"/>
                    <a:pt x="204" y="332"/>
                  </a:cubicBezTo>
                  <a:cubicBezTo>
                    <a:pt x="229" y="332"/>
                    <a:pt x="250" y="311"/>
                    <a:pt x="250" y="286"/>
                  </a:cubicBezTo>
                  <a:cubicBezTo>
                    <a:pt x="250" y="261"/>
                    <a:pt x="229" y="241"/>
                    <a:pt x="204" y="241"/>
                  </a:cubicBezTo>
                  <a:close/>
                  <a:moveTo>
                    <a:pt x="180" y="300"/>
                  </a:moveTo>
                  <a:cubicBezTo>
                    <a:pt x="204" y="263"/>
                    <a:pt x="204" y="263"/>
                    <a:pt x="204" y="263"/>
                  </a:cubicBezTo>
                  <a:cubicBezTo>
                    <a:pt x="229" y="300"/>
                    <a:pt x="229" y="300"/>
                    <a:pt x="229" y="300"/>
                  </a:cubicBezTo>
                  <a:lnTo>
                    <a:pt x="180" y="300"/>
                  </a:lnTo>
                  <a:close/>
                  <a:moveTo>
                    <a:pt x="204" y="90"/>
                  </a:moveTo>
                  <a:cubicBezTo>
                    <a:pt x="229" y="90"/>
                    <a:pt x="250" y="70"/>
                    <a:pt x="250" y="45"/>
                  </a:cubicBezTo>
                  <a:cubicBezTo>
                    <a:pt x="250" y="20"/>
                    <a:pt x="229" y="0"/>
                    <a:pt x="204" y="0"/>
                  </a:cubicBezTo>
                  <a:cubicBezTo>
                    <a:pt x="179" y="0"/>
                    <a:pt x="159" y="20"/>
                    <a:pt x="159" y="45"/>
                  </a:cubicBezTo>
                  <a:cubicBezTo>
                    <a:pt x="159" y="70"/>
                    <a:pt x="179" y="90"/>
                    <a:pt x="204" y="90"/>
                  </a:cubicBezTo>
                  <a:close/>
                  <a:moveTo>
                    <a:pt x="229" y="31"/>
                  </a:moveTo>
                  <a:cubicBezTo>
                    <a:pt x="204" y="67"/>
                    <a:pt x="204" y="67"/>
                    <a:pt x="204" y="67"/>
                  </a:cubicBezTo>
                  <a:cubicBezTo>
                    <a:pt x="180" y="31"/>
                    <a:pt x="180" y="31"/>
                    <a:pt x="180" y="31"/>
                  </a:cubicBezTo>
                  <a:lnTo>
                    <a:pt x="229" y="31"/>
                  </a:lnTo>
                  <a:close/>
                  <a:moveTo>
                    <a:pt x="46" y="120"/>
                  </a:moveTo>
                  <a:cubicBezTo>
                    <a:pt x="21" y="120"/>
                    <a:pt x="0" y="141"/>
                    <a:pt x="0" y="166"/>
                  </a:cubicBezTo>
                  <a:cubicBezTo>
                    <a:pt x="0" y="191"/>
                    <a:pt x="21" y="211"/>
                    <a:pt x="46" y="211"/>
                  </a:cubicBezTo>
                  <a:cubicBezTo>
                    <a:pt x="71" y="211"/>
                    <a:pt x="91" y="191"/>
                    <a:pt x="91" y="166"/>
                  </a:cubicBezTo>
                  <a:cubicBezTo>
                    <a:pt x="91" y="141"/>
                    <a:pt x="71" y="120"/>
                    <a:pt x="46" y="120"/>
                  </a:cubicBezTo>
                  <a:close/>
                  <a:moveTo>
                    <a:pt x="30" y="190"/>
                  </a:moveTo>
                  <a:cubicBezTo>
                    <a:pt x="30" y="141"/>
                    <a:pt x="30" y="141"/>
                    <a:pt x="30" y="141"/>
                  </a:cubicBezTo>
                  <a:cubicBezTo>
                    <a:pt x="67" y="166"/>
                    <a:pt x="67" y="166"/>
                    <a:pt x="67" y="166"/>
                  </a:cubicBezTo>
                  <a:lnTo>
                    <a:pt x="30" y="190"/>
                  </a:lnTo>
                  <a:close/>
                  <a:moveTo>
                    <a:pt x="363" y="120"/>
                  </a:moveTo>
                  <a:cubicBezTo>
                    <a:pt x="338" y="120"/>
                    <a:pt x="318" y="141"/>
                    <a:pt x="318" y="166"/>
                  </a:cubicBezTo>
                  <a:cubicBezTo>
                    <a:pt x="318" y="191"/>
                    <a:pt x="338" y="211"/>
                    <a:pt x="363" y="211"/>
                  </a:cubicBezTo>
                  <a:cubicBezTo>
                    <a:pt x="388" y="211"/>
                    <a:pt x="409" y="191"/>
                    <a:pt x="409" y="166"/>
                  </a:cubicBezTo>
                  <a:cubicBezTo>
                    <a:pt x="409" y="141"/>
                    <a:pt x="388" y="120"/>
                    <a:pt x="363" y="120"/>
                  </a:cubicBezTo>
                  <a:close/>
                  <a:moveTo>
                    <a:pt x="379" y="190"/>
                  </a:moveTo>
                  <a:cubicBezTo>
                    <a:pt x="342" y="166"/>
                    <a:pt x="342" y="166"/>
                    <a:pt x="342" y="166"/>
                  </a:cubicBezTo>
                  <a:cubicBezTo>
                    <a:pt x="379" y="141"/>
                    <a:pt x="379" y="141"/>
                    <a:pt x="379" y="141"/>
                  </a:cubicBezTo>
                  <a:lnTo>
                    <a:pt x="379" y="190"/>
                  </a:lnTo>
                  <a:close/>
                  <a:moveTo>
                    <a:pt x="320" y="133"/>
                  </a:moveTo>
                  <a:cubicBezTo>
                    <a:pt x="246" y="79"/>
                    <a:pt x="246" y="79"/>
                    <a:pt x="246" y="79"/>
                  </a:cubicBezTo>
                  <a:cubicBezTo>
                    <a:pt x="237" y="91"/>
                    <a:pt x="221" y="100"/>
                    <a:pt x="204" y="100"/>
                  </a:cubicBezTo>
                  <a:cubicBezTo>
                    <a:pt x="187" y="100"/>
                    <a:pt x="172" y="91"/>
                    <a:pt x="163" y="79"/>
                  </a:cubicBezTo>
                  <a:cubicBezTo>
                    <a:pt x="89" y="133"/>
                    <a:pt x="89" y="133"/>
                    <a:pt x="89" y="133"/>
                  </a:cubicBezTo>
                  <a:cubicBezTo>
                    <a:pt x="96" y="142"/>
                    <a:pt x="100" y="153"/>
                    <a:pt x="100" y="166"/>
                  </a:cubicBezTo>
                  <a:cubicBezTo>
                    <a:pt x="100" y="178"/>
                    <a:pt x="96" y="189"/>
                    <a:pt x="89" y="198"/>
                  </a:cubicBezTo>
                  <a:cubicBezTo>
                    <a:pt x="163" y="253"/>
                    <a:pt x="163" y="253"/>
                    <a:pt x="163" y="253"/>
                  </a:cubicBezTo>
                  <a:cubicBezTo>
                    <a:pt x="172" y="240"/>
                    <a:pt x="187" y="232"/>
                    <a:pt x="204" y="232"/>
                  </a:cubicBezTo>
                  <a:cubicBezTo>
                    <a:pt x="221" y="232"/>
                    <a:pt x="237" y="240"/>
                    <a:pt x="246" y="253"/>
                  </a:cubicBezTo>
                  <a:cubicBezTo>
                    <a:pt x="320" y="198"/>
                    <a:pt x="320" y="198"/>
                    <a:pt x="320" y="198"/>
                  </a:cubicBezTo>
                  <a:cubicBezTo>
                    <a:pt x="313" y="189"/>
                    <a:pt x="309" y="178"/>
                    <a:pt x="309" y="166"/>
                  </a:cubicBezTo>
                  <a:cubicBezTo>
                    <a:pt x="309" y="153"/>
                    <a:pt x="313" y="142"/>
                    <a:pt x="320" y="133"/>
                  </a:cubicBezTo>
                  <a:close/>
                  <a:moveTo>
                    <a:pt x="172" y="181"/>
                  </a:moveTo>
                  <a:cubicBezTo>
                    <a:pt x="167" y="168"/>
                    <a:pt x="167" y="168"/>
                    <a:pt x="167" y="168"/>
                  </a:cubicBezTo>
                  <a:cubicBezTo>
                    <a:pt x="144" y="168"/>
                    <a:pt x="144" y="168"/>
                    <a:pt x="144" y="168"/>
                  </a:cubicBezTo>
                  <a:cubicBezTo>
                    <a:pt x="139" y="181"/>
                    <a:pt x="139" y="181"/>
                    <a:pt x="139" y="181"/>
                  </a:cubicBezTo>
                  <a:cubicBezTo>
                    <a:pt x="135" y="181"/>
                    <a:pt x="135" y="181"/>
                    <a:pt x="135" y="181"/>
                  </a:cubicBezTo>
                  <a:cubicBezTo>
                    <a:pt x="153" y="136"/>
                    <a:pt x="153" y="136"/>
                    <a:pt x="153" y="136"/>
                  </a:cubicBezTo>
                  <a:cubicBezTo>
                    <a:pt x="158" y="136"/>
                    <a:pt x="158" y="136"/>
                    <a:pt x="158" y="136"/>
                  </a:cubicBezTo>
                  <a:cubicBezTo>
                    <a:pt x="176" y="181"/>
                    <a:pt x="176" y="181"/>
                    <a:pt x="176" y="181"/>
                  </a:cubicBezTo>
                  <a:lnTo>
                    <a:pt x="172" y="181"/>
                  </a:lnTo>
                  <a:close/>
                  <a:moveTo>
                    <a:pt x="196" y="163"/>
                  </a:moveTo>
                  <a:cubicBezTo>
                    <a:pt x="185" y="163"/>
                    <a:pt x="185" y="163"/>
                    <a:pt x="185" y="163"/>
                  </a:cubicBezTo>
                  <a:cubicBezTo>
                    <a:pt x="185" y="181"/>
                    <a:pt x="185" y="181"/>
                    <a:pt x="185" y="181"/>
                  </a:cubicBezTo>
                  <a:cubicBezTo>
                    <a:pt x="181" y="181"/>
                    <a:pt x="181" y="181"/>
                    <a:pt x="181" y="181"/>
                  </a:cubicBezTo>
                  <a:cubicBezTo>
                    <a:pt x="181" y="136"/>
                    <a:pt x="181" y="136"/>
                    <a:pt x="181" y="136"/>
                  </a:cubicBezTo>
                  <a:cubicBezTo>
                    <a:pt x="196" y="136"/>
                    <a:pt x="196" y="136"/>
                    <a:pt x="196" y="136"/>
                  </a:cubicBezTo>
                  <a:cubicBezTo>
                    <a:pt x="206" y="136"/>
                    <a:pt x="212" y="141"/>
                    <a:pt x="212" y="150"/>
                  </a:cubicBezTo>
                  <a:cubicBezTo>
                    <a:pt x="212" y="158"/>
                    <a:pt x="206" y="163"/>
                    <a:pt x="196" y="163"/>
                  </a:cubicBezTo>
                  <a:close/>
                  <a:moveTo>
                    <a:pt x="224" y="181"/>
                  </a:moveTo>
                  <a:cubicBezTo>
                    <a:pt x="220" y="181"/>
                    <a:pt x="220" y="181"/>
                    <a:pt x="220" y="181"/>
                  </a:cubicBezTo>
                  <a:cubicBezTo>
                    <a:pt x="220" y="136"/>
                    <a:pt x="220" y="136"/>
                    <a:pt x="220" y="136"/>
                  </a:cubicBezTo>
                  <a:cubicBezTo>
                    <a:pt x="224" y="136"/>
                    <a:pt x="224" y="136"/>
                    <a:pt x="224" y="136"/>
                  </a:cubicBezTo>
                  <a:lnTo>
                    <a:pt x="224" y="181"/>
                  </a:lnTo>
                  <a:close/>
                  <a:moveTo>
                    <a:pt x="252" y="179"/>
                  </a:moveTo>
                  <a:cubicBezTo>
                    <a:pt x="261" y="179"/>
                    <a:pt x="266" y="174"/>
                    <a:pt x="267" y="166"/>
                  </a:cubicBezTo>
                  <a:cubicBezTo>
                    <a:pt x="271" y="166"/>
                    <a:pt x="271" y="166"/>
                    <a:pt x="271" y="166"/>
                  </a:cubicBezTo>
                  <a:cubicBezTo>
                    <a:pt x="270" y="175"/>
                    <a:pt x="263" y="182"/>
                    <a:pt x="252" y="182"/>
                  </a:cubicBezTo>
                  <a:cubicBezTo>
                    <a:pt x="240" y="182"/>
                    <a:pt x="232" y="173"/>
                    <a:pt x="232" y="159"/>
                  </a:cubicBezTo>
                  <a:cubicBezTo>
                    <a:pt x="232" y="143"/>
                    <a:pt x="241" y="135"/>
                    <a:pt x="252" y="135"/>
                  </a:cubicBezTo>
                  <a:cubicBezTo>
                    <a:pt x="262" y="135"/>
                    <a:pt x="270" y="140"/>
                    <a:pt x="271" y="149"/>
                  </a:cubicBezTo>
                  <a:cubicBezTo>
                    <a:pt x="267" y="149"/>
                    <a:pt x="267" y="149"/>
                    <a:pt x="267" y="149"/>
                  </a:cubicBezTo>
                  <a:cubicBezTo>
                    <a:pt x="266" y="142"/>
                    <a:pt x="260" y="138"/>
                    <a:pt x="252" y="138"/>
                  </a:cubicBezTo>
                  <a:cubicBezTo>
                    <a:pt x="243" y="138"/>
                    <a:pt x="236" y="145"/>
                    <a:pt x="236" y="159"/>
                  </a:cubicBezTo>
                  <a:cubicBezTo>
                    <a:pt x="236" y="171"/>
                    <a:pt x="243" y="179"/>
                    <a:pt x="252" y="179"/>
                  </a:cubicBezTo>
                  <a:close/>
                  <a:moveTo>
                    <a:pt x="196" y="139"/>
                  </a:moveTo>
                  <a:cubicBezTo>
                    <a:pt x="185" y="139"/>
                    <a:pt x="185" y="139"/>
                    <a:pt x="185" y="139"/>
                  </a:cubicBezTo>
                  <a:cubicBezTo>
                    <a:pt x="185" y="160"/>
                    <a:pt x="185" y="160"/>
                    <a:pt x="185" y="160"/>
                  </a:cubicBezTo>
                  <a:cubicBezTo>
                    <a:pt x="196" y="160"/>
                    <a:pt x="196" y="160"/>
                    <a:pt x="196" y="160"/>
                  </a:cubicBezTo>
                  <a:cubicBezTo>
                    <a:pt x="204" y="160"/>
                    <a:pt x="209" y="156"/>
                    <a:pt x="209" y="150"/>
                  </a:cubicBezTo>
                  <a:cubicBezTo>
                    <a:pt x="209" y="143"/>
                    <a:pt x="204" y="139"/>
                    <a:pt x="196" y="139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30000"/>
              </a:schemeClr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3" fontAlgn="auto">
                <a:spcBef>
                  <a:spcPts val="0"/>
                </a:spcBef>
                <a:spcAft>
                  <a:spcPts val="0"/>
                </a:spcAft>
              </a:pPr>
              <a:endParaRPr lang="en-CA" sz="700" dirty="0">
                <a:solidFill>
                  <a:srgbClr val="676767"/>
                </a:solidFill>
                <a:latin typeface="Arial"/>
                <a:cs typeface="Arial" panose="020B0604020202020204" pitchFamily="34" charset="0"/>
              </a:endParaRPr>
            </a:p>
          </p:txBody>
        </p:sp>
        <p:grpSp>
          <p:nvGrpSpPr>
            <p:cNvPr id="193" name="Group 192"/>
            <p:cNvGrpSpPr>
              <a:grpSpLocks noChangeAspect="1"/>
            </p:cNvGrpSpPr>
            <p:nvPr userDrawn="1"/>
          </p:nvGrpSpPr>
          <p:grpSpPr>
            <a:xfrm>
              <a:off x="5287919" y="2563418"/>
              <a:ext cx="128016" cy="77910"/>
              <a:chOff x="2938971" y="2976976"/>
              <a:chExt cx="315059" cy="191742"/>
            </a:xfrm>
            <a:solidFill>
              <a:schemeClr val="bg1">
                <a:lumMod val="85000"/>
                <a:alpha val="30000"/>
              </a:schemeClr>
            </a:solidFill>
          </p:grpSpPr>
          <p:sp>
            <p:nvSpPr>
              <p:cNvPr id="194" name="Freeform 193"/>
              <p:cNvSpPr>
                <a:spLocks/>
              </p:cNvSpPr>
              <p:nvPr/>
            </p:nvSpPr>
            <p:spPr bwMode="auto">
              <a:xfrm>
                <a:off x="2966804" y="2992246"/>
                <a:ext cx="129889" cy="106115"/>
              </a:xfrm>
              <a:custGeom>
                <a:avLst/>
                <a:gdLst>
                  <a:gd name="T0" fmla="*/ 276 w 283"/>
                  <a:gd name="T1" fmla="*/ 210 h 231"/>
                  <a:gd name="T2" fmla="*/ 45 w 283"/>
                  <a:gd name="T3" fmla="*/ 210 h 231"/>
                  <a:gd name="T4" fmla="*/ 26 w 283"/>
                  <a:gd name="T5" fmla="*/ 191 h 231"/>
                  <a:gd name="T6" fmla="*/ 26 w 283"/>
                  <a:gd name="T7" fmla="*/ 42 h 231"/>
                  <a:gd name="T8" fmla="*/ 45 w 283"/>
                  <a:gd name="T9" fmla="*/ 22 h 231"/>
                  <a:gd name="T10" fmla="*/ 265 w 283"/>
                  <a:gd name="T11" fmla="*/ 22 h 231"/>
                  <a:gd name="T12" fmla="*/ 265 w 283"/>
                  <a:gd name="T13" fmla="*/ 0 h 231"/>
                  <a:gd name="T14" fmla="*/ 27 w 283"/>
                  <a:gd name="T15" fmla="*/ 0 h 231"/>
                  <a:gd name="T16" fmla="*/ 0 w 283"/>
                  <a:gd name="T17" fmla="*/ 26 h 231"/>
                  <a:gd name="T18" fmla="*/ 0 w 283"/>
                  <a:gd name="T19" fmla="*/ 231 h 231"/>
                  <a:gd name="T20" fmla="*/ 283 w 283"/>
                  <a:gd name="T21" fmla="*/ 231 h 231"/>
                  <a:gd name="T22" fmla="*/ 276 w 283"/>
                  <a:gd name="T23" fmla="*/ 210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3" h="231">
                    <a:moveTo>
                      <a:pt x="276" y="210"/>
                    </a:moveTo>
                    <a:cubicBezTo>
                      <a:pt x="45" y="210"/>
                      <a:pt x="45" y="210"/>
                      <a:pt x="45" y="210"/>
                    </a:cubicBezTo>
                    <a:cubicBezTo>
                      <a:pt x="34" y="210"/>
                      <a:pt x="26" y="201"/>
                      <a:pt x="26" y="191"/>
                    </a:cubicBezTo>
                    <a:cubicBezTo>
                      <a:pt x="26" y="42"/>
                      <a:pt x="26" y="42"/>
                      <a:pt x="26" y="42"/>
                    </a:cubicBezTo>
                    <a:cubicBezTo>
                      <a:pt x="26" y="31"/>
                      <a:pt x="34" y="22"/>
                      <a:pt x="45" y="22"/>
                    </a:cubicBezTo>
                    <a:cubicBezTo>
                      <a:pt x="265" y="22"/>
                      <a:pt x="265" y="22"/>
                      <a:pt x="265" y="22"/>
                    </a:cubicBezTo>
                    <a:cubicBezTo>
                      <a:pt x="265" y="0"/>
                      <a:pt x="265" y="0"/>
                      <a:pt x="265" y="0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12" y="0"/>
                      <a:pt x="0" y="11"/>
                      <a:pt x="0" y="26"/>
                    </a:cubicBezTo>
                    <a:cubicBezTo>
                      <a:pt x="0" y="231"/>
                      <a:pt x="0" y="231"/>
                      <a:pt x="0" y="231"/>
                    </a:cubicBezTo>
                    <a:cubicBezTo>
                      <a:pt x="283" y="231"/>
                      <a:pt x="283" y="231"/>
                      <a:pt x="283" y="231"/>
                    </a:cubicBezTo>
                    <a:cubicBezTo>
                      <a:pt x="280" y="224"/>
                      <a:pt x="278" y="217"/>
                      <a:pt x="276" y="21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95" name="Freeform 194"/>
              <p:cNvSpPr>
                <a:spLocks/>
              </p:cNvSpPr>
              <p:nvPr/>
            </p:nvSpPr>
            <p:spPr bwMode="auto">
              <a:xfrm>
                <a:off x="2938971" y="3105899"/>
                <a:ext cx="191162" cy="43103"/>
              </a:xfrm>
              <a:custGeom>
                <a:avLst/>
                <a:gdLst>
                  <a:gd name="T0" fmla="*/ 351 w 417"/>
                  <a:gd name="T1" fmla="*/ 0 h 94"/>
                  <a:gd name="T2" fmla="*/ 60 w 417"/>
                  <a:gd name="T3" fmla="*/ 0 h 94"/>
                  <a:gd name="T4" fmla="*/ 0 w 417"/>
                  <a:gd name="T5" fmla="*/ 94 h 94"/>
                  <a:gd name="T6" fmla="*/ 417 w 417"/>
                  <a:gd name="T7" fmla="*/ 94 h 94"/>
                  <a:gd name="T8" fmla="*/ 351 w 417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7" h="94">
                    <a:moveTo>
                      <a:pt x="351" y="0"/>
                    </a:moveTo>
                    <a:cubicBezTo>
                      <a:pt x="60" y="0"/>
                      <a:pt x="60" y="0"/>
                      <a:pt x="60" y="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417" y="94"/>
                      <a:pt x="417" y="94"/>
                      <a:pt x="417" y="94"/>
                    </a:cubicBezTo>
                    <a:cubicBezTo>
                      <a:pt x="389" y="67"/>
                      <a:pt x="366" y="35"/>
                      <a:pt x="35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96" name="Freeform 195"/>
              <p:cNvSpPr>
                <a:spLocks noEditPoints="1"/>
              </p:cNvSpPr>
              <p:nvPr/>
            </p:nvSpPr>
            <p:spPr bwMode="auto">
              <a:xfrm>
                <a:off x="3096693" y="2976976"/>
                <a:ext cx="157337" cy="191742"/>
              </a:xfrm>
              <a:custGeom>
                <a:avLst/>
                <a:gdLst>
                  <a:gd name="T0" fmla="*/ 280 w 343"/>
                  <a:gd name="T1" fmla="*/ 25 h 417"/>
                  <a:gd name="T2" fmla="*/ 280 w 343"/>
                  <a:gd name="T3" fmla="*/ 48 h 417"/>
                  <a:gd name="T4" fmla="*/ 211 w 343"/>
                  <a:gd name="T5" fmla="*/ 32 h 417"/>
                  <a:gd name="T6" fmla="*/ 211 w 343"/>
                  <a:gd name="T7" fmla="*/ 9 h 417"/>
                  <a:gd name="T8" fmla="*/ 172 w 343"/>
                  <a:gd name="T9" fmla="*/ 0 h 417"/>
                  <a:gd name="T10" fmla="*/ 132 w 343"/>
                  <a:gd name="T11" fmla="*/ 9 h 417"/>
                  <a:gd name="T12" fmla="*/ 132 w 343"/>
                  <a:gd name="T13" fmla="*/ 32 h 417"/>
                  <a:gd name="T14" fmla="*/ 63 w 343"/>
                  <a:gd name="T15" fmla="*/ 48 h 417"/>
                  <a:gd name="T16" fmla="*/ 63 w 343"/>
                  <a:gd name="T17" fmla="*/ 25 h 417"/>
                  <a:gd name="T18" fmla="*/ 0 w 343"/>
                  <a:gd name="T19" fmla="*/ 39 h 417"/>
                  <a:gd name="T20" fmla="*/ 0 w 343"/>
                  <a:gd name="T21" fmla="*/ 163 h 417"/>
                  <a:gd name="T22" fmla="*/ 172 w 343"/>
                  <a:gd name="T23" fmla="*/ 417 h 417"/>
                  <a:gd name="T24" fmla="*/ 343 w 343"/>
                  <a:gd name="T25" fmla="*/ 163 h 417"/>
                  <a:gd name="T26" fmla="*/ 343 w 343"/>
                  <a:gd name="T27" fmla="*/ 39 h 417"/>
                  <a:gd name="T28" fmla="*/ 280 w 343"/>
                  <a:gd name="T29" fmla="*/ 25 h 417"/>
                  <a:gd name="T30" fmla="*/ 52 w 343"/>
                  <a:gd name="T31" fmla="*/ 209 h 417"/>
                  <a:gd name="T32" fmla="*/ 47 w 343"/>
                  <a:gd name="T33" fmla="*/ 163 h 417"/>
                  <a:gd name="T34" fmla="*/ 47 w 343"/>
                  <a:gd name="T35" fmla="*/ 101 h 417"/>
                  <a:gd name="T36" fmla="*/ 172 w 343"/>
                  <a:gd name="T37" fmla="*/ 72 h 417"/>
                  <a:gd name="T38" fmla="*/ 283 w 343"/>
                  <a:gd name="T39" fmla="*/ 98 h 417"/>
                  <a:gd name="T40" fmla="*/ 89 w 343"/>
                  <a:gd name="T41" fmla="*/ 293 h 417"/>
                  <a:gd name="T42" fmla="*/ 52 w 343"/>
                  <a:gd name="T43" fmla="*/ 209 h 417"/>
                  <a:gd name="T44" fmla="*/ 296 w 343"/>
                  <a:gd name="T45" fmla="*/ 163 h 417"/>
                  <a:gd name="T46" fmla="*/ 291 w 343"/>
                  <a:gd name="T47" fmla="*/ 209 h 417"/>
                  <a:gd name="T48" fmla="*/ 172 w 343"/>
                  <a:gd name="T49" fmla="*/ 365 h 417"/>
                  <a:gd name="T50" fmla="*/ 106 w 343"/>
                  <a:gd name="T51" fmla="*/ 315 h 417"/>
                  <a:gd name="T52" fmla="*/ 296 w 343"/>
                  <a:gd name="T53" fmla="*/ 125 h 417"/>
                  <a:gd name="T54" fmla="*/ 296 w 343"/>
                  <a:gd name="T55" fmla="*/ 163 h 4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43" h="417">
                    <a:moveTo>
                      <a:pt x="280" y="25"/>
                    </a:moveTo>
                    <a:cubicBezTo>
                      <a:pt x="280" y="48"/>
                      <a:pt x="280" y="48"/>
                      <a:pt x="280" y="48"/>
                    </a:cubicBezTo>
                    <a:cubicBezTo>
                      <a:pt x="211" y="32"/>
                      <a:pt x="211" y="32"/>
                      <a:pt x="211" y="32"/>
                    </a:cubicBezTo>
                    <a:cubicBezTo>
                      <a:pt x="211" y="9"/>
                      <a:pt x="211" y="9"/>
                      <a:pt x="211" y="9"/>
                    </a:cubicBezTo>
                    <a:cubicBezTo>
                      <a:pt x="172" y="0"/>
                      <a:pt x="172" y="0"/>
                      <a:pt x="172" y="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2" y="32"/>
                      <a:pt x="132" y="32"/>
                      <a:pt x="132" y="32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25"/>
                      <a:pt x="63" y="25"/>
                      <a:pt x="63" y="25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163"/>
                      <a:pt x="0" y="163"/>
                      <a:pt x="0" y="163"/>
                    </a:cubicBezTo>
                    <a:cubicBezTo>
                      <a:pt x="0" y="278"/>
                      <a:pt x="71" y="376"/>
                      <a:pt x="172" y="417"/>
                    </a:cubicBezTo>
                    <a:cubicBezTo>
                      <a:pt x="272" y="376"/>
                      <a:pt x="343" y="278"/>
                      <a:pt x="343" y="163"/>
                    </a:cubicBezTo>
                    <a:cubicBezTo>
                      <a:pt x="343" y="39"/>
                      <a:pt x="343" y="39"/>
                      <a:pt x="343" y="39"/>
                    </a:cubicBezTo>
                    <a:lnTo>
                      <a:pt x="280" y="25"/>
                    </a:lnTo>
                    <a:close/>
                    <a:moveTo>
                      <a:pt x="52" y="209"/>
                    </a:moveTo>
                    <a:cubicBezTo>
                      <a:pt x="48" y="194"/>
                      <a:pt x="47" y="179"/>
                      <a:pt x="47" y="163"/>
                    </a:cubicBezTo>
                    <a:cubicBezTo>
                      <a:pt x="47" y="101"/>
                      <a:pt x="47" y="101"/>
                      <a:pt x="47" y="101"/>
                    </a:cubicBezTo>
                    <a:cubicBezTo>
                      <a:pt x="47" y="101"/>
                      <a:pt x="47" y="101"/>
                      <a:pt x="172" y="72"/>
                    </a:cubicBezTo>
                    <a:cubicBezTo>
                      <a:pt x="238" y="88"/>
                      <a:pt x="269" y="95"/>
                      <a:pt x="283" y="98"/>
                    </a:cubicBezTo>
                    <a:cubicBezTo>
                      <a:pt x="89" y="293"/>
                      <a:pt x="89" y="293"/>
                      <a:pt x="89" y="293"/>
                    </a:cubicBezTo>
                    <a:cubicBezTo>
                      <a:pt x="71" y="268"/>
                      <a:pt x="58" y="239"/>
                      <a:pt x="52" y="209"/>
                    </a:cubicBezTo>
                    <a:close/>
                    <a:moveTo>
                      <a:pt x="296" y="163"/>
                    </a:moveTo>
                    <a:cubicBezTo>
                      <a:pt x="296" y="179"/>
                      <a:pt x="295" y="194"/>
                      <a:pt x="291" y="209"/>
                    </a:cubicBezTo>
                    <a:cubicBezTo>
                      <a:pt x="278" y="275"/>
                      <a:pt x="233" y="333"/>
                      <a:pt x="172" y="365"/>
                    </a:cubicBezTo>
                    <a:cubicBezTo>
                      <a:pt x="147" y="352"/>
                      <a:pt x="125" y="335"/>
                      <a:pt x="106" y="315"/>
                    </a:cubicBezTo>
                    <a:cubicBezTo>
                      <a:pt x="296" y="125"/>
                      <a:pt x="296" y="125"/>
                      <a:pt x="296" y="125"/>
                    </a:cubicBezTo>
                    <a:lnTo>
                      <a:pt x="296" y="163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97" name="Group 196"/>
            <p:cNvGrpSpPr>
              <a:grpSpLocks noChangeAspect="1"/>
            </p:cNvGrpSpPr>
            <p:nvPr userDrawn="1"/>
          </p:nvGrpSpPr>
          <p:grpSpPr>
            <a:xfrm>
              <a:off x="6339530" y="2334847"/>
              <a:ext cx="91440" cy="108765"/>
              <a:chOff x="3610092" y="905368"/>
              <a:chExt cx="240140" cy="285637"/>
            </a:xfrm>
            <a:solidFill>
              <a:schemeClr val="bg1">
                <a:lumMod val="85000"/>
                <a:alpha val="30000"/>
              </a:schemeClr>
            </a:solidFill>
          </p:grpSpPr>
          <p:sp>
            <p:nvSpPr>
              <p:cNvPr id="198" name="Freeform 15"/>
              <p:cNvSpPr>
                <a:spLocks noChangeAspect="1" noEditPoints="1"/>
              </p:cNvSpPr>
              <p:nvPr/>
            </p:nvSpPr>
            <p:spPr bwMode="auto">
              <a:xfrm>
                <a:off x="3634568" y="940237"/>
                <a:ext cx="190958" cy="223061"/>
              </a:xfrm>
              <a:custGeom>
                <a:avLst/>
                <a:gdLst/>
                <a:ahLst/>
                <a:cxnLst>
                  <a:cxn ang="0">
                    <a:pos x="321" y="59"/>
                  </a:cxn>
                  <a:cxn ang="0">
                    <a:pos x="176" y="0"/>
                  </a:cxn>
                  <a:cxn ang="0">
                    <a:pos x="31" y="59"/>
                  </a:cxn>
                  <a:cxn ang="0">
                    <a:pos x="0" y="57"/>
                  </a:cxn>
                  <a:cxn ang="0">
                    <a:pos x="5" y="92"/>
                  </a:cxn>
                  <a:cxn ang="0">
                    <a:pos x="24" y="199"/>
                  </a:cxn>
                  <a:cxn ang="0">
                    <a:pos x="81" y="328"/>
                  </a:cxn>
                  <a:cxn ang="0">
                    <a:pos x="130" y="239"/>
                  </a:cxn>
                  <a:cxn ang="0">
                    <a:pos x="139" y="244"/>
                  </a:cxn>
                  <a:cxn ang="0">
                    <a:pos x="150" y="223"/>
                  </a:cxn>
                  <a:cxn ang="0">
                    <a:pos x="126" y="115"/>
                  </a:cxn>
                  <a:cxn ang="0">
                    <a:pos x="241" y="80"/>
                  </a:cxn>
                  <a:cxn ang="0">
                    <a:pos x="276" y="195"/>
                  </a:cxn>
                  <a:cxn ang="0">
                    <a:pos x="174" y="236"/>
                  </a:cxn>
                  <a:cxn ang="0">
                    <a:pos x="162" y="257"/>
                  </a:cxn>
                  <a:cxn ang="0">
                    <a:pos x="172" y="263"/>
                  </a:cxn>
                  <a:cxn ang="0">
                    <a:pos x="116" y="368"/>
                  </a:cxn>
                  <a:cxn ang="0">
                    <a:pos x="176" y="409"/>
                  </a:cxn>
                  <a:cxn ang="0">
                    <a:pos x="348" y="92"/>
                  </a:cxn>
                  <a:cxn ang="0">
                    <a:pos x="350" y="57"/>
                  </a:cxn>
                  <a:cxn ang="0">
                    <a:pos x="321" y="59"/>
                  </a:cxn>
                  <a:cxn ang="0">
                    <a:pos x="255" y="184"/>
                  </a:cxn>
                  <a:cxn ang="0">
                    <a:pos x="229" y="102"/>
                  </a:cxn>
                  <a:cxn ang="0">
                    <a:pos x="148" y="127"/>
                  </a:cxn>
                  <a:cxn ang="0">
                    <a:pos x="172" y="209"/>
                  </a:cxn>
                  <a:cxn ang="0">
                    <a:pos x="255" y="184"/>
                  </a:cxn>
                  <a:cxn ang="0">
                    <a:pos x="158" y="149"/>
                  </a:cxn>
                  <a:cxn ang="0">
                    <a:pos x="158" y="149"/>
                  </a:cxn>
                  <a:cxn ang="0">
                    <a:pos x="153" y="153"/>
                  </a:cxn>
                  <a:cxn ang="0">
                    <a:pos x="149" y="147"/>
                  </a:cxn>
                  <a:cxn ang="0">
                    <a:pos x="217" y="106"/>
                  </a:cxn>
                  <a:cxn ang="0">
                    <a:pos x="220" y="111"/>
                  </a:cxn>
                  <a:cxn ang="0">
                    <a:pos x="216" y="114"/>
                  </a:cxn>
                  <a:cxn ang="0">
                    <a:pos x="158" y="149"/>
                  </a:cxn>
                </a:cxnLst>
                <a:rect l="0" t="0" r="r" b="b"/>
                <a:pathLst>
                  <a:path w="350" h="409">
                    <a:moveTo>
                      <a:pt x="321" y="59"/>
                    </a:moveTo>
                    <a:cubicBezTo>
                      <a:pt x="238" y="59"/>
                      <a:pt x="194" y="19"/>
                      <a:pt x="176" y="0"/>
                    </a:cubicBezTo>
                    <a:cubicBezTo>
                      <a:pt x="159" y="19"/>
                      <a:pt x="112" y="59"/>
                      <a:pt x="31" y="59"/>
                    </a:cubicBezTo>
                    <a:cubicBezTo>
                      <a:pt x="20" y="59"/>
                      <a:pt x="11" y="57"/>
                      <a:pt x="0" y="57"/>
                    </a:cubicBezTo>
                    <a:cubicBezTo>
                      <a:pt x="2" y="65"/>
                      <a:pt x="2" y="76"/>
                      <a:pt x="5" y="92"/>
                    </a:cubicBezTo>
                    <a:cubicBezTo>
                      <a:pt x="7" y="120"/>
                      <a:pt x="11" y="159"/>
                      <a:pt x="24" y="199"/>
                    </a:cubicBezTo>
                    <a:cubicBezTo>
                      <a:pt x="36" y="243"/>
                      <a:pt x="54" y="289"/>
                      <a:pt x="81" y="328"/>
                    </a:cubicBezTo>
                    <a:cubicBezTo>
                      <a:pt x="85" y="321"/>
                      <a:pt x="96" y="300"/>
                      <a:pt x="130" y="239"/>
                    </a:cubicBezTo>
                    <a:cubicBezTo>
                      <a:pt x="139" y="244"/>
                      <a:pt x="139" y="244"/>
                      <a:pt x="139" y="244"/>
                    </a:cubicBezTo>
                    <a:cubicBezTo>
                      <a:pt x="150" y="223"/>
                      <a:pt x="150" y="223"/>
                      <a:pt x="150" y="223"/>
                    </a:cubicBezTo>
                    <a:cubicBezTo>
                      <a:pt x="117" y="199"/>
                      <a:pt x="106" y="153"/>
                      <a:pt x="126" y="115"/>
                    </a:cubicBezTo>
                    <a:cubicBezTo>
                      <a:pt x="148" y="74"/>
                      <a:pt x="199" y="58"/>
                      <a:pt x="241" y="80"/>
                    </a:cubicBezTo>
                    <a:cubicBezTo>
                      <a:pt x="282" y="102"/>
                      <a:pt x="298" y="154"/>
                      <a:pt x="276" y="195"/>
                    </a:cubicBezTo>
                    <a:cubicBezTo>
                      <a:pt x="256" y="232"/>
                      <a:pt x="213" y="248"/>
                      <a:pt x="174" y="236"/>
                    </a:cubicBezTo>
                    <a:cubicBezTo>
                      <a:pt x="162" y="257"/>
                      <a:pt x="162" y="257"/>
                      <a:pt x="162" y="257"/>
                    </a:cubicBezTo>
                    <a:cubicBezTo>
                      <a:pt x="172" y="263"/>
                      <a:pt x="172" y="263"/>
                      <a:pt x="172" y="263"/>
                    </a:cubicBezTo>
                    <a:cubicBezTo>
                      <a:pt x="172" y="263"/>
                      <a:pt x="163" y="281"/>
                      <a:pt x="116" y="368"/>
                    </a:cubicBezTo>
                    <a:cubicBezTo>
                      <a:pt x="133" y="384"/>
                      <a:pt x="153" y="398"/>
                      <a:pt x="176" y="409"/>
                    </a:cubicBezTo>
                    <a:cubicBezTo>
                      <a:pt x="304" y="350"/>
                      <a:pt x="339" y="177"/>
                      <a:pt x="348" y="92"/>
                    </a:cubicBezTo>
                    <a:cubicBezTo>
                      <a:pt x="350" y="76"/>
                      <a:pt x="350" y="65"/>
                      <a:pt x="350" y="57"/>
                    </a:cubicBezTo>
                    <a:cubicBezTo>
                      <a:pt x="339" y="57"/>
                      <a:pt x="330" y="59"/>
                      <a:pt x="321" y="59"/>
                    </a:cubicBezTo>
                    <a:close/>
                    <a:moveTo>
                      <a:pt x="255" y="184"/>
                    </a:moveTo>
                    <a:cubicBezTo>
                      <a:pt x="270" y="155"/>
                      <a:pt x="259" y="118"/>
                      <a:pt x="229" y="102"/>
                    </a:cubicBezTo>
                    <a:cubicBezTo>
                      <a:pt x="200" y="87"/>
                      <a:pt x="163" y="98"/>
                      <a:pt x="148" y="127"/>
                    </a:cubicBezTo>
                    <a:cubicBezTo>
                      <a:pt x="132" y="156"/>
                      <a:pt x="143" y="194"/>
                      <a:pt x="172" y="209"/>
                    </a:cubicBezTo>
                    <a:cubicBezTo>
                      <a:pt x="202" y="225"/>
                      <a:pt x="239" y="213"/>
                      <a:pt x="255" y="184"/>
                    </a:cubicBezTo>
                    <a:close/>
                    <a:moveTo>
                      <a:pt x="158" y="149"/>
                    </a:moveTo>
                    <a:cubicBezTo>
                      <a:pt x="158" y="149"/>
                      <a:pt x="158" y="149"/>
                      <a:pt x="158" y="149"/>
                    </a:cubicBezTo>
                    <a:cubicBezTo>
                      <a:pt x="157" y="151"/>
                      <a:pt x="155" y="153"/>
                      <a:pt x="153" y="153"/>
                    </a:cubicBezTo>
                    <a:cubicBezTo>
                      <a:pt x="150" y="152"/>
                      <a:pt x="149" y="149"/>
                      <a:pt x="149" y="147"/>
                    </a:cubicBezTo>
                    <a:cubicBezTo>
                      <a:pt x="158" y="119"/>
                      <a:pt x="187" y="100"/>
                      <a:pt x="217" y="106"/>
                    </a:cubicBezTo>
                    <a:cubicBezTo>
                      <a:pt x="220" y="106"/>
                      <a:pt x="221" y="109"/>
                      <a:pt x="220" y="111"/>
                    </a:cubicBezTo>
                    <a:cubicBezTo>
                      <a:pt x="220" y="114"/>
                      <a:pt x="218" y="115"/>
                      <a:pt x="216" y="114"/>
                    </a:cubicBezTo>
                    <a:cubicBezTo>
                      <a:pt x="190" y="111"/>
                      <a:pt x="166" y="125"/>
                      <a:pt x="158" y="149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0096D6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199" name="Freeform 14"/>
              <p:cNvSpPr>
                <a:spLocks noChangeAspect="1" noEditPoints="1"/>
              </p:cNvSpPr>
              <p:nvPr/>
            </p:nvSpPr>
            <p:spPr bwMode="auto">
              <a:xfrm>
                <a:off x="3610092" y="905368"/>
                <a:ext cx="240140" cy="285637"/>
              </a:xfrm>
              <a:custGeom>
                <a:avLst/>
                <a:gdLst/>
                <a:ahLst/>
                <a:cxnLst>
                  <a:cxn ang="0">
                    <a:pos x="428" y="77"/>
                  </a:cxn>
                  <a:cxn ang="0">
                    <a:pos x="385" y="79"/>
                  </a:cxn>
                  <a:cxn ang="0">
                    <a:pos x="264" y="47"/>
                  </a:cxn>
                  <a:cxn ang="0">
                    <a:pos x="239" y="25"/>
                  </a:cxn>
                  <a:cxn ang="0">
                    <a:pos x="231" y="18"/>
                  </a:cxn>
                  <a:cxn ang="0">
                    <a:pos x="231" y="15"/>
                  </a:cxn>
                  <a:cxn ang="0">
                    <a:pos x="221" y="0"/>
                  </a:cxn>
                  <a:cxn ang="0">
                    <a:pos x="212" y="15"/>
                  </a:cxn>
                  <a:cxn ang="0">
                    <a:pos x="209" y="18"/>
                  </a:cxn>
                  <a:cxn ang="0">
                    <a:pos x="57" y="79"/>
                  </a:cxn>
                  <a:cxn ang="0">
                    <a:pos x="13" y="77"/>
                  </a:cxn>
                  <a:cxn ang="0">
                    <a:pos x="0" y="77"/>
                  </a:cxn>
                  <a:cxn ang="0">
                    <a:pos x="0" y="89"/>
                  </a:cxn>
                  <a:cxn ang="0">
                    <a:pos x="28" y="269"/>
                  </a:cxn>
                  <a:cxn ang="0">
                    <a:pos x="217" y="524"/>
                  </a:cxn>
                  <a:cxn ang="0">
                    <a:pos x="221" y="524"/>
                  </a:cxn>
                  <a:cxn ang="0">
                    <a:pos x="226" y="524"/>
                  </a:cxn>
                  <a:cxn ang="0">
                    <a:pos x="415" y="269"/>
                  </a:cxn>
                  <a:cxn ang="0">
                    <a:pos x="440" y="89"/>
                  </a:cxn>
                  <a:cxn ang="0">
                    <a:pos x="440" y="77"/>
                  </a:cxn>
                  <a:cxn ang="0">
                    <a:pos x="428" y="77"/>
                  </a:cxn>
                  <a:cxn ang="0">
                    <a:pos x="415" y="141"/>
                  </a:cxn>
                  <a:cxn ang="0">
                    <a:pos x="221" y="499"/>
                  </a:cxn>
                  <a:cxn ang="0">
                    <a:pos x="50" y="262"/>
                  </a:cxn>
                  <a:cxn ang="0">
                    <a:pos x="28" y="141"/>
                  </a:cxn>
                  <a:cxn ang="0">
                    <a:pos x="23" y="101"/>
                  </a:cxn>
                  <a:cxn ang="0">
                    <a:pos x="57" y="104"/>
                  </a:cxn>
                  <a:cxn ang="0">
                    <a:pos x="221" y="37"/>
                  </a:cxn>
                  <a:cxn ang="0">
                    <a:pos x="385" y="104"/>
                  </a:cxn>
                  <a:cxn ang="0">
                    <a:pos x="418" y="101"/>
                  </a:cxn>
                  <a:cxn ang="0">
                    <a:pos x="415" y="141"/>
                  </a:cxn>
                </a:cxnLst>
                <a:rect l="0" t="0" r="r" b="b"/>
                <a:pathLst>
                  <a:path w="440" h="524">
                    <a:moveTo>
                      <a:pt x="428" y="77"/>
                    </a:moveTo>
                    <a:cubicBezTo>
                      <a:pt x="413" y="79"/>
                      <a:pt x="398" y="79"/>
                      <a:pt x="385" y="79"/>
                    </a:cubicBezTo>
                    <a:cubicBezTo>
                      <a:pt x="328" y="79"/>
                      <a:pt x="289" y="65"/>
                      <a:pt x="264" y="47"/>
                    </a:cubicBezTo>
                    <a:cubicBezTo>
                      <a:pt x="251" y="37"/>
                      <a:pt x="244" y="30"/>
                      <a:pt x="239" y="25"/>
                    </a:cubicBezTo>
                    <a:cubicBezTo>
                      <a:pt x="236" y="20"/>
                      <a:pt x="234" y="18"/>
                      <a:pt x="231" y="18"/>
                    </a:cubicBezTo>
                    <a:cubicBezTo>
                      <a:pt x="231" y="15"/>
                      <a:pt x="231" y="15"/>
                      <a:pt x="231" y="15"/>
                    </a:cubicBezTo>
                    <a:cubicBezTo>
                      <a:pt x="221" y="0"/>
                      <a:pt x="221" y="0"/>
                      <a:pt x="221" y="0"/>
                    </a:cubicBezTo>
                    <a:cubicBezTo>
                      <a:pt x="212" y="15"/>
                      <a:pt x="212" y="15"/>
                      <a:pt x="212" y="15"/>
                    </a:cubicBezTo>
                    <a:cubicBezTo>
                      <a:pt x="212" y="15"/>
                      <a:pt x="212" y="15"/>
                      <a:pt x="209" y="18"/>
                    </a:cubicBezTo>
                    <a:cubicBezTo>
                      <a:pt x="199" y="27"/>
                      <a:pt x="157" y="79"/>
                      <a:pt x="57" y="79"/>
                    </a:cubicBezTo>
                    <a:cubicBezTo>
                      <a:pt x="43" y="79"/>
                      <a:pt x="28" y="79"/>
                      <a:pt x="13" y="77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0" y="89"/>
                      <a:pt x="0" y="173"/>
                      <a:pt x="28" y="269"/>
                    </a:cubicBezTo>
                    <a:cubicBezTo>
                      <a:pt x="52" y="366"/>
                      <a:pt x="107" y="474"/>
                      <a:pt x="217" y="524"/>
                    </a:cubicBezTo>
                    <a:cubicBezTo>
                      <a:pt x="221" y="524"/>
                      <a:pt x="221" y="524"/>
                      <a:pt x="221" y="524"/>
                    </a:cubicBezTo>
                    <a:cubicBezTo>
                      <a:pt x="226" y="524"/>
                      <a:pt x="226" y="524"/>
                      <a:pt x="226" y="524"/>
                    </a:cubicBezTo>
                    <a:cubicBezTo>
                      <a:pt x="336" y="474"/>
                      <a:pt x="388" y="366"/>
                      <a:pt x="415" y="269"/>
                    </a:cubicBezTo>
                    <a:cubicBezTo>
                      <a:pt x="440" y="173"/>
                      <a:pt x="440" y="89"/>
                      <a:pt x="440" y="89"/>
                    </a:cubicBezTo>
                    <a:cubicBezTo>
                      <a:pt x="440" y="77"/>
                      <a:pt x="440" y="77"/>
                      <a:pt x="440" y="77"/>
                    </a:cubicBezTo>
                    <a:lnTo>
                      <a:pt x="428" y="77"/>
                    </a:lnTo>
                    <a:close/>
                    <a:moveTo>
                      <a:pt x="415" y="141"/>
                    </a:moveTo>
                    <a:cubicBezTo>
                      <a:pt x="405" y="237"/>
                      <a:pt x="365" y="432"/>
                      <a:pt x="221" y="499"/>
                    </a:cubicBezTo>
                    <a:cubicBezTo>
                      <a:pt x="125" y="455"/>
                      <a:pt x="75" y="356"/>
                      <a:pt x="50" y="262"/>
                    </a:cubicBezTo>
                    <a:cubicBezTo>
                      <a:pt x="35" y="218"/>
                      <a:pt x="30" y="173"/>
                      <a:pt x="28" y="141"/>
                    </a:cubicBezTo>
                    <a:cubicBezTo>
                      <a:pt x="25" y="124"/>
                      <a:pt x="25" y="111"/>
                      <a:pt x="23" y="101"/>
                    </a:cubicBezTo>
                    <a:cubicBezTo>
                      <a:pt x="35" y="101"/>
                      <a:pt x="45" y="104"/>
                      <a:pt x="57" y="104"/>
                    </a:cubicBezTo>
                    <a:cubicBezTo>
                      <a:pt x="149" y="104"/>
                      <a:pt x="202" y="60"/>
                      <a:pt x="221" y="37"/>
                    </a:cubicBezTo>
                    <a:cubicBezTo>
                      <a:pt x="241" y="60"/>
                      <a:pt x="291" y="104"/>
                      <a:pt x="385" y="104"/>
                    </a:cubicBezTo>
                    <a:cubicBezTo>
                      <a:pt x="395" y="104"/>
                      <a:pt x="405" y="101"/>
                      <a:pt x="418" y="101"/>
                    </a:cubicBezTo>
                    <a:cubicBezTo>
                      <a:pt x="418" y="111"/>
                      <a:pt x="418" y="124"/>
                      <a:pt x="415" y="14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0096D6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00" name="Group 199"/>
            <p:cNvGrpSpPr>
              <a:grpSpLocks noChangeAspect="1"/>
            </p:cNvGrpSpPr>
            <p:nvPr userDrawn="1"/>
          </p:nvGrpSpPr>
          <p:grpSpPr>
            <a:xfrm>
              <a:off x="7716660" y="3794095"/>
              <a:ext cx="91440" cy="108765"/>
              <a:chOff x="3610092" y="905368"/>
              <a:chExt cx="240140" cy="285637"/>
            </a:xfrm>
            <a:solidFill>
              <a:schemeClr val="bg1">
                <a:lumMod val="85000"/>
                <a:alpha val="30000"/>
              </a:schemeClr>
            </a:solidFill>
          </p:grpSpPr>
          <p:sp>
            <p:nvSpPr>
              <p:cNvPr id="201" name="Freeform 15"/>
              <p:cNvSpPr>
                <a:spLocks noChangeAspect="1" noEditPoints="1"/>
              </p:cNvSpPr>
              <p:nvPr/>
            </p:nvSpPr>
            <p:spPr bwMode="auto">
              <a:xfrm>
                <a:off x="3634568" y="940237"/>
                <a:ext cx="190958" cy="223061"/>
              </a:xfrm>
              <a:custGeom>
                <a:avLst/>
                <a:gdLst/>
                <a:ahLst/>
                <a:cxnLst>
                  <a:cxn ang="0">
                    <a:pos x="321" y="59"/>
                  </a:cxn>
                  <a:cxn ang="0">
                    <a:pos x="176" y="0"/>
                  </a:cxn>
                  <a:cxn ang="0">
                    <a:pos x="31" y="59"/>
                  </a:cxn>
                  <a:cxn ang="0">
                    <a:pos x="0" y="57"/>
                  </a:cxn>
                  <a:cxn ang="0">
                    <a:pos x="5" y="92"/>
                  </a:cxn>
                  <a:cxn ang="0">
                    <a:pos x="24" y="199"/>
                  </a:cxn>
                  <a:cxn ang="0">
                    <a:pos x="81" y="328"/>
                  </a:cxn>
                  <a:cxn ang="0">
                    <a:pos x="130" y="239"/>
                  </a:cxn>
                  <a:cxn ang="0">
                    <a:pos x="139" y="244"/>
                  </a:cxn>
                  <a:cxn ang="0">
                    <a:pos x="150" y="223"/>
                  </a:cxn>
                  <a:cxn ang="0">
                    <a:pos x="126" y="115"/>
                  </a:cxn>
                  <a:cxn ang="0">
                    <a:pos x="241" y="80"/>
                  </a:cxn>
                  <a:cxn ang="0">
                    <a:pos x="276" y="195"/>
                  </a:cxn>
                  <a:cxn ang="0">
                    <a:pos x="174" y="236"/>
                  </a:cxn>
                  <a:cxn ang="0">
                    <a:pos x="162" y="257"/>
                  </a:cxn>
                  <a:cxn ang="0">
                    <a:pos x="172" y="263"/>
                  </a:cxn>
                  <a:cxn ang="0">
                    <a:pos x="116" y="368"/>
                  </a:cxn>
                  <a:cxn ang="0">
                    <a:pos x="176" y="409"/>
                  </a:cxn>
                  <a:cxn ang="0">
                    <a:pos x="348" y="92"/>
                  </a:cxn>
                  <a:cxn ang="0">
                    <a:pos x="350" y="57"/>
                  </a:cxn>
                  <a:cxn ang="0">
                    <a:pos x="321" y="59"/>
                  </a:cxn>
                  <a:cxn ang="0">
                    <a:pos x="255" y="184"/>
                  </a:cxn>
                  <a:cxn ang="0">
                    <a:pos x="229" y="102"/>
                  </a:cxn>
                  <a:cxn ang="0">
                    <a:pos x="148" y="127"/>
                  </a:cxn>
                  <a:cxn ang="0">
                    <a:pos x="172" y="209"/>
                  </a:cxn>
                  <a:cxn ang="0">
                    <a:pos x="255" y="184"/>
                  </a:cxn>
                  <a:cxn ang="0">
                    <a:pos x="158" y="149"/>
                  </a:cxn>
                  <a:cxn ang="0">
                    <a:pos x="158" y="149"/>
                  </a:cxn>
                  <a:cxn ang="0">
                    <a:pos x="153" y="153"/>
                  </a:cxn>
                  <a:cxn ang="0">
                    <a:pos x="149" y="147"/>
                  </a:cxn>
                  <a:cxn ang="0">
                    <a:pos x="217" y="106"/>
                  </a:cxn>
                  <a:cxn ang="0">
                    <a:pos x="220" y="111"/>
                  </a:cxn>
                  <a:cxn ang="0">
                    <a:pos x="216" y="114"/>
                  </a:cxn>
                  <a:cxn ang="0">
                    <a:pos x="158" y="149"/>
                  </a:cxn>
                </a:cxnLst>
                <a:rect l="0" t="0" r="r" b="b"/>
                <a:pathLst>
                  <a:path w="350" h="409">
                    <a:moveTo>
                      <a:pt x="321" y="59"/>
                    </a:moveTo>
                    <a:cubicBezTo>
                      <a:pt x="238" y="59"/>
                      <a:pt x="194" y="19"/>
                      <a:pt x="176" y="0"/>
                    </a:cubicBezTo>
                    <a:cubicBezTo>
                      <a:pt x="159" y="19"/>
                      <a:pt x="112" y="59"/>
                      <a:pt x="31" y="59"/>
                    </a:cubicBezTo>
                    <a:cubicBezTo>
                      <a:pt x="20" y="59"/>
                      <a:pt x="11" y="57"/>
                      <a:pt x="0" y="57"/>
                    </a:cubicBezTo>
                    <a:cubicBezTo>
                      <a:pt x="2" y="65"/>
                      <a:pt x="2" y="76"/>
                      <a:pt x="5" y="92"/>
                    </a:cubicBezTo>
                    <a:cubicBezTo>
                      <a:pt x="7" y="120"/>
                      <a:pt x="11" y="159"/>
                      <a:pt x="24" y="199"/>
                    </a:cubicBezTo>
                    <a:cubicBezTo>
                      <a:pt x="36" y="243"/>
                      <a:pt x="54" y="289"/>
                      <a:pt x="81" y="328"/>
                    </a:cubicBezTo>
                    <a:cubicBezTo>
                      <a:pt x="85" y="321"/>
                      <a:pt x="96" y="300"/>
                      <a:pt x="130" y="239"/>
                    </a:cubicBezTo>
                    <a:cubicBezTo>
                      <a:pt x="139" y="244"/>
                      <a:pt x="139" y="244"/>
                      <a:pt x="139" y="244"/>
                    </a:cubicBezTo>
                    <a:cubicBezTo>
                      <a:pt x="150" y="223"/>
                      <a:pt x="150" y="223"/>
                      <a:pt x="150" y="223"/>
                    </a:cubicBezTo>
                    <a:cubicBezTo>
                      <a:pt x="117" y="199"/>
                      <a:pt x="106" y="153"/>
                      <a:pt x="126" y="115"/>
                    </a:cubicBezTo>
                    <a:cubicBezTo>
                      <a:pt x="148" y="74"/>
                      <a:pt x="199" y="58"/>
                      <a:pt x="241" y="80"/>
                    </a:cubicBezTo>
                    <a:cubicBezTo>
                      <a:pt x="282" y="102"/>
                      <a:pt x="298" y="154"/>
                      <a:pt x="276" y="195"/>
                    </a:cubicBezTo>
                    <a:cubicBezTo>
                      <a:pt x="256" y="232"/>
                      <a:pt x="213" y="248"/>
                      <a:pt x="174" y="236"/>
                    </a:cubicBezTo>
                    <a:cubicBezTo>
                      <a:pt x="162" y="257"/>
                      <a:pt x="162" y="257"/>
                      <a:pt x="162" y="257"/>
                    </a:cubicBezTo>
                    <a:cubicBezTo>
                      <a:pt x="172" y="263"/>
                      <a:pt x="172" y="263"/>
                      <a:pt x="172" y="263"/>
                    </a:cubicBezTo>
                    <a:cubicBezTo>
                      <a:pt x="172" y="263"/>
                      <a:pt x="163" y="281"/>
                      <a:pt x="116" y="368"/>
                    </a:cubicBezTo>
                    <a:cubicBezTo>
                      <a:pt x="133" y="384"/>
                      <a:pt x="153" y="398"/>
                      <a:pt x="176" y="409"/>
                    </a:cubicBezTo>
                    <a:cubicBezTo>
                      <a:pt x="304" y="350"/>
                      <a:pt x="339" y="177"/>
                      <a:pt x="348" y="92"/>
                    </a:cubicBezTo>
                    <a:cubicBezTo>
                      <a:pt x="350" y="76"/>
                      <a:pt x="350" y="65"/>
                      <a:pt x="350" y="57"/>
                    </a:cubicBezTo>
                    <a:cubicBezTo>
                      <a:pt x="339" y="57"/>
                      <a:pt x="330" y="59"/>
                      <a:pt x="321" y="59"/>
                    </a:cubicBezTo>
                    <a:close/>
                    <a:moveTo>
                      <a:pt x="255" y="184"/>
                    </a:moveTo>
                    <a:cubicBezTo>
                      <a:pt x="270" y="155"/>
                      <a:pt x="259" y="118"/>
                      <a:pt x="229" y="102"/>
                    </a:cubicBezTo>
                    <a:cubicBezTo>
                      <a:pt x="200" y="87"/>
                      <a:pt x="163" y="98"/>
                      <a:pt x="148" y="127"/>
                    </a:cubicBezTo>
                    <a:cubicBezTo>
                      <a:pt x="132" y="156"/>
                      <a:pt x="143" y="194"/>
                      <a:pt x="172" y="209"/>
                    </a:cubicBezTo>
                    <a:cubicBezTo>
                      <a:pt x="202" y="225"/>
                      <a:pt x="239" y="213"/>
                      <a:pt x="255" y="184"/>
                    </a:cubicBezTo>
                    <a:close/>
                    <a:moveTo>
                      <a:pt x="158" y="149"/>
                    </a:moveTo>
                    <a:cubicBezTo>
                      <a:pt x="158" y="149"/>
                      <a:pt x="158" y="149"/>
                      <a:pt x="158" y="149"/>
                    </a:cubicBezTo>
                    <a:cubicBezTo>
                      <a:pt x="157" y="151"/>
                      <a:pt x="155" y="153"/>
                      <a:pt x="153" y="153"/>
                    </a:cubicBezTo>
                    <a:cubicBezTo>
                      <a:pt x="150" y="152"/>
                      <a:pt x="149" y="149"/>
                      <a:pt x="149" y="147"/>
                    </a:cubicBezTo>
                    <a:cubicBezTo>
                      <a:pt x="158" y="119"/>
                      <a:pt x="187" y="100"/>
                      <a:pt x="217" y="106"/>
                    </a:cubicBezTo>
                    <a:cubicBezTo>
                      <a:pt x="220" y="106"/>
                      <a:pt x="221" y="109"/>
                      <a:pt x="220" y="111"/>
                    </a:cubicBezTo>
                    <a:cubicBezTo>
                      <a:pt x="220" y="114"/>
                      <a:pt x="218" y="115"/>
                      <a:pt x="216" y="114"/>
                    </a:cubicBezTo>
                    <a:cubicBezTo>
                      <a:pt x="190" y="111"/>
                      <a:pt x="166" y="125"/>
                      <a:pt x="158" y="149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0096D6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202" name="Freeform 14"/>
              <p:cNvSpPr>
                <a:spLocks noChangeAspect="1" noEditPoints="1"/>
              </p:cNvSpPr>
              <p:nvPr/>
            </p:nvSpPr>
            <p:spPr bwMode="auto">
              <a:xfrm>
                <a:off x="3610092" y="905368"/>
                <a:ext cx="240140" cy="285637"/>
              </a:xfrm>
              <a:custGeom>
                <a:avLst/>
                <a:gdLst/>
                <a:ahLst/>
                <a:cxnLst>
                  <a:cxn ang="0">
                    <a:pos x="428" y="77"/>
                  </a:cxn>
                  <a:cxn ang="0">
                    <a:pos x="385" y="79"/>
                  </a:cxn>
                  <a:cxn ang="0">
                    <a:pos x="264" y="47"/>
                  </a:cxn>
                  <a:cxn ang="0">
                    <a:pos x="239" y="25"/>
                  </a:cxn>
                  <a:cxn ang="0">
                    <a:pos x="231" y="18"/>
                  </a:cxn>
                  <a:cxn ang="0">
                    <a:pos x="231" y="15"/>
                  </a:cxn>
                  <a:cxn ang="0">
                    <a:pos x="221" y="0"/>
                  </a:cxn>
                  <a:cxn ang="0">
                    <a:pos x="212" y="15"/>
                  </a:cxn>
                  <a:cxn ang="0">
                    <a:pos x="209" y="18"/>
                  </a:cxn>
                  <a:cxn ang="0">
                    <a:pos x="57" y="79"/>
                  </a:cxn>
                  <a:cxn ang="0">
                    <a:pos x="13" y="77"/>
                  </a:cxn>
                  <a:cxn ang="0">
                    <a:pos x="0" y="77"/>
                  </a:cxn>
                  <a:cxn ang="0">
                    <a:pos x="0" y="89"/>
                  </a:cxn>
                  <a:cxn ang="0">
                    <a:pos x="28" y="269"/>
                  </a:cxn>
                  <a:cxn ang="0">
                    <a:pos x="217" y="524"/>
                  </a:cxn>
                  <a:cxn ang="0">
                    <a:pos x="221" y="524"/>
                  </a:cxn>
                  <a:cxn ang="0">
                    <a:pos x="226" y="524"/>
                  </a:cxn>
                  <a:cxn ang="0">
                    <a:pos x="415" y="269"/>
                  </a:cxn>
                  <a:cxn ang="0">
                    <a:pos x="440" y="89"/>
                  </a:cxn>
                  <a:cxn ang="0">
                    <a:pos x="440" y="77"/>
                  </a:cxn>
                  <a:cxn ang="0">
                    <a:pos x="428" y="77"/>
                  </a:cxn>
                  <a:cxn ang="0">
                    <a:pos x="415" y="141"/>
                  </a:cxn>
                  <a:cxn ang="0">
                    <a:pos x="221" y="499"/>
                  </a:cxn>
                  <a:cxn ang="0">
                    <a:pos x="50" y="262"/>
                  </a:cxn>
                  <a:cxn ang="0">
                    <a:pos x="28" y="141"/>
                  </a:cxn>
                  <a:cxn ang="0">
                    <a:pos x="23" y="101"/>
                  </a:cxn>
                  <a:cxn ang="0">
                    <a:pos x="57" y="104"/>
                  </a:cxn>
                  <a:cxn ang="0">
                    <a:pos x="221" y="37"/>
                  </a:cxn>
                  <a:cxn ang="0">
                    <a:pos x="385" y="104"/>
                  </a:cxn>
                  <a:cxn ang="0">
                    <a:pos x="418" y="101"/>
                  </a:cxn>
                  <a:cxn ang="0">
                    <a:pos x="415" y="141"/>
                  </a:cxn>
                </a:cxnLst>
                <a:rect l="0" t="0" r="r" b="b"/>
                <a:pathLst>
                  <a:path w="440" h="524">
                    <a:moveTo>
                      <a:pt x="428" y="77"/>
                    </a:moveTo>
                    <a:cubicBezTo>
                      <a:pt x="413" y="79"/>
                      <a:pt x="398" y="79"/>
                      <a:pt x="385" y="79"/>
                    </a:cubicBezTo>
                    <a:cubicBezTo>
                      <a:pt x="328" y="79"/>
                      <a:pt x="289" y="65"/>
                      <a:pt x="264" y="47"/>
                    </a:cubicBezTo>
                    <a:cubicBezTo>
                      <a:pt x="251" y="37"/>
                      <a:pt x="244" y="30"/>
                      <a:pt x="239" y="25"/>
                    </a:cubicBezTo>
                    <a:cubicBezTo>
                      <a:pt x="236" y="20"/>
                      <a:pt x="234" y="18"/>
                      <a:pt x="231" y="18"/>
                    </a:cubicBezTo>
                    <a:cubicBezTo>
                      <a:pt x="231" y="15"/>
                      <a:pt x="231" y="15"/>
                      <a:pt x="231" y="15"/>
                    </a:cubicBezTo>
                    <a:cubicBezTo>
                      <a:pt x="221" y="0"/>
                      <a:pt x="221" y="0"/>
                      <a:pt x="221" y="0"/>
                    </a:cubicBezTo>
                    <a:cubicBezTo>
                      <a:pt x="212" y="15"/>
                      <a:pt x="212" y="15"/>
                      <a:pt x="212" y="15"/>
                    </a:cubicBezTo>
                    <a:cubicBezTo>
                      <a:pt x="212" y="15"/>
                      <a:pt x="212" y="15"/>
                      <a:pt x="209" y="18"/>
                    </a:cubicBezTo>
                    <a:cubicBezTo>
                      <a:pt x="199" y="27"/>
                      <a:pt x="157" y="79"/>
                      <a:pt x="57" y="79"/>
                    </a:cubicBezTo>
                    <a:cubicBezTo>
                      <a:pt x="43" y="79"/>
                      <a:pt x="28" y="79"/>
                      <a:pt x="13" y="77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0" y="89"/>
                      <a:pt x="0" y="173"/>
                      <a:pt x="28" y="269"/>
                    </a:cubicBezTo>
                    <a:cubicBezTo>
                      <a:pt x="52" y="366"/>
                      <a:pt x="107" y="474"/>
                      <a:pt x="217" y="524"/>
                    </a:cubicBezTo>
                    <a:cubicBezTo>
                      <a:pt x="221" y="524"/>
                      <a:pt x="221" y="524"/>
                      <a:pt x="221" y="524"/>
                    </a:cubicBezTo>
                    <a:cubicBezTo>
                      <a:pt x="226" y="524"/>
                      <a:pt x="226" y="524"/>
                      <a:pt x="226" y="524"/>
                    </a:cubicBezTo>
                    <a:cubicBezTo>
                      <a:pt x="336" y="474"/>
                      <a:pt x="388" y="366"/>
                      <a:pt x="415" y="269"/>
                    </a:cubicBezTo>
                    <a:cubicBezTo>
                      <a:pt x="440" y="173"/>
                      <a:pt x="440" y="89"/>
                      <a:pt x="440" y="89"/>
                    </a:cubicBezTo>
                    <a:cubicBezTo>
                      <a:pt x="440" y="77"/>
                      <a:pt x="440" y="77"/>
                      <a:pt x="440" y="77"/>
                    </a:cubicBezTo>
                    <a:lnTo>
                      <a:pt x="428" y="77"/>
                    </a:lnTo>
                    <a:close/>
                    <a:moveTo>
                      <a:pt x="415" y="141"/>
                    </a:moveTo>
                    <a:cubicBezTo>
                      <a:pt x="405" y="237"/>
                      <a:pt x="365" y="432"/>
                      <a:pt x="221" y="499"/>
                    </a:cubicBezTo>
                    <a:cubicBezTo>
                      <a:pt x="125" y="455"/>
                      <a:pt x="75" y="356"/>
                      <a:pt x="50" y="262"/>
                    </a:cubicBezTo>
                    <a:cubicBezTo>
                      <a:pt x="35" y="218"/>
                      <a:pt x="30" y="173"/>
                      <a:pt x="28" y="141"/>
                    </a:cubicBezTo>
                    <a:cubicBezTo>
                      <a:pt x="25" y="124"/>
                      <a:pt x="25" y="111"/>
                      <a:pt x="23" y="101"/>
                    </a:cubicBezTo>
                    <a:cubicBezTo>
                      <a:pt x="35" y="101"/>
                      <a:pt x="45" y="104"/>
                      <a:pt x="57" y="104"/>
                    </a:cubicBezTo>
                    <a:cubicBezTo>
                      <a:pt x="149" y="104"/>
                      <a:pt x="202" y="60"/>
                      <a:pt x="221" y="37"/>
                    </a:cubicBezTo>
                    <a:cubicBezTo>
                      <a:pt x="241" y="60"/>
                      <a:pt x="291" y="104"/>
                      <a:pt x="385" y="104"/>
                    </a:cubicBezTo>
                    <a:cubicBezTo>
                      <a:pt x="395" y="104"/>
                      <a:pt x="405" y="101"/>
                      <a:pt x="418" y="101"/>
                    </a:cubicBezTo>
                    <a:cubicBezTo>
                      <a:pt x="418" y="111"/>
                      <a:pt x="418" y="124"/>
                      <a:pt x="415" y="14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0096D6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03" name="Group 202"/>
            <p:cNvGrpSpPr>
              <a:grpSpLocks noChangeAspect="1"/>
            </p:cNvGrpSpPr>
            <p:nvPr userDrawn="1"/>
          </p:nvGrpSpPr>
          <p:grpSpPr>
            <a:xfrm>
              <a:off x="4140854" y="3635151"/>
              <a:ext cx="137160" cy="130323"/>
              <a:chOff x="3081530" y="2405377"/>
              <a:chExt cx="244976" cy="232765"/>
            </a:xfrm>
            <a:solidFill>
              <a:schemeClr val="bg1">
                <a:lumMod val="85000"/>
                <a:alpha val="30000"/>
              </a:schemeClr>
            </a:solidFill>
          </p:grpSpPr>
          <p:sp>
            <p:nvSpPr>
              <p:cNvPr id="204" name="Freeform 15"/>
              <p:cNvSpPr>
                <a:spLocks noEditPoints="1"/>
              </p:cNvSpPr>
              <p:nvPr/>
            </p:nvSpPr>
            <p:spPr bwMode="auto">
              <a:xfrm>
                <a:off x="3081530" y="2584716"/>
                <a:ext cx="244976" cy="53426"/>
              </a:xfrm>
              <a:custGeom>
                <a:avLst/>
                <a:gdLst>
                  <a:gd name="T0" fmla="*/ 20 w 1353"/>
                  <a:gd name="T1" fmla="*/ 295 h 295"/>
                  <a:gd name="T2" fmla="*/ 20 w 1353"/>
                  <a:gd name="T3" fmla="*/ 0 h 295"/>
                  <a:gd name="T4" fmla="*/ 1353 w 1353"/>
                  <a:gd name="T5" fmla="*/ 275 h 295"/>
                  <a:gd name="T6" fmla="*/ 1006 w 1353"/>
                  <a:gd name="T7" fmla="*/ 110 h 295"/>
                  <a:gd name="T8" fmla="*/ 1063 w 1353"/>
                  <a:gd name="T9" fmla="*/ 72 h 295"/>
                  <a:gd name="T10" fmla="*/ 252 w 1353"/>
                  <a:gd name="T11" fmla="*/ 110 h 295"/>
                  <a:gd name="T12" fmla="*/ 310 w 1353"/>
                  <a:gd name="T13" fmla="*/ 72 h 295"/>
                  <a:gd name="T14" fmla="*/ 346 w 1353"/>
                  <a:gd name="T15" fmla="*/ 110 h 295"/>
                  <a:gd name="T16" fmla="*/ 404 w 1353"/>
                  <a:gd name="T17" fmla="*/ 72 h 295"/>
                  <a:gd name="T18" fmla="*/ 440 w 1353"/>
                  <a:gd name="T19" fmla="*/ 110 h 295"/>
                  <a:gd name="T20" fmla="*/ 498 w 1353"/>
                  <a:gd name="T21" fmla="*/ 72 h 295"/>
                  <a:gd name="T22" fmla="*/ 535 w 1353"/>
                  <a:gd name="T23" fmla="*/ 110 h 295"/>
                  <a:gd name="T24" fmla="*/ 592 w 1353"/>
                  <a:gd name="T25" fmla="*/ 72 h 295"/>
                  <a:gd name="T26" fmla="*/ 629 w 1353"/>
                  <a:gd name="T27" fmla="*/ 110 h 295"/>
                  <a:gd name="T28" fmla="*/ 686 w 1353"/>
                  <a:gd name="T29" fmla="*/ 72 h 295"/>
                  <a:gd name="T30" fmla="*/ 723 w 1353"/>
                  <a:gd name="T31" fmla="*/ 110 h 295"/>
                  <a:gd name="T32" fmla="*/ 781 w 1353"/>
                  <a:gd name="T33" fmla="*/ 72 h 295"/>
                  <a:gd name="T34" fmla="*/ 817 w 1353"/>
                  <a:gd name="T35" fmla="*/ 110 h 295"/>
                  <a:gd name="T36" fmla="*/ 875 w 1353"/>
                  <a:gd name="T37" fmla="*/ 72 h 295"/>
                  <a:gd name="T38" fmla="*/ 911 w 1353"/>
                  <a:gd name="T39" fmla="*/ 110 h 295"/>
                  <a:gd name="T40" fmla="*/ 969 w 1353"/>
                  <a:gd name="T41" fmla="*/ 72 h 295"/>
                  <a:gd name="T42" fmla="*/ 1100 w 1353"/>
                  <a:gd name="T43" fmla="*/ 110 h 295"/>
                  <a:gd name="T44" fmla="*/ 1157 w 1353"/>
                  <a:gd name="T45" fmla="*/ 72 h 295"/>
                  <a:gd name="T46" fmla="*/ 1194 w 1353"/>
                  <a:gd name="T47" fmla="*/ 110 h 295"/>
                  <a:gd name="T48" fmla="*/ 1251 w 1353"/>
                  <a:gd name="T49" fmla="*/ 72 h 295"/>
                  <a:gd name="T50" fmla="*/ 1004 w 1353"/>
                  <a:gd name="T51" fmla="*/ 207 h 295"/>
                  <a:gd name="T52" fmla="*/ 1062 w 1353"/>
                  <a:gd name="T53" fmla="*/ 169 h 295"/>
                  <a:gd name="T54" fmla="*/ 251 w 1353"/>
                  <a:gd name="T55" fmla="*/ 207 h 295"/>
                  <a:gd name="T56" fmla="*/ 309 w 1353"/>
                  <a:gd name="T57" fmla="*/ 169 h 295"/>
                  <a:gd name="T58" fmla="*/ 345 w 1353"/>
                  <a:gd name="T59" fmla="*/ 207 h 295"/>
                  <a:gd name="T60" fmla="*/ 403 w 1353"/>
                  <a:gd name="T61" fmla="*/ 169 h 295"/>
                  <a:gd name="T62" fmla="*/ 439 w 1353"/>
                  <a:gd name="T63" fmla="*/ 207 h 295"/>
                  <a:gd name="T64" fmla="*/ 497 w 1353"/>
                  <a:gd name="T65" fmla="*/ 169 h 295"/>
                  <a:gd name="T66" fmla="*/ 534 w 1353"/>
                  <a:gd name="T67" fmla="*/ 207 h 295"/>
                  <a:gd name="T68" fmla="*/ 591 w 1353"/>
                  <a:gd name="T69" fmla="*/ 169 h 295"/>
                  <a:gd name="T70" fmla="*/ 628 w 1353"/>
                  <a:gd name="T71" fmla="*/ 207 h 295"/>
                  <a:gd name="T72" fmla="*/ 685 w 1353"/>
                  <a:gd name="T73" fmla="*/ 169 h 295"/>
                  <a:gd name="T74" fmla="*/ 722 w 1353"/>
                  <a:gd name="T75" fmla="*/ 207 h 295"/>
                  <a:gd name="T76" fmla="*/ 779 w 1353"/>
                  <a:gd name="T77" fmla="*/ 169 h 295"/>
                  <a:gd name="T78" fmla="*/ 816 w 1353"/>
                  <a:gd name="T79" fmla="*/ 207 h 295"/>
                  <a:gd name="T80" fmla="*/ 874 w 1353"/>
                  <a:gd name="T81" fmla="*/ 169 h 295"/>
                  <a:gd name="T82" fmla="*/ 910 w 1353"/>
                  <a:gd name="T83" fmla="*/ 207 h 295"/>
                  <a:gd name="T84" fmla="*/ 968 w 1353"/>
                  <a:gd name="T85" fmla="*/ 169 h 295"/>
                  <a:gd name="T86" fmla="*/ 1099 w 1353"/>
                  <a:gd name="T87" fmla="*/ 207 h 295"/>
                  <a:gd name="T88" fmla="*/ 1156 w 1353"/>
                  <a:gd name="T89" fmla="*/ 169 h 295"/>
                  <a:gd name="T90" fmla="*/ 1193 w 1353"/>
                  <a:gd name="T91" fmla="*/ 207 h 295"/>
                  <a:gd name="T92" fmla="*/ 1250 w 1353"/>
                  <a:gd name="T93" fmla="*/ 169 h 295"/>
                  <a:gd name="T94" fmla="*/ 115 w 1353"/>
                  <a:gd name="T95" fmla="*/ 175 h 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353" h="295">
                    <a:moveTo>
                      <a:pt x="1353" y="275"/>
                    </a:moveTo>
                    <a:cubicBezTo>
                      <a:pt x="1353" y="286"/>
                      <a:pt x="1344" y="295"/>
                      <a:pt x="1333" y="295"/>
                    </a:cubicBezTo>
                    <a:cubicBezTo>
                      <a:pt x="20" y="295"/>
                      <a:pt x="20" y="295"/>
                      <a:pt x="20" y="295"/>
                    </a:cubicBezTo>
                    <a:cubicBezTo>
                      <a:pt x="9" y="295"/>
                      <a:pt x="0" y="286"/>
                      <a:pt x="0" y="275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1333" y="0"/>
                      <a:pt x="1333" y="0"/>
                      <a:pt x="1333" y="0"/>
                    </a:cubicBezTo>
                    <a:cubicBezTo>
                      <a:pt x="1344" y="0"/>
                      <a:pt x="1353" y="9"/>
                      <a:pt x="1353" y="20"/>
                    </a:cubicBezTo>
                    <a:lnTo>
                      <a:pt x="1353" y="275"/>
                    </a:lnTo>
                    <a:close/>
                    <a:moveTo>
                      <a:pt x="1063" y="72"/>
                    </a:moveTo>
                    <a:cubicBezTo>
                      <a:pt x="1006" y="72"/>
                      <a:pt x="1006" y="72"/>
                      <a:pt x="1006" y="72"/>
                    </a:cubicBezTo>
                    <a:cubicBezTo>
                      <a:pt x="1006" y="110"/>
                      <a:pt x="1006" y="110"/>
                      <a:pt x="1006" y="110"/>
                    </a:cubicBezTo>
                    <a:cubicBezTo>
                      <a:pt x="1032" y="125"/>
                      <a:pt x="1032" y="125"/>
                      <a:pt x="1032" y="125"/>
                    </a:cubicBezTo>
                    <a:cubicBezTo>
                      <a:pt x="1063" y="110"/>
                      <a:pt x="1063" y="110"/>
                      <a:pt x="1063" y="110"/>
                    </a:cubicBezTo>
                    <a:lnTo>
                      <a:pt x="1063" y="72"/>
                    </a:lnTo>
                    <a:close/>
                    <a:moveTo>
                      <a:pt x="310" y="72"/>
                    </a:moveTo>
                    <a:cubicBezTo>
                      <a:pt x="252" y="72"/>
                      <a:pt x="252" y="72"/>
                      <a:pt x="252" y="72"/>
                    </a:cubicBezTo>
                    <a:cubicBezTo>
                      <a:pt x="252" y="110"/>
                      <a:pt x="252" y="110"/>
                      <a:pt x="252" y="110"/>
                    </a:cubicBezTo>
                    <a:cubicBezTo>
                      <a:pt x="279" y="125"/>
                      <a:pt x="279" y="125"/>
                      <a:pt x="279" y="125"/>
                    </a:cubicBezTo>
                    <a:cubicBezTo>
                      <a:pt x="310" y="110"/>
                      <a:pt x="310" y="110"/>
                      <a:pt x="310" y="110"/>
                    </a:cubicBezTo>
                    <a:lnTo>
                      <a:pt x="310" y="72"/>
                    </a:lnTo>
                    <a:close/>
                    <a:moveTo>
                      <a:pt x="404" y="72"/>
                    </a:moveTo>
                    <a:cubicBezTo>
                      <a:pt x="346" y="72"/>
                      <a:pt x="346" y="72"/>
                      <a:pt x="346" y="72"/>
                    </a:cubicBezTo>
                    <a:cubicBezTo>
                      <a:pt x="346" y="110"/>
                      <a:pt x="346" y="110"/>
                      <a:pt x="346" y="110"/>
                    </a:cubicBezTo>
                    <a:cubicBezTo>
                      <a:pt x="373" y="125"/>
                      <a:pt x="373" y="125"/>
                      <a:pt x="373" y="125"/>
                    </a:cubicBezTo>
                    <a:cubicBezTo>
                      <a:pt x="404" y="110"/>
                      <a:pt x="404" y="110"/>
                      <a:pt x="404" y="110"/>
                    </a:cubicBezTo>
                    <a:lnTo>
                      <a:pt x="404" y="72"/>
                    </a:lnTo>
                    <a:close/>
                    <a:moveTo>
                      <a:pt x="498" y="72"/>
                    </a:moveTo>
                    <a:cubicBezTo>
                      <a:pt x="440" y="72"/>
                      <a:pt x="440" y="72"/>
                      <a:pt x="440" y="72"/>
                    </a:cubicBezTo>
                    <a:cubicBezTo>
                      <a:pt x="440" y="110"/>
                      <a:pt x="440" y="110"/>
                      <a:pt x="440" y="110"/>
                    </a:cubicBezTo>
                    <a:cubicBezTo>
                      <a:pt x="467" y="125"/>
                      <a:pt x="467" y="125"/>
                      <a:pt x="467" y="125"/>
                    </a:cubicBezTo>
                    <a:cubicBezTo>
                      <a:pt x="498" y="110"/>
                      <a:pt x="498" y="110"/>
                      <a:pt x="498" y="110"/>
                    </a:cubicBezTo>
                    <a:lnTo>
                      <a:pt x="498" y="72"/>
                    </a:lnTo>
                    <a:close/>
                    <a:moveTo>
                      <a:pt x="592" y="72"/>
                    </a:moveTo>
                    <a:cubicBezTo>
                      <a:pt x="535" y="72"/>
                      <a:pt x="535" y="72"/>
                      <a:pt x="535" y="72"/>
                    </a:cubicBezTo>
                    <a:cubicBezTo>
                      <a:pt x="535" y="110"/>
                      <a:pt x="535" y="110"/>
                      <a:pt x="535" y="110"/>
                    </a:cubicBezTo>
                    <a:cubicBezTo>
                      <a:pt x="562" y="125"/>
                      <a:pt x="562" y="125"/>
                      <a:pt x="562" y="125"/>
                    </a:cubicBezTo>
                    <a:cubicBezTo>
                      <a:pt x="592" y="110"/>
                      <a:pt x="592" y="110"/>
                      <a:pt x="592" y="110"/>
                    </a:cubicBezTo>
                    <a:lnTo>
                      <a:pt x="592" y="72"/>
                    </a:lnTo>
                    <a:close/>
                    <a:moveTo>
                      <a:pt x="686" y="72"/>
                    </a:moveTo>
                    <a:cubicBezTo>
                      <a:pt x="629" y="72"/>
                      <a:pt x="629" y="72"/>
                      <a:pt x="629" y="72"/>
                    </a:cubicBezTo>
                    <a:cubicBezTo>
                      <a:pt x="629" y="110"/>
                      <a:pt x="629" y="110"/>
                      <a:pt x="629" y="110"/>
                    </a:cubicBezTo>
                    <a:cubicBezTo>
                      <a:pt x="656" y="125"/>
                      <a:pt x="656" y="125"/>
                      <a:pt x="656" y="125"/>
                    </a:cubicBezTo>
                    <a:cubicBezTo>
                      <a:pt x="686" y="110"/>
                      <a:pt x="686" y="110"/>
                      <a:pt x="686" y="110"/>
                    </a:cubicBezTo>
                    <a:lnTo>
                      <a:pt x="686" y="72"/>
                    </a:lnTo>
                    <a:close/>
                    <a:moveTo>
                      <a:pt x="781" y="72"/>
                    </a:moveTo>
                    <a:cubicBezTo>
                      <a:pt x="723" y="72"/>
                      <a:pt x="723" y="72"/>
                      <a:pt x="723" y="72"/>
                    </a:cubicBezTo>
                    <a:cubicBezTo>
                      <a:pt x="723" y="110"/>
                      <a:pt x="723" y="110"/>
                      <a:pt x="723" y="110"/>
                    </a:cubicBezTo>
                    <a:cubicBezTo>
                      <a:pt x="750" y="125"/>
                      <a:pt x="750" y="125"/>
                      <a:pt x="750" y="125"/>
                    </a:cubicBezTo>
                    <a:cubicBezTo>
                      <a:pt x="781" y="110"/>
                      <a:pt x="781" y="110"/>
                      <a:pt x="781" y="110"/>
                    </a:cubicBezTo>
                    <a:lnTo>
                      <a:pt x="781" y="72"/>
                    </a:lnTo>
                    <a:close/>
                    <a:moveTo>
                      <a:pt x="875" y="72"/>
                    </a:moveTo>
                    <a:cubicBezTo>
                      <a:pt x="817" y="72"/>
                      <a:pt x="817" y="72"/>
                      <a:pt x="817" y="72"/>
                    </a:cubicBezTo>
                    <a:cubicBezTo>
                      <a:pt x="817" y="110"/>
                      <a:pt x="817" y="110"/>
                      <a:pt x="817" y="110"/>
                    </a:cubicBezTo>
                    <a:cubicBezTo>
                      <a:pt x="844" y="125"/>
                      <a:pt x="844" y="125"/>
                      <a:pt x="844" y="125"/>
                    </a:cubicBezTo>
                    <a:cubicBezTo>
                      <a:pt x="875" y="110"/>
                      <a:pt x="875" y="110"/>
                      <a:pt x="875" y="110"/>
                    </a:cubicBezTo>
                    <a:lnTo>
                      <a:pt x="875" y="72"/>
                    </a:lnTo>
                    <a:close/>
                    <a:moveTo>
                      <a:pt x="969" y="72"/>
                    </a:moveTo>
                    <a:cubicBezTo>
                      <a:pt x="911" y="72"/>
                      <a:pt x="911" y="72"/>
                      <a:pt x="911" y="72"/>
                    </a:cubicBezTo>
                    <a:cubicBezTo>
                      <a:pt x="911" y="110"/>
                      <a:pt x="911" y="110"/>
                      <a:pt x="911" y="110"/>
                    </a:cubicBezTo>
                    <a:cubicBezTo>
                      <a:pt x="938" y="125"/>
                      <a:pt x="938" y="125"/>
                      <a:pt x="938" y="125"/>
                    </a:cubicBezTo>
                    <a:cubicBezTo>
                      <a:pt x="969" y="110"/>
                      <a:pt x="969" y="110"/>
                      <a:pt x="969" y="110"/>
                    </a:cubicBezTo>
                    <a:lnTo>
                      <a:pt x="969" y="72"/>
                    </a:lnTo>
                    <a:close/>
                    <a:moveTo>
                      <a:pt x="1157" y="72"/>
                    </a:moveTo>
                    <a:cubicBezTo>
                      <a:pt x="1100" y="72"/>
                      <a:pt x="1100" y="72"/>
                      <a:pt x="1100" y="72"/>
                    </a:cubicBezTo>
                    <a:cubicBezTo>
                      <a:pt x="1100" y="110"/>
                      <a:pt x="1100" y="110"/>
                      <a:pt x="1100" y="110"/>
                    </a:cubicBezTo>
                    <a:cubicBezTo>
                      <a:pt x="1127" y="125"/>
                      <a:pt x="1127" y="125"/>
                      <a:pt x="1127" y="125"/>
                    </a:cubicBezTo>
                    <a:cubicBezTo>
                      <a:pt x="1157" y="110"/>
                      <a:pt x="1157" y="110"/>
                      <a:pt x="1157" y="110"/>
                    </a:cubicBezTo>
                    <a:lnTo>
                      <a:pt x="1157" y="72"/>
                    </a:lnTo>
                    <a:close/>
                    <a:moveTo>
                      <a:pt x="1251" y="72"/>
                    </a:moveTo>
                    <a:cubicBezTo>
                      <a:pt x="1194" y="72"/>
                      <a:pt x="1194" y="72"/>
                      <a:pt x="1194" y="72"/>
                    </a:cubicBezTo>
                    <a:cubicBezTo>
                      <a:pt x="1194" y="110"/>
                      <a:pt x="1194" y="110"/>
                      <a:pt x="1194" y="110"/>
                    </a:cubicBezTo>
                    <a:cubicBezTo>
                      <a:pt x="1221" y="125"/>
                      <a:pt x="1221" y="125"/>
                      <a:pt x="1221" y="125"/>
                    </a:cubicBezTo>
                    <a:cubicBezTo>
                      <a:pt x="1251" y="110"/>
                      <a:pt x="1251" y="110"/>
                      <a:pt x="1251" y="110"/>
                    </a:cubicBezTo>
                    <a:lnTo>
                      <a:pt x="1251" y="72"/>
                    </a:lnTo>
                    <a:close/>
                    <a:moveTo>
                      <a:pt x="1062" y="169"/>
                    </a:moveTo>
                    <a:cubicBezTo>
                      <a:pt x="1004" y="169"/>
                      <a:pt x="1004" y="169"/>
                      <a:pt x="1004" y="169"/>
                    </a:cubicBezTo>
                    <a:cubicBezTo>
                      <a:pt x="1004" y="207"/>
                      <a:pt x="1004" y="207"/>
                      <a:pt x="1004" y="207"/>
                    </a:cubicBezTo>
                    <a:cubicBezTo>
                      <a:pt x="1031" y="222"/>
                      <a:pt x="1031" y="222"/>
                      <a:pt x="1031" y="222"/>
                    </a:cubicBezTo>
                    <a:cubicBezTo>
                      <a:pt x="1062" y="207"/>
                      <a:pt x="1062" y="207"/>
                      <a:pt x="1062" y="207"/>
                    </a:cubicBezTo>
                    <a:lnTo>
                      <a:pt x="1062" y="169"/>
                    </a:lnTo>
                    <a:close/>
                    <a:moveTo>
                      <a:pt x="309" y="169"/>
                    </a:moveTo>
                    <a:cubicBezTo>
                      <a:pt x="251" y="169"/>
                      <a:pt x="251" y="169"/>
                      <a:pt x="251" y="169"/>
                    </a:cubicBezTo>
                    <a:cubicBezTo>
                      <a:pt x="251" y="207"/>
                      <a:pt x="251" y="207"/>
                      <a:pt x="251" y="207"/>
                    </a:cubicBezTo>
                    <a:cubicBezTo>
                      <a:pt x="278" y="222"/>
                      <a:pt x="278" y="222"/>
                      <a:pt x="278" y="222"/>
                    </a:cubicBezTo>
                    <a:cubicBezTo>
                      <a:pt x="309" y="207"/>
                      <a:pt x="309" y="207"/>
                      <a:pt x="309" y="207"/>
                    </a:cubicBezTo>
                    <a:lnTo>
                      <a:pt x="309" y="169"/>
                    </a:lnTo>
                    <a:close/>
                    <a:moveTo>
                      <a:pt x="403" y="169"/>
                    </a:moveTo>
                    <a:cubicBezTo>
                      <a:pt x="345" y="169"/>
                      <a:pt x="345" y="169"/>
                      <a:pt x="345" y="169"/>
                    </a:cubicBezTo>
                    <a:cubicBezTo>
                      <a:pt x="345" y="207"/>
                      <a:pt x="345" y="207"/>
                      <a:pt x="345" y="207"/>
                    </a:cubicBezTo>
                    <a:cubicBezTo>
                      <a:pt x="372" y="222"/>
                      <a:pt x="372" y="222"/>
                      <a:pt x="372" y="222"/>
                    </a:cubicBezTo>
                    <a:cubicBezTo>
                      <a:pt x="403" y="207"/>
                      <a:pt x="403" y="207"/>
                      <a:pt x="403" y="207"/>
                    </a:cubicBezTo>
                    <a:lnTo>
                      <a:pt x="403" y="169"/>
                    </a:lnTo>
                    <a:close/>
                    <a:moveTo>
                      <a:pt x="497" y="169"/>
                    </a:moveTo>
                    <a:cubicBezTo>
                      <a:pt x="439" y="169"/>
                      <a:pt x="439" y="169"/>
                      <a:pt x="439" y="169"/>
                    </a:cubicBezTo>
                    <a:cubicBezTo>
                      <a:pt x="439" y="207"/>
                      <a:pt x="439" y="207"/>
                      <a:pt x="439" y="207"/>
                    </a:cubicBezTo>
                    <a:cubicBezTo>
                      <a:pt x="466" y="222"/>
                      <a:pt x="466" y="222"/>
                      <a:pt x="466" y="222"/>
                    </a:cubicBezTo>
                    <a:cubicBezTo>
                      <a:pt x="497" y="207"/>
                      <a:pt x="497" y="207"/>
                      <a:pt x="497" y="207"/>
                    </a:cubicBezTo>
                    <a:lnTo>
                      <a:pt x="497" y="169"/>
                    </a:lnTo>
                    <a:close/>
                    <a:moveTo>
                      <a:pt x="591" y="169"/>
                    </a:moveTo>
                    <a:cubicBezTo>
                      <a:pt x="534" y="169"/>
                      <a:pt x="534" y="169"/>
                      <a:pt x="534" y="169"/>
                    </a:cubicBezTo>
                    <a:cubicBezTo>
                      <a:pt x="534" y="207"/>
                      <a:pt x="534" y="207"/>
                      <a:pt x="534" y="207"/>
                    </a:cubicBezTo>
                    <a:cubicBezTo>
                      <a:pt x="560" y="222"/>
                      <a:pt x="560" y="222"/>
                      <a:pt x="560" y="222"/>
                    </a:cubicBezTo>
                    <a:cubicBezTo>
                      <a:pt x="591" y="207"/>
                      <a:pt x="591" y="207"/>
                      <a:pt x="591" y="207"/>
                    </a:cubicBezTo>
                    <a:lnTo>
                      <a:pt x="591" y="169"/>
                    </a:lnTo>
                    <a:close/>
                    <a:moveTo>
                      <a:pt x="685" y="169"/>
                    </a:moveTo>
                    <a:cubicBezTo>
                      <a:pt x="628" y="169"/>
                      <a:pt x="628" y="169"/>
                      <a:pt x="628" y="169"/>
                    </a:cubicBezTo>
                    <a:cubicBezTo>
                      <a:pt x="628" y="207"/>
                      <a:pt x="628" y="207"/>
                      <a:pt x="628" y="207"/>
                    </a:cubicBezTo>
                    <a:cubicBezTo>
                      <a:pt x="655" y="222"/>
                      <a:pt x="655" y="222"/>
                      <a:pt x="655" y="222"/>
                    </a:cubicBezTo>
                    <a:cubicBezTo>
                      <a:pt x="685" y="207"/>
                      <a:pt x="685" y="207"/>
                      <a:pt x="685" y="207"/>
                    </a:cubicBezTo>
                    <a:lnTo>
                      <a:pt x="685" y="169"/>
                    </a:lnTo>
                    <a:close/>
                    <a:moveTo>
                      <a:pt x="779" y="169"/>
                    </a:moveTo>
                    <a:cubicBezTo>
                      <a:pt x="722" y="169"/>
                      <a:pt x="722" y="169"/>
                      <a:pt x="722" y="169"/>
                    </a:cubicBezTo>
                    <a:cubicBezTo>
                      <a:pt x="722" y="207"/>
                      <a:pt x="722" y="207"/>
                      <a:pt x="722" y="207"/>
                    </a:cubicBezTo>
                    <a:cubicBezTo>
                      <a:pt x="749" y="222"/>
                      <a:pt x="749" y="222"/>
                      <a:pt x="749" y="222"/>
                    </a:cubicBezTo>
                    <a:cubicBezTo>
                      <a:pt x="779" y="207"/>
                      <a:pt x="779" y="207"/>
                      <a:pt x="779" y="207"/>
                    </a:cubicBezTo>
                    <a:lnTo>
                      <a:pt x="779" y="169"/>
                    </a:lnTo>
                    <a:close/>
                    <a:moveTo>
                      <a:pt x="874" y="169"/>
                    </a:moveTo>
                    <a:cubicBezTo>
                      <a:pt x="816" y="169"/>
                      <a:pt x="816" y="169"/>
                      <a:pt x="816" y="169"/>
                    </a:cubicBezTo>
                    <a:cubicBezTo>
                      <a:pt x="816" y="207"/>
                      <a:pt x="816" y="207"/>
                      <a:pt x="816" y="207"/>
                    </a:cubicBezTo>
                    <a:cubicBezTo>
                      <a:pt x="843" y="222"/>
                      <a:pt x="843" y="222"/>
                      <a:pt x="843" y="222"/>
                    </a:cubicBezTo>
                    <a:cubicBezTo>
                      <a:pt x="874" y="207"/>
                      <a:pt x="874" y="207"/>
                      <a:pt x="874" y="207"/>
                    </a:cubicBezTo>
                    <a:lnTo>
                      <a:pt x="874" y="169"/>
                    </a:lnTo>
                    <a:close/>
                    <a:moveTo>
                      <a:pt x="968" y="169"/>
                    </a:moveTo>
                    <a:cubicBezTo>
                      <a:pt x="910" y="169"/>
                      <a:pt x="910" y="169"/>
                      <a:pt x="910" y="169"/>
                    </a:cubicBezTo>
                    <a:cubicBezTo>
                      <a:pt x="910" y="207"/>
                      <a:pt x="910" y="207"/>
                      <a:pt x="910" y="207"/>
                    </a:cubicBezTo>
                    <a:cubicBezTo>
                      <a:pt x="937" y="222"/>
                      <a:pt x="937" y="222"/>
                      <a:pt x="937" y="222"/>
                    </a:cubicBezTo>
                    <a:cubicBezTo>
                      <a:pt x="968" y="207"/>
                      <a:pt x="968" y="207"/>
                      <a:pt x="968" y="207"/>
                    </a:cubicBezTo>
                    <a:lnTo>
                      <a:pt x="968" y="169"/>
                    </a:lnTo>
                    <a:close/>
                    <a:moveTo>
                      <a:pt x="1156" y="169"/>
                    </a:moveTo>
                    <a:cubicBezTo>
                      <a:pt x="1099" y="169"/>
                      <a:pt x="1099" y="169"/>
                      <a:pt x="1099" y="169"/>
                    </a:cubicBezTo>
                    <a:cubicBezTo>
                      <a:pt x="1099" y="207"/>
                      <a:pt x="1099" y="207"/>
                      <a:pt x="1099" y="207"/>
                    </a:cubicBezTo>
                    <a:cubicBezTo>
                      <a:pt x="1125" y="222"/>
                      <a:pt x="1125" y="222"/>
                      <a:pt x="1125" y="222"/>
                    </a:cubicBezTo>
                    <a:cubicBezTo>
                      <a:pt x="1156" y="207"/>
                      <a:pt x="1156" y="207"/>
                      <a:pt x="1156" y="207"/>
                    </a:cubicBezTo>
                    <a:lnTo>
                      <a:pt x="1156" y="169"/>
                    </a:lnTo>
                    <a:close/>
                    <a:moveTo>
                      <a:pt x="1250" y="169"/>
                    </a:moveTo>
                    <a:cubicBezTo>
                      <a:pt x="1193" y="169"/>
                      <a:pt x="1193" y="169"/>
                      <a:pt x="1193" y="169"/>
                    </a:cubicBezTo>
                    <a:cubicBezTo>
                      <a:pt x="1193" y="207"/>
                      <a:pt x="1193" y="207"/>
                      <a:pt x="1193" y="207"/>
                    </a:cubicBezTo>
                    <a:cubicBezTo>
                      <a:pt x="1220" y="222"/>
                      <a:pt x="1220" y="222"/>
                      <a:pt x="1220" y="222"/>
                    </a:cubicBezTo>
                    <a:cubicBezTo>
                      <a:pt x="1250" y="207"/>
                      <a:pt x="1250" y="207"/>
                      <a:pt x="1250" y="207"/>
                    </a:cubicBezTo>
                    <a:lnTo>
                      <a:pt x="1250" y="169"/>
                    </a:lnTo>
                    <a:close/>
                    <a:moveTo>
                      <a:pt x="115" y="115"/>
                    </a:moveTo>
                    <a:cubicBezTo>
                      <a:pt x="99" y="115"/>
                      <a:pt x="85" y="129"/>
                      <a:pt x="85" y="145"/>
                    </a:cubicBezTo>
                    <a:cubicBezTo>
                      <a:pt x="85" y="162"/>
                      <a:pt x="99" y="175"/>
                      <a:pt x="115" y="175"/>
                    </a:cubicBezTo>
                    <a:cubicBezTo>
                      <a:pt x="132" y="175"/>
                      <a:pt x="145" y="162"/>
                      <a:pt x="145" y="145"/>
                    </a:cubicBezTo>
                    <a:cubicBezTo>
                      <a:pt x="145" y="129"/>
                      <a:pt x="132" y="115"/>
                      <a:pt x="115" y="115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77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205" name="Freeform 7"/>
              <p:cNvSpPr>
                <a:spLocks/>
              </p:cNvSpPr>
              <p:nvPr/>
            </p:nvSpPr>
            <p:spPr bwMode="auto">
              <a:xfrm rot="11068569">
                <a:off x="3145886" y="2405377"/>
                <a:ext cx="83086" cy="83294"/>
              </a:xfrm>
              <a:custGeom>
                <a:avLst/>
                <a:gdLst/>
                <a:ahLst/>
                <a:cxnLst/>
                <a:rect l="l" t="t" r="r" b="b"/>
                <a:pathLst>
                  <a:path w="281913" h="282618">
                    <a:moveTo>
                      <a:pt x="141765" y="51523"/>
                    </a:moveTo>
                    <a:lnTo>
                      <a:pt x="132619" y="51876"/>
                    </a:lnTo>
                    <a:lnTo>
                      <a:pt x="123473" y="53288"/>
                    </a:lnTo>
                    <a:lnTo>
                      <a:pt x="114678" y="55405"/>
                    </a:lnTo>
                    <a:lnTo>
                      <a:pt x="106588" y="58581"/>
                    </a:lnTo>
                    <a:lnTo>
                      <a:pt x="98497" y="62463"/>
                    </a:lnTo>
                    <a:lnTo>
                      <a:pt x="90758" y="66698"/>
                    </a:lnTo>
                    <a:lnTo>
                      <a:pt x="83722" y="71991"/>
                    </a:lnTo>
                    <a:lnTo>
                      <a:pt x="77390" y="78343"/>
                    </a:lnTo>
                    <a:lnTo>
                      <a:pt x="71410" y="84695"/>
                    </a:lnTo>
                    <a:lnTo>
                      <a:pt x="66134" y="91753"/>
                    </a:lnTo>
                    <a:lnTo>
                      <a:pt x="61560" y="99164"/>
                    </a:lnTo>
                    <a:lnTo>
                      <a:pt x="58043" y="107281"/>
                    </a:lnTo>
                    <a:lnTo>
                      <a:pt x="54877" y="115750"/>
                    </a:lnTo>
                    <a:lnTo>
                      <a:pt x="52766" y="124573"/>
                    </a:lnTo>
                    <a:lnTo>
                      <a:pt x="51007" y="133395"/>
                    </a:lnTo>
                    <a:lnTo>
                      <a:pt x="50655" y="142923"/>
                    </a:lnTo>
                    <a:lnTo>
                      <a:pt x="51359" y="153863"/>
                    </a:lnTo>
                    <a:lnTo>
                      <a:pt x="53470" y="164803"/>
                    </a:lnTo>
                    <a:lnTo>
                      <a:pt x="56636" y="175037"/>
                    </a:lnTo>
                    <a:lnTo>
                      <a:pt x="61209" y="184565"/>
                    </a:lnTo>
                    <a:lnTo>
                      <a:pt x="66485" y="193740"/>
                    </a:lnTo>
                    <a:lnTo>
                      <a:pt x="72817" y="202210"/>
                    </a:lnTo>
                    <a:lnTo>
                      <a:pt x="80204" y="209621"/>
                    </a:lnTo>
                    <a:lnTo>
                      <a:pt x="88025" y="216102"/>
                    </a:lnTo>
                    <a:lnTo>
                      <a:pt x="88082" y="216016"/>
                    </a:lnTo>
                    <a:lnTo>
                      <a:pt x="93711" y="220245"/>
                    </a:lnTo>
                    <a:lnTo>
                      <a:pt x="100043" y="223769"/>
                    </a:lnTo>
                    <a:lnTo>
                      <a:pt x="106375" y="226588"/>
                    </a:lnTo>
                    <a:lnTo>
                      <a:pt x="113410" y="229055"/>
                    </a:lnTo>
                    <a:lnTo>
                      <a:pt x="119742" y="231169"/>
                    </a:lnTo>
                    <a:lnTo>
                      <a:pt x="127130" y="232579"/>
                    </a:lnTo>
                    <a:lnTo>
                      <a:pt x="134165" y="233636"/>
                    </a:lnTo>
                    <a:lnTo>
                      <a:pt x="141553" y="233988"/>
                    </a:lnTo>
                    <a:lnTo>
                      <a:pt x="151051" y="233636"/>
                    </a:lnTo>
                    <a:lnTo>
                      <a:pt x="160197" y="231874"/>
                    </a:lnTo>
                    <a:lnTo>
                      <a:pt x="168640" y="229759"/>
                    </a:lnTo>
                    <a:lnTo>
                      <a:pt x="177434" y="226588"/>
                    </a:lnTo>
                    <a:lnTo>
                      <a:pt x="185525" y="223064"/>
                    </a:lnTo>
                    <a:lnTo>
                      <a:pt x="192561" y="218483"/>
                    </a:lnTo>
                    <a:lnTo>
                      <a:pt x="199597" y="213197"/>
                    </a:lnTo>
                    <a:lnTo>
                      <a:pt x="205929" y="207206"/>
                    </a:lnTo>
                    <a:lnTo>
                      <a:pt x="212261" y="200511"/>
                    </a:lnTo>
                    <a:lnTo>
                      <a:pt x="217537" y="193816"/>
                    </a:lnTo>
                    <a:lnTo>
                      <a:pt x="221759" y="186063"/>
                    </a:lnTo>
                    <a:lnTo>
                      <a:pt x="225628" y="177958"/>
                    </a:lnTo>
                    <a:lnTo>
                      <a:pt x="228794" y="169853"/>
                    </a:lnTo>
                    <a:lnTo>
                      <a:pt x="230905" y="161043"/>
                    </a:lnTo>
                    <a:lnTo>
                      <a:pt x="232312" y="151881"/>
                    </a:lnTo>
                    <a:lnTo>
                      <a:pt x="232664" y="142719"/>
                    </a:lnTo>
                    <a:lnTo>
                      <a:pt x="231960" y="130385"/>
                    </a:lnTo>
                    <a:lnTo>
                      <a:pt x="229498" y="118756"/>
                    </a:lnTo>
                    <a:lnTo>
                      <a:pt x="225980" y="107832"/>
                    </a:lnTo>
                    <a:lnTo>
                      <a:pt x="221055" y="97613"/>
                    </a:lnTo>
                    <a:lnTo>
                      <a:pt x="214371" y="87746"/>
                    </a:lnTo>
                    <a:lnTo>
                      <a:pt x="207336" y="79288"/>
                    </a:lnTo>
                    <a:lnTo>
                      <a:pt x="198893" y="71536"/>
                    </a:lnTo>
                    <a:lnTo>
                      <a:pt x="189395" y="65193"/>
                    </a:lnTo>
                    <a:lnTo>
                      <a:pt x="189411" y="65169"/>
                    </a:lnTo>
                    <a:lnTo>
                      <a:pt x="184330" y="62110"/>
                    </a:lnTo>
                    <a:lnTo>
                      <a:pt x="178701" y="58934"/>
                    </a:lnTo>
                    <a:lnTo>
                      <a:pt x="173073" y="57169"/>
                    </a:lnTo>
                    <a:lnTo>
                      <a:pt x="167444" y="55052"/>
                    </a:lnTo>
                    <a:lnTo>
                      <a:pt x="161113" y="53288"/>
                    </a:lnTo>
                    <a:lnTo>
                      <a:pt x="154781" y="52229"/>
                    </a:lnTo>
                    <a:lnTo>
                      <a:pt x="148449" y="51876"/>
                    </a:lnTo>
                    <a:close/>
                    <a:moveTo>
                      <a:pt x="134378" y="0"/>
                    </a:moveTo>
                    <a:lnTo>
                      <a:pt x="147393" y="0"/>
                    </a:lnTo>
                    <a:lnTo>
                      <a:pt x="151615" y="33172"/>
                    </a:lnTo>
                    <a:lnTo>
                      <a:pt x="154429" y="33525"/>
                    </a:lnTo>
                    <a:lnTo>
                      <a:pt x="156891" y="33878"/>
                    </a:lnTo>
                    <a:lnTo>
                      <a:pt x="159705" y="34231"/>
                    </a:lnTo>
                    <a:lnTo>
                      <a:pt x="162168" y="34584"/>
                    </a:lnTo>
                    <a:lnTo>
                      <a:pt x="164982" y="34937"/>
                    </a:lnTo>
                    <a:lnTo>
                      <a:pt x="167444" y="35996"/>
                    </a:lnTo>
                    <a:lnTo>
                      <a:pt x="169907" y="36348"/>
                    </a:lnTo>
                    <a:lnTo>
                      <a:pt x="172369" y="37054"/>
                    </a:lnTo>
                    <a:lnTo>
                      <a:pt x="188903" y="8117"/>
                    </a:lnTo>
                    <a:lnTo>
                      <a:pt x="200863" y="13057"/>
                    </a:lnTo>
                    <a:lnTo>
                      <a:pt x="192069" y="45524"/>
                    </a:lnTo>
                    <a:lnTo>
                      <a:pt x="194179" y="46582"/>
                    </a:lnTo>
                    <a:lnTo>
                      <a:pt x="196290" y="47641"/>
                    </a:lnTo>
                    <a:lnTo>
                      <a:pt x="197697" y="49053"/>
                    </a:lnTo>
                    <a:lnTo>
                      <a:pt x="199808" y="50111"/>
                    </a:lnTo>
                    <a:lnTo>
                      <a:pt x="199772" y="50165"/>
                    </a:lnTo>
                    <a:lnTo>
                      <a:pt x="202059" y="51802"/>
                    </a:lnTo>
                    <a:lnTo>
                      <a:pt x="204873" y="53564"/>
                    </a:lnTo>
                    <a:lnTo>
                      <a:pt x="207336" y="55326"/>
                    </a:lnTo>
                    <a:lnTo>
                      <a:pt x="209798" y="57440"/>
                    </a:lnTo>
                    <a:lnTo>
                      <a:pt x="236182" y="36649"/>
                    </a:lnTo>
                    <a:lnTo>
                      <a:pt x="244976" y="46164"/>
                    </a:lnTo>
                    <a:lnTo>
                      <a:pt x="224573" y="72241"/>
                    </a:lnTo>
                    <a:lnTo>
                      <a:pt x="227739" y="76469"/>
                    </a:lnTo>
                    <a:lnTo>
                      <a:pt x="230905" y="81050"/>
                    </a:lnTo>
                    <a:lnTo>
                      <a:pt x="233719" y="85279"/>
                    </a:lnTo>
                    <a:lnTo>
                      <a:pt x="236533" y="90213"/>
                    </a:lnTo>
                    <a:lnTo>
                      <a:pt x="268545" y="81403"/>
                    </a:lnTo>
                    <a:lnTo>
                      <a:pt x="273119" y="93032"/>
                    </a:lnTo>
                    <a:lnTo>
                      <a:pt x="244624" y="109594"/>
                    </a:lnTo>
                    <a:lnTo>
                      <a:pt x="245680" y="114880"/>
                    </a:lnTo>
                    <a:lnTo>
                      <a:pt x="247087" y="120166"/>
                    </a:lnTo>
                    <a:lnTo>
                      <a:pt x="247790" y="125452"/>
                    </a:lnTo>
                    <a:lnTo>
                      <a:pt x="248494" y="130738"/>
                    </a:lnTo>
                    <a:lnTo>
                      <a:pt x="281913" y="134966"/>
                    </a:lnTo>
                    <a:lnTo>
                      <a:pt x="281913" y="148005"/>
                    </a:lnTo>
                    <a:lnTo>
                      <a:pt x="248494" y="151881"/>
                    </a:lnTo>
                    <a:lnTo>
                      <a:pt x="247790" y="157167"/>
                    </a:lnTo>
                    <a:lnTo>
                      <a:pt x="247087" y="162453"/>
                    </a:lnTo>
                    <a:lnTo>
                      <a:pt x="245680" y="167739"/>
                    </a:lnTo>
                    <a:lnTo>
                      <a:pt x="244273" y="172672"/>
                    </a:lnTo>
                    <a:lnTo>
                      <a:pt x="273119" y="189234"/>
                    </a:lnTo>
                    <a:lnTo>
                      <a:pt x="268545" y="201568"/>
                    </a:lnTo>
                    <a:lnTo>
                      <a:pt x="236182" y="192406"/>
                    </a:lnTo>
                    <a:lnTo>
                      <a:pt x="233719" y="196987"/>
                    </a:lnTo>
                    <a:lnTo>
                      <a:pt x="230905" y="201568"/>
                    </a:lnTo>
                    <a:lnTo>
                      <a:pt x="227387" y="205797"/>
                    </a:lnTo>
                    <a:lnTo>
                      <a:pt x="224221" y="210026"/>
                    </a:lnTo>
                    <a:lnTo>
                      <a:pt x="244976" y="236807"/>
                    </a:lnTo>
                    <a:lnTo>
                      <a:pt x="236182" y="245617"/>
                    </a:lnTo>
                    <a:lnTo>
                      <a:pt x="209446" y="224826"/>
                    </a:lnTo>
                    <a:lnTo>
                      <a:pt x="207336" y="226588"/>
                    </a:lnTo>
                    <a:lnTo>
                      <a:pt x="204873" y="228350"/>
                    </a:lnTo>
                    <a:lnTo>
                      <a:pt x="202763" y="229759"/>
                    </a:lnTo>
                    <a:lnTo>
                      <a:pt x="200652" y="231521"/>
                    </a:lnTo>
                    <a:lnTo>
                      <a:pt x="198893" y="232579"/>
                    </a:lnTo>
                    <a:lnTo>
                      <a:pt x="196430" y="234341"/>
                    </a:lnTo>
                    <a:lnTo>
                      <a:pt x="194320" y="235398"/>
                    </a:lnTo>
                    <a:lnTo>
                      <a:pt x="191857" y="236807"/>
                    </a:lnTo>
                    <a:lnTo>
                      <a:pt x="200652" y="269227"/>
                    </a:lnTo>
                    <a:lnTo>
                      <a:pt x="188691" y="274513"/>
                    </a:lnTo>
                    <a:lnTo>
                      <a:pt x="172158" y="244912"/>
                    </a:lnTo>
                    <a:lnTo>
                      <a:pt x="169695" y="245617"/>
                    </a:lnTo>
                    <a:lnTo>
                      <a:pt x="166881" y="245969"/>
                    </a:lnTo>
                    <a:lnTo>
                      <a:pt x="164419" y="247027"/>
                    </a:lnTo>
                    <a:lnTo>
                      <a:pt x="161956" y="247379"/>
                    </a:lnTo>
                    <a:lnTo>
                      <a:pt x="159142" y="247731"/>
                    </a:lnTo>
                    <a:lnTo>
                      <a:pt x="156679" y="248084"/>
                    </a:lnTo>
                    <a:lnTo>
                      <a:pt x="153865" y="248436"/>
                    </a:lnTo>
                    <a:lnTo>
                      <a:pt x="151403" y="248789"/>
                    </a:lnTo>
                    <a:lnTo>
                      <a:pt x="147181" y="282618"/>
                    </a:lnTo>
                    <a:lnTo>
                      <a:pt x="134165" y="282618"/>
                    </a:lnTo>
                    <a:lnTo>
                      <a:pt x="129944" y="248789"/>
                    </a:lnTo>
                    <a:lnTo>
                      <a:pt x="127482" y="248436"/>
                    </a:lnTo>
                    <a:lnTo>
                      <a:pt x="124667" y="248084"/>
                    </a:lnTo>
                    <a:lnTo>
                      <a:pt x="122205" y="247731"/>
                    </a:lnTo>
                    <a:lnTo>
                      <a:pt x="119742" y="247379"/>
                    </a:lnTo>
                    <a:lnTo>
                      <a:pt x="116928" y="247027"/>
                    </a:lnTo>
                    <a:lnTo>
                      <a:pt x="114466" y="245969"/>
                    </a:lnTo>
                    <a:lnTo>
                      <a:pt x="112003" y="245617"/>
                    </a:lnTo>
                    <a:lnTo>
                      <a:pt x="109541" y="244912"/>
                    </a:lnTo>
                    <a:lnTo>
                      <a:pt x="92655" y="274513"/>
                    </a:lnTo>
                    <a:lnTo>
                      <a:pt x="80695" y="269227"/>
                    </a:lnTo>
                    <a:lnTo>
                      <a:pt x="89841" y="236807"/>
                    </a:lnTo>
                    <a:lnTo>
                      <a:pt x="87027" y="235045"/>
                    </a:lnTo>
                    <a:lnTo>
                      <a:pt x="84213" y="233636"/>
                    </a:lnTo>
                    <a:lnTo>
                      <a:pt x="81750" y="231521"/>
                    </a:lnTo>
                    <a:lnTo>
                      <a:pt x="79241" y="229950"/>
                    </a:lnTo>
                    <a:lnTo>
                      <a:pt x="79149" y="230089"/>
                    </a:lnTo>
                    <a:lnTo>
                      <a:pt x="77390" y="229030"/>
                    </a:lnTo>
                    <a:lnTo>
                      <a:pt x="75631" y="227619"/>
                    </a:lnTo>
                    <a:lnTo>
                      <a:pt x="74224" y="226560"/>
                    </a:lnTo>
                    <a:lnTo>
                      <a:pt x="72465" y="225148"/>
                    </a:lnTo>
                    <a:lnTo>
                      <a:pt x="45731" y="245969"/>
                    </a:lnTo>
                    <a:lnTo>
                      <a:pt x="36936" y="237147"/>
                    </a:lnTo>
                    <a:lnTo>
                      <a:pt x="56987" y="210327"/>
                    </a:lnTo>
                    <a:lnTo>
                      <a:pt x="53821" y="205739"/>
                    </a:lnTo>
                    <a:lnTo>
                      <a:pt x="51007" y="201857"/>
                    </a:lnTo>
                    <a:lnTo>
                      <a:pt x="48193" y="197269"/>
                    </a:lnTo>
                    <a:lnTo>
                      <a:pt x="45379" y="192682"/>
                    </a:lnTo>
                    <a:lnTo>
                      <a:pt x="13367" y="201857"/>
                    </a:lnTo>
                    <a:lnTo>
                      <a:pt x="8443" y="189506"/>
                    </a:lnTo>
                    <a:lnTo>
                      <a:pt x="37640" y="172920"/>
                    </a:lnTo>
                    <a:lnTo>
                      <a:pt x="36585" y="167979"/>
                    </a:lnTo>
                    <a:lnTo>
                      <a:pt x="35177" y="162686"/>
                    </a:lnTo>
                    <a:lnTo>
                      <a:pt x="34474" y="157392"/>
                    </a:lnTo>
                    <a:lnTo>
                      <a:pt x="33770" y="152099"/>
                    </a:lnTo>
                    <a:lnTo>
                      <a:pt x="0" y="148217"/>
                    </a:lnTo>
                    <a:lnTo>
                      <a:pt x="0" y="135160"/>
                    </a:lnTo>
                    <a:lnTo>
                      <a:pt x="33770" y="130572"/>
                    </a:lnTo>
                    <a:lnTo>
                      <a:pt x="34122" y="125278"/>
                    </a:lnTo>
                    <a:lnTo>
                      <a:pt x="35177" y="119985"/>
                    </a:lnTo>
                    <a:lnTo>
                      <a:pt x="36233" y="115044"/>
                    </a:lnTo>
                    <a:lnTo>
                      <a:pt x="37640" y="109751"/>
                    </a:lnTo>
                    <a:lnTo>
                      <a:pt x="8443" y="93165"/>
                    </a:lnTo>
                    <a:lnTo>
                      <a:pt x="13367" y="81519"/>
                    </a:lnTo>
                    <a:lnTo>
                      <a:pt x="45379" y="90342"/>
                    </a:lnTo>
                    <a:lnTo>
                      <a:pt x="47841" y="85401"/>
                    </a:lnTo>
                    <a:lnTo>
                      <a:pt x="50655" y="81166"/>
                    </a:lnTo>
                    <a:lnTo>
                      <a:pt x="53821" y="76932"/>
                    </a:lnTo>
                    <a:lnTo>
                      <a:pt x="56987" y="72344"/>
                    </a:lnTo>
                    <a:lnTo>
                      <a:pt x="36936" y="46230"/>
                    </a:lnTo>
                    <a:lnTo>
                      <a:pt x="45731" y="36701"/>
                    </a:lnTo>
                    <a:lnTo>
                      <a:pt x="72114" y="57522"/>
                    </a:lnTo>
                    <a:lnTo>
                      <a:pt x="74224" y="55758"/>
                    </a:lnTo>
                    <a:lnTo>
                      <a:pt x="76335" y="54346"/>
                    </a:lnTo>
                    <a:lnTo>
                      <a:pt x="78094" y="52582"/>
                    </a:lnTo>
                    <a:lnTo>
                      <a:pt x="80556" y="50817"/>
                    </a:lnTo>
                    <a:lnTo>
                      <a:pt x="82667" y="49759"/>
                    </a:lnTo>
                    <a:lnTo>
                      <a:pt x="85129" y="47994"/>
                    </a:lnTo>
                    <a:lnTo>
                      <a:pt x="87240" y="46935"/>
                    </a:lnTo>
                    <a:lnTo>
                      <a:pt x="89702" y="45524"/>
                    </a:lnTo>
                    <a:lnTo>
                      <a:pt x="80908" y="13057"/>
                    </a:lnTo>
                    <a:lnTo>
                      <a:pt x="92868" y="8117"/>
                    </a:lnTo>
                    <a:lnTo>
                      <a:pt x="109402" y="37054"/>
                    </a:lnTo>
                    <a:lnTo>
                      <a:pt x="111864" y="36348"/>
                    </a:lnTo>
                    <a:lnTo>
                      <a:pt x="114327" y="35996"/>
                    </a:lnTo>
                    <a:lnTo>
                      <a:pt x="117141" y="34937"/>
                    </a:lnTo>
                    <a:lnTo>
                      <a:pt x="119603" y="34584"/>
                    </a:lnTo>
                    <a:lnTo>
                      <a:pt x="122417" y="34231"/>
                    </a:lnTo>
                    <a:lnTo>
                      <a:pt x="124880" y="33878"/>
                    </a:lnTo>
                    <a:lnTo>
                      <a:pt x="127694" y="33525"/>
                    </a:lnTo>
                    <a:lnTo>
                      <a:pt x="130156" y="3317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206" name="Freeform 11"/>
              <p:cNvSpPr>
                <a:spLocks/>
              </p:cNvSpPr>
              <p:nvPr/>
            </p:nvSpPr>
            <p:spPr bwMode="auto">
              <a:xfrm rot="11068569">
                <a:off x="3087238" y="2465425"/>
                <a:ext cx="99704" cy="99496"/>
              </a:xfrm>
              <a:custGeom>
                <a:avLst/>
                <a:gdLst/>
                <a:ahLst/>
                <a:cxnLst/>
                <a:rect l="l" t="t" r="r" b="b"/>
                <a:pathLst>
                  <a:path w="338297" h="337591">
                    <a:moveTo>
                      <a:pt x="164083" y="61316"/>
                    </a:moveTo>
                    <a:lnTo>
                      <a:pt x="153144" y="62373"/>
                    </a:lnTo>
                    <a:lnTo>
                      <a:pt x="142558" y="64840"/>
                    </a:lnTo>
                    <a:lnTo>
                      <a:pt x="132325" y="67659"/>
                    </a:lnTo>
                    <a:lnTo>
                      <a:pt x="122444" y="71888"/>
                    </a:lnTo>
                    <a:lnTo>
                      <a:pt x="113623" y="77174"/>
                    </a:lnTo>
                    <a:lnTo>
                      <a:pt x="104801" y="82812"/>
                    </a:lnTo>
                    <a:lnTo>
                      <a:pt x="96685" y="89860"/>
                    </a:lnTo>
                    <a:lnTo>
                      <a:pt x="89275" y="96908"/>
                    </a:lnTo>
                    <a:lnTo>
                      <a:pt x="82218" y="105013"/>
                    </a:lnTo>
                    <a:lnTo>
                      <a:pt x="76219" y="114175"/>
                    </a:lnTo>
                    <a:lnTo>
                      <a:pt x="71279" y="123337"/>
                    </a:lnTo>
                    <a:lnTo>
                      <a:pt x="67044" y="133557"/>
                    </a:lnTo>
                    <a:lnTo>
                      <a:pt x="63516" y="144128"/>
                    </a:lnTo>
                    <a:lnTo>
                      <a:pt x="61752" y="155052"/>
                    </a:lnTo>
                    <a:lnTo>
                      <a:pt x="60340" y="168443"/>
                    </a:lnTo>
                    <a:lnTo>
                      <a:pt x="60693" y="181482"/>
                    </a:lnTo>
                    <a:lnTo>
                      <a:pt x="62810" y="193815"/>
                    </a:lnTo>
                    <a:lnTo>
                      <a:pt x="66692" y="206502"/>
                    </a:lnTo>
                    <a:lnTo>
                      <a:pt x="71279" y="218483"/>
                    </a:lnTo>
                    <a:lnTo>
                      <a:pt x="77630" y="229407"/>
                    </a:lnTo>
                    <a:lnTo>
                      <a:pt x="84688" y="239274"/>
                    </a:lnTo>
                    <a:lnTo>
                      <a:pt x="93509" y="248789"/>
                    </a:lnTo>
                    <a:lnTo>
                      <a:pt x="93464" y="248838"/>
                    </a:lnTo>
                    <a:lnTo>
                      <a:pt x="99760" y="254427"/>
                    </a:lnTo>
                    <a:lnTo>
                      <a:pt x="106111" y="259713"/>
                    </a:lnTo>
                    <a:lnTo>
                      <a:pt x="113169" y="264294"/>
                    </a:lnTo>
                    <a:lnTo>
                      <a:pt x="120932" y="268170"/>
                    </a:lnTo>
                    <a:lnTo>
                      <a:pt x="128695" y="272046"/>
                    </a:lnTo>
                    <a:lnTo>
                      <a:pt x="136811" y="274865"/>
                    </a:lnTo>
                    <a:lnTo>
                      <a:pt x="145279" y="277332"/>
                    </a:lnTo>
                    <a:lnTo>
                      <a:pt x="154101" y="278742"/>
                    </a:lnTo>
                    <a:lnTo>
                      <a:pt x="165746" y="280151"/>
                    </a:lnTo>
                    <a:lnTo>
                      <a:pt x="176684" y="279447"/>
                    </a:lnTo>
                    <a:lnTo>
                      <a:pt x="187270" y="278389"/>
                    </a:lnTo>
                    <a:lnTo>
                      <a:pt x="197856" y="276275"/>
                    </a:lnTo>
                    <a:lnTo>
                      <a:pt x="207737" y="273103"/>
                    </a:lnTo>
                    <a:lnTo>
                      <a:pt x="217617" y="269227"/>
                    </a:lnTo>
                    <a:lnTo>
                      <a:pt x="226791" y="264294"/>
                    </a:lnTo>
                    <a:lnTo>
                      <a:pt x="235966" y="257951"/>
                    </a:lnTo>
                    <a:lnTo>
                      <a:pt x="244082" y="251608"/>
                    </a:lnTo>
                    <a:lnTo>
                      <a:pt x="251492" y="244207"/>
                    </a:lnTo>
                    <a:lnTo>
                      <a:pt x="258196" y="236102"/>
                    </a:lnTo>
                    <a:lnTo>
                      <a:pt x="263842" y="227293"/>
                    </a:lnTo>
                    <a:lnTo>
                      <a:pt x="269135" y="217778"/>
                    </a:lnTo>
                    <a:lnTo>
                      <a:pt x="273370" y="208263"/>
                    </a:lnTo>
                    <a:lnTo>
                      <a:pt x="276546" y="197692"/>
                    </a:lnTo>
                    <a:lnTo>
                      <a:pt x="278663" y="186768"/>
                    </a:lnTo>
                    <a:lnTo>
                      <a:pt x="279721" y="171967"/>
                    </a:lnTo>
                    <a:lnTo>
                      <a:pt x="279016" y="157871"/>
                    </a:lnTo>
                    <a:lnTo>
                      <a:pt x="276546" y="144128"/>
                    </a:lnTo>
                    <a:lnTo>
                      <a:pt x="272311" y="131090"/>
                    </a:lnTo>
                    <a:lnTo>
                      <a:pt x="266312" y="118404"/>
                    </a:lnTo>
                    <a:lnTo>
                      <a:pt x="259608" y="106775"/>
                    </a:lnTo>
                    <a:lnTo>
                      <a:pt x="250433" y="96203"/>
                    </a:lnTo>
                    <a:lnTo>
                      <a:pt x="240906" y="86688"/>
                    </a:lnTo>
                    <a:lnTo>
                      <a:pt x="240944" y="86647"/>
                    </a:lnTo>
                    <a:lnTo>
                      <a:pt x="234656" y="82460"/>
                    </a:lnTo>
                    <a:lnTo>
                      <a:pt x="228657" y="78231"/>
                    </a:lnTo>
                    <a:lnTo>
                      <a:pt x="222305" y="74355"/>
                    </a:lnTo>
                    <a:lnTo>
                      <a:pt x="215601" y="71183"/>
                    </a:lnTo>
                    <a:lnTo>
                      <a:pt x="208897" y="68012"/>
                    </a:lnTo>
                    <a:lnTo>
                      <a:pt x="201486" y="65897"/>
                    </a:lnTo>
                    <a:lnTo>
                      <a:pt x="193723" y="63783"/>
                    </a:lnTo>
                    <a:lnTo>
                      <a:pt x="185960" y="62373"/>
                    </a:lnTo>
                    <a:lnTo>
                      <a:pt x="175021" y="61316"/>
                    </a:lnTo>
                    <a:close/>
                    <a:moveTo>
                      <a:pt x="185960" y="0"/>
                    </a:moveTo>
                    <a:lnTo>
                      <a:pt x="201486" y="2467"/>
                    </a:lnTo>
                    <a:lnTo>
                      <a:pt x="200781" y="42640"/>
                    </a:lnTo>
                    <a:lnTo>
                      <a:pt x="203956" y="43344"/>
                    </a:lnTo>
                    <a:lnTo>
                      <a:pt x="207132" y="44401"/>
                    </a:lnTo>
                    <a:lnTo>
                      <a:pt x="209955" y="45106"/>
                    </a:lnTo>
                    <a:lnTo>
                      <a:pt x="213131" y="46163"/>
                    </a:lnTo>
                    <a:lnTo>
                      <a:pt x="215954" y="47573"/>
                    </a:lnTo>
                    <a:lnTo>
                      <a:pt x="218777" y="48630"/>
                    </a:lnTo>
                    <a:lnTo>
                      <a:pt x="221600" y="50040"/>
                    </a:lnTo>
                    <a:lnTo>
                      <a:pt x="224776" y="51097"/>
                    </a:lnTo>
                    <a:lnTo>
                      <a:pt x="249476" y="19382"/>
                    </a:lnTo>
                    <a:lnTo>
                      <a:pt x="262885" y="27487"/>
                    </a:lnTo>
                    <a:lnTo>
                      <a:pt x="246653" y="64135"/>
                    </a:lnTo>
                    <a:lnTo>
                      <a:pt x="249123" y="65897"/>
                    </a:lnTo>
                    <a:lnTo>
                      <a:pt x="250888" y="67307"/>
                    </a:lnTo>
                    <a:lnTo>
                      <a:pt x="253005" y="69421"/>
                    </a:lnTo>
                    <a:lnTo>
                      <a:pt x="255122" y="71183"/>
                    </a:lnTo>
                    <a:lnTo>
                      <a:pt x="255081" y="71228"/>
                    </a:lnTo>
                    <a:lnTo>
                      <a:pt x="257844" y="73297"/>
                    </a:lnTo>
                    <a:lnTo>
                      <a:pt x="260314" y="75764"/>
                    </a:lnTo>
                    <a:lnTo>
                      <a:pt x="263137" y="78231"/>
                    </a:lnTo>
                    <a:lnTo>
                      <a:pt x="265607" y="81050"/>
                    </a:lnTo>
                    <a:lnTo>
                      <a:pt x="300540" y="61316"/>
                    </a:lnTo>
                    <a:lnTo>
                      <a:pt x="309715" y="74002"/>
                    </a:lnTo>
                    <a:lnTo>
                      <a:pt x="281133" y="101841"/>
                    </a:lnTo>
                    <a:lnTo>
                      <a:pt x="284309" y="107479"/>
                    </a:lnTo>
                    <a:lnTo>
                      <a:pt x="287131" y="113118"/>
                    </a:lnTo>
                    <a:lnTo>
                      <a:pt x="289602" y="118756"/>
                    </a:lnTo>
                    <a:lnTo>
                      <a:pt x="292072" y="125099"/>
                    </a:lnTo>
                    <a:lnTo>
                      <a:pt x="331945" y="119813"/>
                    </a:lnTo>
                    <a:lnTo>
                      <a:pt x="335474" y="134966"/>
                    </a:lnTo>
                    <a:lnTo>
                      <a:pt x="298070" y="149766"/>
                    </a:lnTo>
                    <a:lnTo>
                      <a:pt x="298776" y="155757"/>
                    </a:lnTo>
                    <a:lnTo>
                      <a:pt x="299129" y="162453"/>
                    </a:lnTo>
                    <a:lnTo>
                      <a:pt x="299129" y="168443"/>
                    </a:lnTo>
                    <a:lnTo>
                      <a:pt x="299129" y="174786"/>
                    </a:lnTo>
                    <a:lnTo>
                      <a:pt x="338297" y="185710"/>
                    </a:lnTo>
                    <a:lnTo>
                      <a:pt x="335827" y="201216"/>
                    </a:lnTo>
                    <a:lnTo>
                      <a:pt x="295600" y="200511"/>
                    </a:lnTo>
                    <a:lnTo>
                      <a:pt x="293836" y="206501"/>
                    </a:lnTo>
                    <a:lnTo>
                      <a:pt x="292072" y="212492"/>
                    </a:lnTo>
                    <a:lnTo>
                      <a:pt x="289602" y="218835"/>
                    </a:lnTo>
                    <a:lnTo>
                      <a:pt x="287131" y="224473"/>
                    </a:lnTo>
                    <a:lnTo>
                      <a:pt x="318889" y="249141"/>
                    </a:lnTo>
                    <a:lnTo>
                      <a:pt x="311126" y="262532"/>
                    </a:lnTo>
                    <a:lnTo>
                      <a:pt x="273723" y="246322"/>
                    </a:lnTo>
                    <a:lnTo>
                      <a:pt x="271605" y="248788"/>
                    </a:lnTo>
                    <a:lnTo>
                      <a:pt x="270194" y="251255"/>
                    </a:lnTo>
                    <a:lnTo>
                      <a:pt x="268077" y="253722"/>
                    </a:lnTo>
                    <a:lnTo>
                      <a:pt x="265960" y="256189"/>
                    </a:lnTo>
                    <a:lnTo>
                      <a:pt x="263489" y="258655"/>
                    </a:lnTo>
                    <a:lnTo>
                      <a:pt x="261372" y="260417"/>
                    </a:lnTo>
                    <a:lnTo>
                      <a:pt x="258902" y="262884"/>
                    </a:lnTo>
                    <a:lnTo>
                      <a:pt x="256785" y="264998"/>
                    </a:lnTo>
                    <a:lnTo>
                      <a:pt x="276898" y="299885"/>
                    </a:lnTo>
                    <a:lnTo>
                      <a:pt x="264195" y="309400"/>
                    </a:lnTo>
                    <a:lnTo>
                      <a:pt x="235966" y="280151"/>
                    </a:lnTo>
                    <a:lnTo>
                      <a:pt x="233496" y="281561"/>
                    </a:lnTo>
                    <a:lnTo>
                      <a:pt x="230673" y="282970"/>
                    </a:lnTo>
                    <a:lnTo>
                      <a:pt x="227850" y="284380"/>
                    </a:lnTo>
                    <a:lnTo>
                      <a:pt x="225027" y="285790"/>
                    </a:lnTo>
                    <a:lnTo>
                      <a:pt x="222204" y="286847"/>
                    </a:lnTo>
                    <a:lnTo>
                      <a:pt x="219381" y="288256"/>
                    </a:lnTo>
                    <a:lnTo>
                      <a:pt x="215853" y="289313"/>
                    </a:lnTo>
                    <a:lnTo>
                      <a:pt x="213030" y="290723"/>
                    </a:lnTo>
                    <a:lnTo>
                      <a:pt x="218323" y="331248"/>
                    </a:lnTo>
                    <a:lnTo>
                      <a:pt x="202797" y="334772"/>
                    </a:lnTo>
                    <a:lnTo>
                      <a:pt x="188329" y="297066"/>
                    </a:lnTo>
                    <a:lnTo>
                      <a:pt x="185153" y="297418"/>
                    </a:lnTo>
                    <a:lnTo>
                      <a:pt x="182330" y="297771"/>
                    </a:lnTo>
                    <a:lnTo>
                      <a:pt x="179155" y="298123"/>
                    </a:lnTo>
                    <a:lnTo>
                      <a:pt x="175626" y="298123"/>
                    </a:lnTo>
                    <a:lnTo>
                      <a:pt x="172803" y="298123"/>
                    </a:lnTo>
                    <a:lnTo>
                      <a:pt x="169627" y="298123"/>
                    </a:lnTo>
                    <a:lnTo>
                      <a:pt x="166451" y="298123"/>
                    </a:lnTo>
                    <a:lnTo>
                      <a:pt x="163276" y="298123"/>
                    </a:lnTo>
                    <a:lnTo>
                      <a:pt x="152337" y="337591"/>
                    </a:lnTo>
                    <a:lnTo>
                      <a:pt x="136811" y="335124"/>
                    </a:lnTo>
                    <a:lnTo>
                      <a:pt x="137516" y="294599"/>
                    </a:lnTo>
                    <a:lnTo>
                      <a:pt x="134693" y="293895"/>
                    </a:lnTo>
                    <a:lnTo>
                      <a:pt x="131518" y="292837"/>
                    </a:lnTo>
                    <a:lnTo>
                      <a:pt x="128695" y="292133"/>
                    </a:lnTo>
                    <a:lnTo>
                      <a:pt x="125519" y="291075"/>
                    </a:lnTo>
                    <a:lnTo>
                      <a:pt x="122343" y="289666"/>
                    </a:lnTo>
                    <a:lnTo>
                      <a:pt x="119520" y="288609"/>
                    </a:lnTo>
                    <a:lnTo>
                      <a:pt x="116697" y="287199"/>
                    </a:lnTo>
                    <a:lnTo>
                      <a:pt x="113874" y="286142"/>
                    </a:lnTo>
                    <a:lnTo>
                      <a:pt x="88821" y="318210"/>
                    </a:lnTo>
                    <a:lnTo>
                      <a:pt x="75412" y="310457"/>
                    </a:lnTo>
                    <a:lnTo>
                      <a:pt x="91644" y="273103"/>
                    </a:lnTo>
                    <a:lnTo>
                      <a:pt x="88821" y="270989"/>
                    </a:lnTo>
                    <a:lnTo>
                      <a:pt x="85998" y="268522"/>
                    </a:lnTo>
                    <a:lnTo>
                      <a:pt x="83175" y="266056"/>
                    </a:lnTo>
                    <a:lnTo>
                      <a:pt x="80352" y="263237"/>
                    </a:lnTo>
                    <a:lnTo>
                      <a:pt x="80394" y="263190"/>
                    </a:lnTo>
                    <a:lnTo>
                      <a:pt x="78689" y="261827"/>
                    </a:lnTo>
                    <a:lnTo>
                      <a:pt x="76572" y="260065"/>
                    </a:lnTo>
                    <a:lnTo>
                      <a:pt x="75160" y="257951"/>
                    </a:lnTo>
                    <a:lnTo>
                      <a:pt x="73043" y="256541"/>
                    </a:lnTo>
                    <a:lnTo>
                      <a:pt x="37757" y="276275"/>
                    </a:lnTo>
                    <a:lnTo>
                      <a:pt x="28229" y="264294"/>
                    </a:lnTo>
                    <a:lnTo>
                      <a:pt x="57517" y="235750"/>
                    </a:lnTo>
                    <a:lnTo>
                      <a:pt x="54694" y="230464"/>
                    </a:lnTo>
                    <a:lnTo>
                      <a:pt x="51871" y="224826"/>
                    </a:lnTo>
                    <a:lnTo>
                      <a:pt x="49401" y="219188"/>
                    </a:lnTo>
                    <a:lnTo>
                      <a:pt x="46931" y="213197"/>
                    </a:lnTo>
                    <a:lnTo>
                      <a:pt x="6352" y="218483"/>
                    </a:lnTo>
                    <a:lnTo>
                      <a:pt x="2823" y="202978"/>
                    </a:lnTo>
                    <a:lnTo>
                      <a:pt x="40580" y="188177"/>
                    </a:lnTo>
                    <a:lnTo>
                      <a:pt x="39874" y="182187"/>
                    </a:lnTo>
                    <a:lnTo>
                      <a:pt x="39168" y="175844"/>
                    </a:lnTo>
                    <a:lnTo>
                      <a:pt x="39168" y="169500"/>
                    </a:lnTo>
                    <a:lnTo>
                      <a:pt x="39168" y="163157"/>
                    </a:lnTo>
                    <a:lnTo>
                      <a:pt x="0" y="152233"/>
                    </a:lnTo>
                    <a:lnTo>
                      <a:pt x="2470" y="136728"/>
                    </a:lnTo>
                    <a:lnTo>
                      <a:pt x="43050" y="137433"/>
                    </a:lnTo>
                    <a:lnTo>
                      <a:pt x="44461" y="131442"/>
                    </a:lnTo>
                    <a:lnTo>
                      <a:pt x="46578" y="125452"/>
                    </a:lnTo>
                    <a:lnTo>
                      <a:pt x="48695" y="119461"/>
                    </a:lnTo>
                    <a:lnTo>
                      <a:pt x="51166" y="113470"/>
                    </a:lnTo>
                    <a:lnTo>
                      <a:pt x="19408" y="88803"/>
                    </a:lnTo>
                    <a:lnTo>
                      <a:pt x="27171" y="75412"/>
                    </a:lnTo>
                    <a:lnTo>
                      <a:pt x="64222" y="91622"/>
                    </a:lnTo>
                    <a:lnTo>
                      <a:pt x="65986" y="89155"/>
                    </a:lnTo>
                    <a:lnTo>
                      <a:pt x="68103" y="86336"/>
                    </a:lnTo>
                    <a:lnTo>
                      <a:pt x="70220" y="83869"/>
                    </a:lnTo>
                    <a:lnTo>
                      <a:pt x="72337" y="81403"/>
                    </a:lnTo>
                    <a:lnTo>
                      <a:pt x="74808" y="79641"/>
                    </a:lnTo>
                    <a:lnTo>
                      <a:pt x="76572" y="77174"/>
                    </a:lnTo>
                    <a:lnTo>
                      <a:pt x="78689" y="74707"/>
                    </a:lnTo>
                    <a:lnTo>
                      <a:pt x="81159" y="72593"/>
                    </a:lnTo>
                    <a:lnTo>
                      <a:pt x="61399" y="37706"/>
                    </a:lnTo>
                    <a:lnTo>
                      <a:pt x="73749" y="28544"/>
                    </a:lnTo>
                    <a:lnTo>
                      <a:pt x="101978" y="57088"/>
                    </a:lnTo>
                    <a:lnTo>
                      <a:pt x="104801" y="55678"/>
                    </a:lnTo>
                    <a:lnTo>
                      <a:pt x="107624" y="54268"/>
                    </a:lnTo>
                    <a:lnTo>
                      <a:pt x="110447" y="52859"/>
                    </a:lnTo>
                    <a:lnTo>
                      <a:pt x="113270" y="51097"/>
                    </a:lnTo>
                    <a:lnTo>
                      <a:pt x="116093" y="50040"/>
                    </a:lnTo>
                    <a:lnTo>
                      <a:pt x="118916" y="48630"/>
                    </a:lnTo>
                    <a:lnTo>
                      <a:pt x="122092" y="47573"/>
                    </a:lnTo>
                    <a:lnTo>
                      <a:pt x="124914" y="46163"/>
                    </a:lnTo>
                    <a:lnTo>
                      <a:pt x="119622" y="6343"/>
                    </a:lnTo>
                    <a:lnTo>
                      <a:pt x="135148" y="2819"/>
                    </a:lnTo>
                    <a:lnTo>
                      <a:pt x="149968" y="40173"/>
                    </a:lnTo>
                    <a:lnTo>
                      <a:pt x="153144" y="39820"/>
                    </a:lnTo>
                    <a:lnTo>
                      <a:pt x="155967" y="39468"/>
                    </a:lnTo>
                    <a:lnTo>
                      <a:pt x="159142" y="39116"/>
                    </a:lnTo>
                    <a:lnTo>
                      <a:pt x="162318" y="38411"/>
                    </a:lnTo>
                    <a:lnTo>
                      <a:pt x="165847" y="38411"/>
                    </a:lnTo>
                    <a:lnTo>
                      <a:pt x="169023" y="38411"/>
                    </a:lnTo>
                    <a:lnTo>
                      <a:pt x="172198" y="38411"/>
                    </a:lnTo>
                    <a:lnTo>
                      <a:pt x="175374" y="3841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207" name="Freeform 15"/>
              <p:cNvSpPr>
                <a:spLocks/>
              </p:cNvSpPr>
              <p:nvPr/>
            </p:nvSpPr>
            <p:spPr bwMode="auto">
              <a:xfrm rot="11068569">
                <a:off x="3202117" y="2447899"/>
                <a:ext cx="118813" cy="117359"/>
              </a:xfrm>
              <a:custGeom>
                <a:avLst/>
                <a:gdLst/>
                <a:ahLst/>
                <a:cxnLst/>
                <a:rect l="l" t="t" r="r" b="b"/>
                <a:pathLst>
                  <a:path w="403136" h="398203">
                    <a:moveTo>
                      <a:pt x="201831" y="59258"/>
                    </a:moveTo>
                    <a:lnTo>
                      <a:pt x="187364" y="59963"/>
                    </a:lnTo>
                    <a:lnTo>
                      <a:pt x="173250" y="62080"/>
                    </a:lnTo>
                    <a:lnTo>
                      <a:pt x="159136" y="65960"/>
                    </a:lnTo>
                    <a:lnTo>
                      <a:pt x="146434" y="70545"/>
                    </a:lnTo>
                    <a:lnTo>
                      <a:pt x="133731" y="76894"/>
                    </a:lnTo>
                    <a:lnTo>
                      <a:pt x="122087" y="83596"/>
                    </a:lnTo>
                    <a:lnTo>
                      <a:pt x="110443" y="92061"/>
                    </a:lnTo>
                    <a:lnTo>
                      <a:pt x="100210" y="101232"/>
                    </a:lnTo>
                    <a:lnTo>
                      <a:pt x="91389" y="111461"/>
                    </a:lnTo>
                    <a:lnTo>
                      <a:pt x="82920" y="122395"/>
                    </a:lnTo>
                    <a:lnTo>
                      <a:pt x="75863" y="134035"/>
                    </a:lnTo>
                    <a:lnTo>
                      <a:pt x="69865" y="146733"/>
                    </a:lnTo>
                    <a:lnTo>
                      <a:pt x="64925" y="159784"/>
                    </a:lnTo>
                    <a:lnTo>
                      <a:pt x="61396" y="173540"/>
                    </a:lnTo>
                    <a:lnTo>
                      <a:pt x="59279" y="187649"/>
                    </a:lnTo>
                    <a:lnTo>
                      <a:pt x="58574" y="202464"/>
                    </a:lnTo>
                    <a:lnTo>
                      <a:pt x="58926" y="213398"/>
                    </a:lnTo>
                    <a:lnTo>
                      <a:pt x="59985" y="223980"/>
                    </a:lnTo>
                    <a:lnTo>
                      <a:pt x="62102" y="234209"/>
                    </a:lnTo>
                    <a:lnTo>
                      <a:pt x="64925" y="244438"/>
                    </a:lnTo>
                    <a:lnTo>
                      <a:pt x="68101" y="254667"/>
                    </a:lnTo>
                    <a:lnTo>
                      <a:pt x="72688" y="264191"/>
                    </a:lnTo>
                    <a:lnTo>
                      <a:pt x="77628" y="273361"/>
                    </a:lnTo>
                    <a:lnTo>
                      <a:pt x="82920" y="281827"/>
                    </a:lnTo>
                    <a:lnTo>
                      <a:pt x="88919" y="290292"/>
                    </a:lnTo>
                    <a:lnTo>
                      <a:pt x="95976" y="298052"/>
                    </a:lnTo>
                    <a:lnTo>
                      <a:pt x="102680" y="305812"/>
                    </a:lnTo>
                    <a:lnTo>
                      <a:pt x="110443" y="312514"/>
                    </a:lnTo>
                    <a:lnTo>
                      <a:pt x="118558" y="318863"/>
                    </a:lnTo>
                    <a:lnTo>
                      <a:pt x="127732" y="324506"/>
                    </a:lnTo>
                    <a:lnTo>
                      <a:pt x="136554" y="329445"/>
                    </a:lnTo>
                    <a:lnTo>
                      <a:pt x="145728" y="334030"/>
                    </a:lnTo>
                    <a:lnTo>
                      <a:pt x="145687" y="334128"/>
                    </a:lnTo>
                    <a:lnTo>
                      <a:pt x="152210" y="336534"/>
                    </a:lnTo>
                    <a:lnTo>
                      <a:pt x="158544" y="338649"/>
                    </a:lnTo>
                    <a:lnTo>
                      <a:pt x="165583" y="340763"/>
                    </a:lnTo>
                    <a:lnTo>
                      <a:pt x="172270" y="342525"/>
                    </a:lnTo>
                    <a:lnTo>
                      <a:pt x="179660" y="343582"/>
                    </a:lnTo>
                    <a:lnTo>
                      <a:pt x="187051" y="344640"/>
                    </a:lnTo>
                    <a:lnTo>
                      <a:pt x="194441" y="345344"/>
                    </a:lnTo>
                    <a:lnTo>
                      <a:pt x="201480" y="345344"/>
                    </a:lnTo>
                    <a:lnTo>
                      <a:pt x="216261" y="344640"/>
                    </a:lnTo>
                    <a:lnTo>
                      <a:pt x="230338" y="342525"/>
                    </a:lnTo>
                    <a:lnTo>
                      <a:pt x="244064" y="338649"/>
                    </a:lnTo>
                    <a:lnTo>
                      <a:pt x="257085" y="334068"/>
                    </a:lnTo>
                    <a:lnTo>
                      <a:pt x="269754" y="327725"/>
                    </a:lnTo>
                    <a:lnTo>
                      <a:pt x="281368" y="321029"/>
                    </a:lnTo>
                    <a:lnTo>
                      <a:pt x="292278" y="312572"/>
                    </a:lnTo>
                    <a:lnTo>
                      <a:pt x="302484" y="303410"/>
                    </a:lnTo>
                    <a:lnTo>
                      <a:pt x="311282" y="293190"/>
                    </a:lnTo>
                    <a:lnTo>
                      <a:pt x="320080" y="282266"/>
                    </a:lnTo>
                    <a:lnTo>
                      <a:pt x="326767" y="270637"/>
                    </a:lnTo>
                    <a:lnTo>
                      <a:pt x="333102" y="257951"/>
                    </a:lnTo>
                    <a:lnTo>
                      <a:pt x="337677" y="244912"/>
                    </a:lnTo>
                    <a:lnTo>
                      <a:pt x="341548" y="231169"/>
                    </a:lnTo>
                    <a:lnTo>
                      <a:pt x="343308" y="217073"/>
                    </a:lnTo>
                    <a:lnTo>
                      <a:pt x="344364" y="202625"/>
                    </a:lnTo>
                    <a:lnTo>
                      <a:pt x="344012" y="191349"/>
                    </a:lnTo>
                    <a:lnTo>
                      <a:pt x="342604" y="180425"/>
                    </a:lnTo>
                    <a:lnTo>
                      <a:pt x="340492" y="169853"/>
                    </a:lnTo>
                    <a:lnTo>
                      <a:pt x="337677" y="159986"/>
                    </a:lnTo>
                    <a:lnTo>
                      <a:pt x="334510" y="150119"/>
                    </a:lnTo>
                    <a:lnTo>
                      <a:pt x="329934" y="140252"/>
                    </a:lnTo>
                    <a:lnTo>
                      <a:pt x="325711" y="131442"/>
                    </a:lnTo>
                    <a:lnTo>
                      <a:pt x="320080" y="122632"/>
                    </a:lnTo>
                    <a:lnTo>
                      <a:pt x="313746" y="114527"/>
                    </a:lnTo>
                    <a:lnTo>
                      <a:pt x="307411" y="106422"/>
                    </a:lnTo>
                    <a:lnTo>
                      <a:pt x="300020" y="99022"/>
                    </a:lnTo>
                    <a:lnTo>
                      <a:pt x="292278" y="91974"/>
                    </a:lnTo>
                    <a:lnTo>
                      <a:pt x="284183" y="85983"/>
                    </a:lnTo>
                    <a:lnTo>
                      <a:pt x="275737" y="80345"/>
                    </a:lnTo>
                    <a:lnTo>
                      <a:pt x="266587" y="75412"/>
                    </a:lnTo>
                    <a:lnTo>
                      <a:pt x="257085" y="70831"/>
                    </a:lnTo>
                    <a:lnTo>
                      <a:pt x="257261" y="70421"/>
                    </a:lnTo>
                    <a:lnTo>
                      <a:pt x="251230" y="68076"/>
                    </a:lnTo>
                    <a:lnTo>
                      <a:pt x="244526" y="65960"/>
                    </a:lnTo>
                    <a:lnTo>
                      <a:pt x="237822" y="63843"/>
                    </a:lnTo>
                    <a:lnTo>
                      <a:pt x="230765" y="62080"/>
                    </a:lnTo>
                    <a:lnTo>
                      <a:pt x="223355" y="61021"/>
                    </a:lnTo>
                    <a:lnTo>
                      <a:pt x="216651" y="59963"/>
                    </a:lnTo>
                    <a:lnTo>
                      <a:pt x="209241" y="59258"/>
                    </a:lnTo>
                    <a:close/>
                    <a:moveTo>
                      <a:pt x="172545" y="0"/>
                    </a:moveTo>
                    <a:lnTo>
                      <a:pt x="185247" y="26807"/>
                    </a:lnTo>
                    <a:lnTo>
                      <a:pt x="189834" y="26454"/>
                    </a:lnTo>
                    <a:lnTo>
                      <a:pt x="194069" y="26102"/>
                    </a:lnTo>
                    <a:lnTo>
                      <a:pt x="198303" y="26102"/>
                    </a:lnTo>
                    <a:lnTo>
                      <a:pt x="202890" y="26102"/>
                    </a:lnTo>
                    <a:lnTo>
                      <a:pt x="206771" y="26102"/>
                    </a:lnTo>
                    <a:lnTo>
                      <a:pt x="211358" y="26454"/>
                    </a:lnTo>
                    <a:lnTo>
                      <a:pt x="215240" y="26454"/>
                    </a:lnTo>
                    <a:lnTo>
                      <a:pt x="219827" y="26807"/>
                    </a:lnTo>
                    <a:lnTo>
                      <a:pt x="232882" y="1058"/>
                    </a:lnTo>
                    <a:lnTo>
                      <a:pt x="253700" y="5291"/>
                    </a:lnTo>
                    <a:lnTo>
                      <a:pt x="253700" y="33862"/>
                    </a:lnTo>
                    <a:lnTo>
                      <a:pt x="255465" y="34567"/>
                    </a:lnTo>
                    <a:lnTo>
                      <a:pt x="257934" y="35273"/>
                    </a:lnTo>
                    <a:lnTo>
                      <a:pt x="260051" y="35978"/>
                    </a:lnTo>
                    <a:lnTo>
                      <a:pt x="262169" y="37036"/>
                    </a:lnTo>
                    <a:lnTo>
                      <a:pt x="264286" y="37742"/>
                    </a:lnTo>
                    <a:lnTo>
                      <a:pt x="266403" y="38447"/>
                    </a:lnTo>
                    <a:lnTo>
                      <a:pt x="268520" y="39505"/>
                    </a:lnTo>
                    <a:lnTo>
                      <a:pt x="270637" y="40211"/>
                    </a:lnTo>
                    <a:lnTo>
                      <a:pt x="270452" y="40640"/>
                    </a:lnTo>
                    <a:lnTo>
                      <a:pt x="272218" y="41230"/>
                    </a:lnTo>
                    <a:lnTo>
                      <a:pt x="273625" y="42287"/>
                    </a:lnTo>
                    <a:lnTo>
                      <a:pt x="275737" y="42992"/>
                    </a:lnTo>
                    <a:lnTo>
                      <a:pt x="277497" y="43696"/>
                    </a:lnTo>
                    <a:lnTo>
                      <a:pt x="279608" y="44754"/>
                    </a:lnTo>
                    <a:lnTo>
                      <a:pt x="281016" y="45811"/>
                    </a:lnTo>
                    <a:lnTo>
                      <a:pt x="283128" y="46516"/>
                    </a:lnTo>
                    <a:lnTo>
                      <a:pt x="284535" y="47573"/>
                    </a:lnTo>
                    <a:lnTo>
                      <a:pt x="305651" y="28191"/>
                    </a:lnTo>
                    <a:lnTo>
                      <a:pt x="323248" y="39820"/>
                    </a:lnTo>
                    <a:lnTo>
                      <a:pt x="313042" y="66954"/>
                    </a:lnTo>
                    <a:lnTo>
                      <a:pt x="316209" y="69773"/>
                    </a:lnTo>
                    <a:lnTo>
                      <a:pt x="319728" y="72593"/>
                    </a:lnTo>
                    <a:lnTo>
                      <a:pt x="322544" y="75412"/>
                    </a:lnTo>
                    <a:lnTo>
                      <a:pt x="325711" y="78231"/>
                    </a:lnTo>
                    <a:lnTo>
                      <a:pt x="328527" y="81402"/>
                    </a:lnTo>
                    <a:lnTo>
                      <a:pt x="331342" y="84926"/>
                    </a:lnTo>
                    <a:lnTo>
                      <a:pt x="334158" y="88098"/>
                    </a:lnTo>
                    <a:lnTo>
                      <a:pt x="336973" y="91269"/>
                    </a:lnTo>
                    <a:lnTo>
                      <a:pt x="364072" y="81050"/>
                    </a:lnTo>
                    <a:lnTo>
                      <a:pt x="375333" y="98670"/>
                    </a:lnTo>
                    <a:lnTo>
                      <a:pt x="355977" y="120166"/>
                    </a:lnTo>
                    <a:lnTo>
                      <a:pt x="357737" y="123689"/>
                    </a:lnTo>
                    <a:lnTo>
                      <a:pt x="359849" y="127918"/>
                    </a:lnTo>
                    <a:lnTo>
                      <a:pt x="361256" y="131794"/>
                    </a:lnTo>
                    <a:lnTo>
                      <a:pt x="363016" y="135318"/>
                    </a:lnTo>
                    <a:lnTo>
                      <a:pt x="364424" y="139547"/>
                    </a:lnTo>
                    <a:lnTo>
                      <a:pt x="365831" y="143776"/>
                    </a:lnTo>
                    <a:lnTo>
                      <a:pt x="367239" y="147652"/>
                    </a:lnTo>
                    <a:lnTo>
                      <a:pt x="368647" y="151881"/>
                    </a:lnTo>
                    <a:lnTo>
                      <a:pt x="398913" y="152233"/>
                    </a:lnTo>
                    <a:lnTo>
                      <a:pt x="403136" y="172672"/>
                    </a:lnTo>
                    <a:lnTo>
                      <a:pt x="374630" y="185358"/>
                    </a:lnTo>
                    <a:lnTo>
                      <a:pt x="375333" y="194168"/>
                    </a:lnTo>
                    <a:lnTo>
                      <a:pt x="375333" y="202978"/>
                    </a:lnTo>
                    <a:lnTo>
                      <a:pt x="374982" y="211435"/>
                    </a:lnTo>
                    <a:lnTo>
                      <a:pt x="374278" y="219540"/>
                    </a:lnTo>
                    <a:lnTo>
                      <a:pt x="400321" y="231169"/>
                    </a:lnTo>
                    <a:lnTo>
                      <a:pt x="396097" y="251608"/>
                    </a:lnTo>
                    <a:lnTo>
                      <a:pt x="367943" y="253017"/>
                    </a:lnTo>
                    <a:lnTo>
                      <a:pt x="366535" y="257246"/>
                    </a:lnTo>
                    <a:lnTo>
                      <a:pt x="365127" y="260770"/>
                    </a:lnTo>
                    <a:lnTo>
                      <a:pt x="363720" y="264999"/>
                    </a:lnTo>
                    <a:lnTo>
                      <a:pt x="361960" y="268875"/>
                    </a:lnTo>
                    <a:lnTo>
                      <a:pt x="360552" y="273104"/>
                    </a:lnTo>
                    <a:lnTo>
                      <a:pt x="358441" y="276628"/>
                    </a:lnTo>
                    <a:lnTo>
                      <a:pt x="356681" y="280856"/>
                    </a:lnTo>
                    <a:lnTo>
                      <a:pt x="354921" y="284380"/>
                    </a:lnTo>
                    <a:lnTo>
                      <a:pt x="372166" y="304819"/>
                    </a:lnTo>
                    <a:lnTo>
                      <a:pt x="360904" y="322086"/>
                    </a:lnTo>
                    <a:lnTo>
                      <a:pt x="335213" y="312924"/>
                    </a:lnTo>
                    <a:lnTo>
                      <a:pt x="332398" y="316096"/>
                    </a:lnTo>
                    <a:lnTo>
                      <a:pt x="329582" y="319267"/>
                    </a:lnTo>
                    <a:lnTo>
                      <a:pt x="326767" y="322086"/>
                    </a:lnTo>
                    <a:lnTo>
                      <a:pt x="323952" y="325258"/>
                    </a:lnTo>
                    <a:lnTo>
                      <a:pt x="320784" y="328429"/>
                    </a:lnTo>
                    <a:lnTo>
                      <a:pt x="317617" y="331249"/>
                    </a:lnTo>
                    <a:lnTo>
                      <a:pt x="314449" y="334068"/>
                    </a:lnTo>
                    <a:lnTo>
                      <a:pt x="310930" y="336887"/>
                    </a:lnTo>
                    <a:lnTo>
                      <a:pt x="321136" y="364373"/>
                    </a:lnTo>
                    <a:lnTo>
                      <a:pt x="303892" y="375650"/>
                    </a:lnTo>
                    <a:lnTo>
                      <a:pt x="282424" y="355564"/>
                    </a:lnTo>
                    <a:lnTo>
                      <a:pt x="278553" y="357326"/>
                    </a:lnTo>
                    <a:lnTo>
                      <a:pt x="275033" y="359088"/>
                    </a:lnTo>
                    <a:lnTo>
                      <a:pt x="270810" y="361202"/>
                    </a:lnTo>
                    <a:lnTo>
                      <a:pt x="267291" y="362612"/>
                    </a:lnTo>
                    <a:lnTo>
                      <a:pt x="263068" y="364373"/>
                    </a:lnTo>
                    <a:lnTo>
                      <a:pt x="259196" y="365431"/>
                    </a:lnTo>
                    <a:lnTo>
                      <a:pt x="254973" y="367193"/>
                    </a:lnTo>
                    <a:lnTo>
                      <a:pt x="251102" y="368602"/>
                    </a:lnTo>
                    <a:lnTo>
                      <a:pt x="247935" y="393270"/>
                    </a:lnTo>
                    <a:lnTo>
                      <a:pt x="227523" y="397146"/>
                    </a:lnTo>
                    <a:lnTo>
                      <a:pt x="216965" y="374945"/>
                    </a:lnTo>
                    <a:lnTo>
                      <a:pt x="213094" y="375298"/>
                    </a:lnTo>
                    <a:lnTo>
                      <a:pt x="208519" y="375650"/>
                    </a:lnTo>
                    <a:lnTo>
                      <a:pt x="204295" y="375650"/>
                    </a:lnTo>
                    <a:lnTo>
                      <a:pt x="200424" y="375650"/>
                    </a:lnTo>
                    <a:lnTo>
                      <a:pt x="195849" y="375650"/>
                    </a:lnTo>
                    <a:lnTo>
                      <a:pt x="191978" y="375298"/>
                    </a:lnTo>
                    <a:lnTo>
                      <a:pt x="187403" y="375298"/>
                    </a:lnTo>
                    <a:lnTo>
                      <a:pt x="183531" y="374945"/>
                    </a:lnTo>
                    <a:lnTo>
                      <a:pt x="171214" y="398203"/>
                    </a:lnTo>
                    <a:lnTo>
                      <a:pt x="150802" y="393974"/>
                    </a:lnTo>
                    <a:lnTo>
                      <a:pt x="149746" y="367897"/>
                    </a:lnTo>
                    <a:lnTo>
                      <a:pt x="147635" y="367193"/>
                    </a:lnTo>
                    <a:lnTo>
                      <a:pt x="145523" y="366488"/>
                    </a:lnTo>
                    <a:lnTo>
                      <a:pt x="143763" y="366135"/>
                    </a:lnTo>
                    <a:lnTo>
                      <a:pt x="142004" y="365078"/>
                    </a:lnTo>
                    <a:lnTo>
                      <a:pt x="139892" y="364373"/>
                    </a:lnTo>
                    <a:lnTo>
                      <a:pt x="138132" y="363669"/>
                    </a:lnTo>
                    <a:lnTo>
                      <a:pt x="136021" y="362612"/>
                    </a:lnTo>
                    <a:lnTo>
                      <a:pt x="133909" y="361907"/>
                    </a:lnTo>
                    <a:lnTo>
                      <a:pt x="133935" y="361845"/>
                    </a:lnTo>
                    <a:lnTo>
                      <a:pt x="131967" y="361190"/>
                    </a:lnTo>
                    <a:lnTo>
                      <a:pt x="130202" y="360132"/>
                    </a:lnTo>
                    <a:lnTo>
                      <a:pt x="128085" y="359426"/>
                    </a:lnTo>
                    <a:lnTo>
                      <a:pt x="126321" y="358721"/>
                    </a:lnTo>
                    <a:lnTo>
                      <a:pt x="124204" y="357310"/>
                    </a:lnTo>
                    <a:lnTo>
                      <a:pt x="122440" y="356604"/>
                    </a:lnTo>
                    <a:lnTo>
                      <a:pt x="120675" y="355899"/>
                    </a:lnTo>
                    <a:lnTo>
                      <a:pt x="118558" y="354488"/>
                    </a:lnTo>
                    <a:lnTo>
                      <a:pt x="96682" y="373535"/>
                    </a:lnTo>
                    <a:lnTo>
                      <a:pt x="79745" y="361895"/>
                    </a:lnTo>
                    <a:lnTo>
                      <a:pt x="89977" y="335441"/>
                    </a:lnTo>
                    <a:lnTo>
                      <a:pt x="86449" y="332619"/>
                    </a:lnTo>
                    <a:lnTo>
                      <a:pt x="83273" y="329797"/>
                    </a:lnTo>
                    <a:lnTo>
                      <a:pt x="80450" y="326976"/>
                    </a:lnTo>
                    <a:lnTo>
                      <a:pt x="77275" y="324154"/>
                    </a:lnTo>
                    <a:lnTo>
                      <a:pt x="74452" y="320979"/>
                    </a:lnTo>
                    <a:lnTo>
                      <a:pt x="71629" y="318157"/>
                    </a:lnTo>
                    <a:lnTo>
                      <a:pt x="68806" y="314983"/>
                    </a:lnTo>
                    <a:lnTo>
                      <a:pt x="65983" y="311456"/>
                    </a:lnTo>
                    <a:lnTo>
                      <a:pt x="39520" y="320627"/>
                    </a:lnTo>
                    <a:lnTo>
                      <a:pt x="27876" y="302990"/>
                    </a:lnTo>
                    <a:lnTo>
                      <a:pt x="46577" y="282885"/>
                    </a:lnTo>
                    <a:lnTo>
                      <a:pt x="44812" y="279005"/>
                    </a:lnTo>
                    <a:lnTo>
                      <a:pt x="43048" y="275125"/>
                    </a:lnTo>
                    <a:lnTo>
                      <a:pt x="41284" y="271245"/>
                    </a:lnTo>
                    <a:lnTo>
                      <a:pt x="39872" y="267365"/>
                    </a:lnTo>
                    <a:lnTo>
                      <a:pt x="38108" y="263132"/>
                    </a:lnTo>
                    <a:lnTo>
                      <a:pt x="36697" y="259252"/>
                    </a:lnTo>
                    <a:lnTo>
                      <a:pt x="35285" y="255020"/>
                    </a:lnTo>
                    <a:lnTo>
                      <a:pt x="34227" y="251140"/>
                    </a:lnTo>
                    <a:lnTo>
                      <a:pt x="4234" y="250082"/>
                    </a:lnTo>
                    <a:lnTo>
                      <a:pt x="0" y="229976"/>
                    </a:lnTo>
                    <a:lnTo>
                      <a:pt x="27170" y="217631"/>
                    </a:lnTo>
                    <a:lnTo>
                      <a:pt x="26817" y="209166"/>
                    </a:lnTo>
                    <a:lnTo>
                      <a:pt x="26817" y="200700"/>
                    </a:lnTo>
                    <a:lnTo>
                      <a:pt x="26817" y="192235"/>
                    </a:lnTo>
                    <a:lnTo>
                      <a:pt x="27170" y="183769"/>
                    </a:lnTo>
                    <a:lnTo>
                      <a:pt x="0" y="169661"/>
                    </a:lnTo>
                    <a:lnTo>
                      <a:pt x="4234" y="149203"/>
                    </a:lnTo>
                    <a:lnTo>
                      <a:pt x="34227" y="149908"/>
                    </a:lnTo>
                    <a:lnTo>
                      <a:pt x="35285" y="145675"/>
                    </a:lnTo>
                    <a:lnTo>
                      <a:pt x="37050" y="141795"/>
                    </a:lnTo>
                    <a:lnTo>
                      <a:pt x="38108" y="137563"/>
                    </a:lnTo>
                    <a:lnTo>
                      <a:pt x="39872" y="133683"/>
                    </a:lnTo>
                    <a:lnTo>
                      <a:pt x="41990" y="130155"/>
                    </a:lnTo>
                    <a:lnTo>
                      <a:pt x="43401" y="125923"/>
                    </a:lnTo>
                    <a:lnTo>
                      <a:pt x="45518" y="121690"/>
                    </a:lnTo>
                    <a:lnTo>
                      <a:pt x="47635" y="118163"/>
                    </a:lnTo>
                    <a:lnTo>
                      <a:pt x="25053" y="94530"/>
                    </a:lnTo>
                    <a:lnTo>
                      <a:pt x="37050" y="77599"/>
                    </a:lnTo>
                    <a:lnTo>
                      <a:pt x="66689" y="89592"/>
                    </a:lnTo>
                    <a:lnTo>
                      <a:pt x="69512" y="86418"/>
                    </a:lnTo>
                    <a:lnTo>
                      <a:pt x="72335" y="83243"/>
                    </a:lnTo>
                    <a:lnTo>
                      <a:pt x="75158" y="80069"/>
                    </a:lnTo>
                    <a:lnTo>
                      <a:pt x="78333" y="76894"/>
                    </a:lnTo>
                    <a:lnTo>
                      <a:pt x="81156" y="74072"/>
                    </a:lnTo>
                    <a:lnTo>
                      <a:pt x="84685" y="71250"/>
                    </a:lnTo>
                    <a:lnTo>
                      <a:pt x="87860" y="68076"/>
                    </a:lnTo>
                    <a:lnTo>
                      <a:pt x="91036" y="65254"/>
                    </a:lnTo>
                    <a:lnTo>
                      <a:pt x="78686" y="35978"/>
                    </a:lnTo>
                    <a:lnTo>
                      <a:pt x="96329" y="24338"/>
                    </a:lnTo>
                    <a:lnTo>
                      <a:pt x="119617" y="46207"/>
                    </a:lnTo>
                    <a:lnTo>
                      <a:pt x="123145" y="44443"/>
                    </a:lnTo>
                    <a:lnTo>
                      <a:pt x="127027" y="42680"/>
                    </a:lnTo>
                    <a:lnTo>
                      <a:pt x="131261" y="40563"/>
                    </a:lnTo>
                    <a:lnTo>
                      <a:pt x="134789" y="39153"/>
                    </a:lnTo>
                    <a:lnTo>
                      <a:pt x="139024" y="37389"/>
                    </a:lnTo>
                    <a:lnTo>
                      <a:pt x="142905" y="35978"/>
                    </a:lnTo>
                    <a:lnTo>
                      <a:pt x="147492" y="34567"/>
                    </a:lnTo>
                    <a:lnTo>
                      <a:pt x="151726" y="33156"/>
                    </a:lnTo>
                    <a:lnTo>
                      <a:pt x="152079" y="388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208" name="Oval 207"/>
              <p:cNvSpPr/>
              <p:nvPr/>
            </p:nvSpPr>
            <p:spPr>
              <a:xfrm rot="11068569">
                <a:off x="3241167" y="2486223"/>
                <a:ext cx="40712" cy="40712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09" name="Oval 208"/>
              <p:cNvSpPr/>
              <p:nvPr/>
            </p:nvSpPr>
            <p:spPr>
              <a:xfrm rot="11068569">
                <a:off x="3122446" y="2500529"/>
                <a:ext cx="29288" cy="29288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10" name="Oval 209"/>
              <p:cNvSpPr/>
              <p:nvPr/>
            </p:nvSpPr>
            <p:spPr>
              <a:xfrm rot="11068569">
                <a:off x="3175796" y="2435392"/>
                <a:ext cx="23264" cy="23264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11" name="Group 210"/>
            <p:cNvGrpSpPr>
              <a:grpSpLocks noChangeAspect="1"/>
            </p:cNvGrpSpPr>
            <p:nvPr userDrawn="1"/>
          </p:nvGrpSpPr>
          <p:grpSpPr>
            <a:xfrm>
              <a:off x="2212870" y="2976681"/>
              <a:ext cx="109728" cy="61058"/>
              <a:chOff x="6814787" y="2785123"/>
              <a:chExt cx="240819" cy="134005"/>
            </a:xfrm>
            <a:solidFill>
              <a:schemeClr val="bg1">
                <a:lumMod val="85000"/>
                <a:alpha val="30000"/>
              </a:schemeClr>
            </a:solidFill>
          </p:grpSpPr>
          <p:sp>
            <p:nvSpPr>
              <p:cNvPr id="212" name="Freeform 7"/>
              <p:cNvSpPr>
                <a:spLocks/>
              </p:cNvSpPr>
              <p:nvPr/>
            </p:nvSpPr>
            <p:spPr bwMode="auto">
              <a:xfrm>
                <a:off x="6814787" y="2828031"/>
                <a:ext cx="240819" cy="91097"/>
              </a:xfrm>
              <a:custGeom>
                <a:avLst/>
                <a:gdLst>
                  <a:gd name="T0" fmla="*/ 396 w 791"/>
                  <a:gd name="T1" fmla="*/ 93 h 299"/>
                  <a:gd name="T2" fmla="*/ 0 w 791"/>
                  <a:gd name="T3" fmla="*/ 0 h 299"/>
                  <a:gd name="T4" fmla="*/ 0 w 791"/>
                  <a:gd name="T5" fmla="*/ 178 h 299"/>
                  <a:gd name="T6" fmla="*/ 0 w 791"/>
                  <a:gd name="T7" fmla="*/ 180 h 299"/>
                  <a:gd name="T8" fmla="*/ 116 w 791"/>
                  <a:gd name="T9" fmla="*/ 264 h 299"/>
                  <a:gd name="T10" fmla="*/ 116 w 791"/>
                  <a:gd name="T11" fmla="*/ 264 h 299"/>
                  <a:gd name="T12" fmla="*/ 327 w 791"/>
                  <a:gd name="T13" fmla="*/ 297 h 299"/>
                  <a:gd name="T14" fmla="*/ 329 w 791"/>
                  <a:gd name="T15" fmla="*/ 297 h 299"/>
                  <a:gd name="T16" fmla="*/ 394 w 791"/>
                  <a:gd name="T17" fmla="*/ 299 h 299"/>
                  <a:gd name="T18" fmla="*/ 640 w 791"/>
                  <a:gd name="T19" fmla="*/ 273 h 299"/>
                  <a:gd name="T20" fmla="*/ 644 w 791"/>
                  <a:gd name="T21" fmla="*/ 272 h 299"/>
                  <a:gd name="T22" fmla="*/ 791 w 791"/>
                  <a:gd name="T23" fmla="*/ 180 h 299"/>
                  <a:gd name="T24" fmla="*/ 791 w 791"/>
                  <a:gd name="T25" fmla="*/ 180 h 299"/>
                  <a:gd name="T26" fmla="*/ 791 w 791"/>
                  <a:gd name="T27" fmla="*/ 0 h 299"/>
                  <a:gd name="T28" fmla="*/ 396 w 791"/>
                  <a:gd name="T29" fmla="*/ 93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91" h="299">
                    <a:moveTo>
                      <a:pt x="396" y="93"/>
                    </a:moveTo>
                    <a:cubicBezTo>
                      <a:pt x="222" y="93"/>
                      <a:pt x="46" y="61"/>
                      <a:pt x="0" y="0"/>
                    </a:cubicBezTo>
                    <a:cubicBezTo>
                      <a:pt x="0" y="178"/>
                      <a:pt x="0" y="178"/>
                      <a:pt x="0" y="178"/>
                    </a:cubicBezTo>
                    <a:cubicBezTo>
                      <a:pt x="0" y="179"/>
                      <a:pt x="0" y="180"/>
                      <a:pt x="0" y="180"/>
                    </a:cubicBezTo>
                    <a:cubicBezTo>
                      <a:pt x="0" y="213"/>
                      <a:pt x="44" y="242"/>
                      <a:pt x="116" y="264"/>
                    </a:cubicBezTo>
                    <a:cubicBezTo>
                      <a:pt x="116" y="264"/>
                      <a:pt x="116" y="264"/>
                      <a:pt x="116" y="264"/>
                    </a:cubicBezTo>
                    <a:cubicBezTo>
                      <a:pt x="172" y="281"/>
                      <a:pt x="245" y="293"/>
                      <a:pt x="327" y="297"/>
                    </a:cubicBezTo>
                    <a:cubicBezTo>
                      <a:pt x="329" y="297"/>
                      <a:pt x="329" y="297"/>
                      <a:pt x="329" y="297"/>
                    </a:cubicBezTo>
                    <a:cubicBezTo>
                      <a:pt x="350" y="298"/>
                      <a:pt x="372" y="299"/>
                      <a:pt x="394" y="299"/>
                    </a:cubicBezTo>
                    <a:cubicBezTo>
                      <a:pt x="487" y="299"/>
                      <a:pt x="572" y="289"/>
                      <a:pt x="640" y="273"/>
                    </a:cubicBezTo>
                    <a:cubicBezTo>
                      <a:pt x="644" y="272"/>
                      <a:pt x="644" y="272"/>
                      <a:pt x="644" y="272"/>
                    </a:cubicBezTo>
                    <a:cubicBezTo>
                      <a:pt x="734" y="250"/>
                      <a:pt x="791" y="217"/>
                      <a:pt x="791" y="180"/>
                    </a:cubicBezTo>
                    <a:cubicBezTo>
                      <a:pt x="791" y="180"/>
                      <a:pt x="791" y="180"/>
                      <a:pt x="791" y="180"/>
                    </a:cubicBezTo>
                    <a:cubicBezTo>
                      <a:pt x="791" y="0"/>
                      <a:pt x="791" y="0"/>
                      <a:pt x="791" y="0"/>
                    </a:cubicBezTo>
                    <a:cubicBezTo>
                      <a:pt x="745" y="61"/>
                      <a:pt x="569" y="93"/>
                      <a:pt x="396" y="9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213" name="Freeform 8"/>
              <p:cNvSpPr>
                <a:spLocks noEditPoints="1"/>
              </p:cNvSpPr>
              <p:nvPr/>
            </p:nvSpPr>
            <p:spPr bwMode="auto">
              <a:xfrm>
                <a:off x="6816590" y="2785123"/>
                <a:ext cx="237469" cy="65714"/>
              </a:xfrm>
              <a:custGeom>
                <a:avLst/>
                <a:gdLst>
                  <a:gd name="T0" fmla="*/ 0 w 780"/>
                  <a:gd name="T1" fmla="*/ 108 h 216"/>
                  <a:gd name="T2" fmla="*/ 780 w 780"/>
                  <a:gd name="T3" fmla="*/ 108 h 216"/>
                  <a:gd name="T4" fmla="*/ 278 w 780"/>
                  <a:gd name="T5" fmla="*/ 38 h 216"/>
                  <a:gd name="T6" fmla="*/ 371 w 780"/>
                  <a:gd name="T7" fmla="*/ 11 h 216"/>
                  <a:gd name="T8" fmla="*/ 390 w 780"/>
                  <a:gd name="T9" fmla="*/ 10 h 216"/>
                  <a:gd name="T10" fmla="*/ 409 w 780"/>
                  <a:gd name="T11" fmla="*/ 12 h 216"/>
                  <a:gd name="T12" fmla="*/ 498 w 780"/>
                  <a:gd name="T13" fmla="*/ 47 h 216"/>
                  <a:gd name="T14" fmla="*/ 463 w 780"/>
                  <a:gd name="T15" fmla="*/ 48 h 216"/>
                  <a:gd name="T16" fmla="*/ 412 w 780"/>
                  <a:gd name="T17" fmla="*/ 85 h 216"/>
                  <a:gd name="T18" fmla="*/ 386 w 780"/>
                  <a:gd name="T19" fmla="*/ 91 h 216"/>
                  <a:gd name="T20" fmla="*/ 364 w 780"/>
                  <a:gd name="T21" fmla="*/ 33 h 216"/>
                  <a:gd name="T22" fmla="*/ 281 w 780"/>
                  <a:gd name="T23" fmla="*/ 48 h 216"/>
                  <a:gd name="T24" fmla="*/ 278 w 780"/>
                  <a:gd name="T25" fmla="*/ 38 h 216"/>
                  <a:gd name="T26" fmla="*/ 212 w 780"/>
                  <a:gd name="T27" fmla="*/ 135 h 216"/>
                  <a:gd name="T28" fmla="*/ 263 w 780"/>
                  <a:gd name="T29" fmla="*/ 111 h 216"/>
                  <a:gd name="T30" fmla="*/ 65 w 780"/>
                  <a:gd name="T31" fmla="*/ 105 h 216"/>
                  <a:gd name="T32" fmla="*/ 87 w 780"/>
                  <a:gd name="T33" fmla="*/ 97 h 216"/>
                  <a:gd name="T34" fmla="*/ 212 w 780"/>
                  <a:gd name="T35" fmla="*/ 82 h 216"/>
                  <a:gd name="T36" fmla="*/ 215 w 780"/>
                  <a:gd name="T37" fmla="*/ 72 h 216"/>
                  <a:gd name="T38" fmla="*/ 335 w 780"/>
                  <a:gd name="T39" fmla="*/ 98 h 216"/>
                  <a:gd name="T40" fmla="*/ 344 w 780"/>
                  <a:gd name="T41" fmla="*/ 104 h 216"/>
                  <a:gd name="T42" fmla="*/ 336 w 780"/>
                  <a:gd name="T43" fmla="*/ 110 h 216"/>
                  <a:gd name="T44" fmla="*/ 246 w 780"/>
                  <a:gd name="T45" fmla="*/ 136 h 216"/>
                  <a:gd name="T46" fmla="*/ 498 w 780"/>
                  <a:gd name="T47" fmla="*/ 170 h 216"/>
                  <a:gd name="T48" fmla="*/ 407 w 780"/>
                  <a:gd name="T49" fmla="*/ 196 h 216"/>
                  <a:gd name="T50" fmla="*/ 386 w 780"/>
                  <a:gd name="T51" fmla="*/ 199 h 216"/>
                  <a:gd name="T52" fmla="*/ 366 w 780"/>
                  <a:gd name="T53" fmla="*/ 196 h 216"/>
                  <a:gd name="T54" fmla="*/ 278 w 780"/>
                  <a:gd name="T55" fmla="*/ 161 h 216"/>
                  <a:gd name="T56" fmla="*/ 312 w 780"/>
                  <a:gd name="T57" fmla="*/ 160 h 216"/>
                  <a:gd name="T58" fmla="*/ 364 w 780"/>
                  <a:gd name="T59" fmla="*/ 123 h 216"/>
                  <a:gd name="T60" fmla="*/ 390 w 780"/>
                  <a:gd name="T61" fmla="*/ 117 h 216"/>
                  <a:gd name="T62" fmla="*/ 412 w 780"/>
                  <a:gd name="T63" fmla="*/ 175 h 216"/>
                  <a:gd name="T64" fmla="*/ 494 w 780"/>
                  <a:gd name="T65" fmla="*/ 160 h 216"/>
                  <a:gd name="T66" fmla="*/ 498 w 780"/>
                  <a:gd name="T67" fmla="*/ 170 h 216"/>
                  <a:gd name="T68" fmla="*/ 689 w 780"/>
                  <a:gd name="T69" fmla="*/ 111 h 216"/>
                  <a:gd name="T70" fmla="*/ 563 w 780"/>
                  <a:gd name="T71" fmla="*/ 126 h 216"/>
                  <a:gd name="T72" fmla="*/ 560 w 780"/>
                  <a:gd name="T73" fmla="*/ 136 h 216"/>
                  <a:gd name="T74" fmla="*/ 441 w 780"/>
                  <a:gd name="T75" fmla="*/ 110 h 216"/>
                  <a:gd name="T76" fmla="*/ 431 w 780"/>
                  <a:gd name="T77" fmla="*/ 105 h 216"/>
                  <a:gd name="T78" fmla="*/ 437 w 780"/>
                  <a:gd name="T79" fmla="*/ 99 h 216"/>
                  <a:gd name="T80" fmla="*/ 529 w 780"/>
                  <a:gd name="T81" fmla="*/ 72 h 216"/>
                  <a:gd name="T82" fmla="*/ 563 w 780"/>
                  <a:gd name="T83" fmla="*/ 73 h 216"/>
                  <a:gd name="T84" fmla="*/ 511 w 780"/>
                  <a:gd name="T85" fmla="*/ 97 h 216"/>
                  <a:gd name="T86" fmla="*/ 711 w 780"/>
                  <a:gd name="T87" fmla="*/ 104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780" h="216">
                    <a:moveTo>
                      <a:pt x="390" y="0"/>
                    </a:moveTo>
                    <a:cubicBezTo>
                      <a:pt x="174" y="0"/>
                      <a:pt x="0" y="48"/>
                      <a:pt x="0" y="108"/>
                    </a:cubicBezTo>
                    <a:cubicBezTo>
                      <a:pt x="0" y="168"/>
                      <a:pt x="174" y="216"/>
                      <a:pt x="390" y="216"/>
                    </a:cubicBezTo>
                    <a:cubicBezTo>
                      <a:pt x="605" y="216"/>
                      <a:pt x="780" y="168"/>
                      <a:pt x="780" y="108"/>
                    </a:cubicBezTo>
                    <a:cubicBezTo>
                      <a:pt x="780" y="48"/>
                      <a:pt x="605" y="0"/>
                      <a:pt x="390" y="0"/>
                    </a:cubicBezTo>
                    <a:close/>
                    <a:moveTo>
                      <a:pt x="278" y="38"/>
                    </a:moveTo>
                    <a:cubicBezTo>
                      <a:pt x="366" y="12"/>
                      <a:pt x="366" y="12"/>
                      <a:pt x="366" y="12"/>
                    </a:cubicBezTo>
                    <a:cubicBezTo>
                      <a:pt x="368" y="12"/>
                      <a:pt x="369" y="12"/>
                      <a:pt x="371" y="11"/>
                    </a:cubicBezTo>
                    <a:cubicBezTo>
                      <a:pt x="375" y="10"/>
                      <a:pt x="380" y="10"/>
                      <a:pt x="386" y="10"/>
                    </a:cubicBezTo>
                    <a:cubicBezTo>
                      <a:pt x="390" y="10"/>
                      <a:pt x="390" y="10"/>
                      <a:pt x="390" y="10"/>
                    </a:cubicBezTo>
                    <a:cubicBezTo>
                      <a:pt x="397" y="10"/>
                      <a:pt x="403" y="11"/>
                      <a:pt x="407" y="12"/>
                    </a:cubicBezTo>
                    <a:cubicBezTo>
                      <a:pt x="408" y="12"/>
                      <a:pt x="408" y="12"/>
                      <a:pt x="409" y="12"/>
                    </a:cubicBezTo>
                    <a:cubicBezTo>
                      <a:pt x="498" y="38"/>
                      <a:pt x="498" y="38"/>
                      <a:pt x="498" y="38"/>
                    </a:cubicBezTo>
                    <a:cubicBezTo>
                      <a:pt x="506" y="41"/>
                      <a:pt x="506" y="45"/>
                      <a:pt x="498" y="47"/>
                    </a:cubicBezTo>
                    <a:cubicBezTo>
                      <a:pt x="494" y="48"/>
                      <a:pt x="494" y="48"/>
                      <a:pt x="494" y="48"/>
                    </a:cubicBezTo>
                    <a:cubicBezTo>
                      <a:pt x="486" y="51"/>
                      <a:pt x="472" y="51"/>
                      <a:pt x="463" y="48"/>
                    </a:cubicBezTo>
                    <a:cubicBezTo>
                      <a:pt x="412" y="33"/>
                      <a:pt x="412" y="33"/>
                      <a:pt x="412" y="33"/>
                    </a:cubicBezTo>
                    <a:cubicBezTo>
                      <a:pt x="412" y="85"/>
                      <a:pt x="412" y="85"/>
                      <a:pt x="412" y="85"/>
                    </a:cubicBezTo>
                    <a:cubicBezTo>
                      <a:pt x="412" y="89"/>
                      <a:pt x="402" y="91"/>
                      <a:pt x="390" y="91"/>
                    </a:cubicBezTo>
                    <a:cubicBezTo>
                      <a:pt x="386" y="91"/>
                      <a:pt x="386" y="91"/>
                      <a:pt x="386" y="91"/>
                    </a:cubicBezTo>
                    <a:cubicBezTo>
                      <a:pt x="374" y="91"/>
                      <a:pt x="364" y="89"/>
                      <a:pt x="364" y="85"/>
                    </a:cubicBezTo>
                    <a:cubicBezTo>
                      <a:pt x="364" y="33"/>
                      <a:pt x="364" y="33"/>
                      <a:pt x="364" y="33"/>
                    </a:cubicBezTo>
                    <a:cubicBezTo>
                      <a:pt x="312" y="48"/>
                      <a:pt x="312" y="48"/>
                      <a:pt x="312" y="48"/>
                    </a:cubicBezTo>
                    <a:cubicBezTo>
                      <a:pt x="303" y="51"/>
                      <a:pt x="289" y="51"/>
                      <a:pt x="281" y="48"/>
                    </a:cubicBezTo>
                    <a:cubicBezTo>
                      <a:pt x="278" y="47"/>
                      <a:pt x="278" y="47"/>
                      <a:pt x="278" y="47"/>
                    </a:cubicBezTo>
                    <a:cubicBezTo>
                      <a:pt x="269" y="45"/>
                      <a:pt x="269" y="41"/>
                      <a:pt x="278" y="38"/>
                    </a:cubicBezTo>
                    <a:close/>
                    <a:moveTo>
                      <a:pt x="215" y="136"/>
                    </a:moveTo>
                    <a:cubicBezTo>
                      <a:pt x="212" y="135"/>
                      <a:pt x="212" y="135"/>
                      <a:pt x="212" y="135"/>
                    </a:cubicBezTo>
                    <a:cubicBezTo>
                      <a:pt x="203" y="133"/>
                      <a:pt x="203" y="129"/>
                      <a:pt x="212" y="126"/>
                    </a:cubicBezTo>
                    <a:cubicBezTo>
                      <a:pt x="263" y="111"/>
                      <a:pt x="263" y="111"/>
                      <a:pt x="263" y="111"/>
                    </a:cubicBezTo>
                    <a:cubicBezTo>
                      <a:pt x="87" y="111"/>
                      <a:pt x="87" y="111"/>
                      <a:pt x="87" y="111"/>
                    </a:cubicBezTo>
                    <a:cubicBezTo>
                      <a:pt x="74" y="111"/>
                      <a:pt x="65" y="108"/>
                      <a:pt x="65" y="105"/>
                    </a:cubicBezTo>
                    <a:cubicBezTo>
                      <a:pt x="65" y="104"/>
                      <a:pt x="65" y="104"/>
                      <a:pt x="65" y="104"/>
                    </a:cubicBezTo>
                    <a:cubicBezTo>
                      <a:pt x="65" y="100"/>
                      <a:pt x="74" y="97"/>
                      <a:pt x="87" y="97"/>
                    </a:cubicBezTo>
                    <a:cubicBezTo>
                      <a:pt x="264" y="97"/>
                      <a:pt x="264" y="97"/>
                      <a:pt x="264" y="97"/>
                    </a:cubicBezTo>
                    <a:cubicBezTo>
                      <a:pt x="212" y="82"/>
                      <a:pt x="212" y="82"/>
                      <a:pt x="212" y="82"/>
                    </a:cubicBezTo>
                    <a:cubicBezTo>
                      <a:pt x="203" y="80"/>
                      <a:pt x="203" y="75"/>
                      <a:pt x="212" y="73"/>
                    </a:cubicBezTo>
                    <a:cubicBezTo>
                      <a:pt x="215" y="72"/>
                      <a:pt x="215" y="72"/>
                      <a:pt x="215" y="72"/>
                    </a:cubicBezTo>
                    <a:cubicBezTo>
                      <a:pt x="224" y="70"/>
                      <a:pt x="238" y="70"/>
                      <a:pt x="246" y="72"/>
                    </a:cubicBezTo>
                    <a:cubicBezTo>
                      <a:pt x="335" y="98"/>
                      <a:pt x="335" y="98"/>
                      <a:pt x="335" y="98"/>
                    </a:cubicBezTo>
                    <a:cubicBezTo>
                      <a:pt x="336" y="98"/>
                      <a:pt x="337" y="99"/>
                      <a:pt x="338" y="99"/>
                    </a:cubicBezTo>
                    <a:cubicBezTo>
                      <a:pt x="342" y="100"/>
                      <a:pt x="344" y="102"/>
                      <a:pt x="344" y="104"/>
                    </a:cubicBezTo>
                    <a:cubicBezTo>
                      <a:pt x="344" y="105"/>
                      <a:pt x="344" y="105"/>
                      <a:pt x="344" y="105"/>
                    </a:cubicBezTo>
                    <a:cubicBezTo>
                      <a:pt x="344" y="107"/>
                      <a:pt x="341" y="109"/>
                      <a:pt x="336" y="110"/>
                    </a:cubicBezTo>
                    <a:cubicBezTo>
                      <a:pt x="336" y="110"/>
                      <a:pt x="335" y="110"/>
                      <a:pt x="335" y="110"/>
                    </a:cubicBezTo>
                    <a:cubicBezTo>
                      <a:pt x="246" y="136"/>
                      <a:pt x="246" y="136"/>
                      <a:pt x="246" y="136"/>
                    </a:cubicBezTo>
                    <a:cubicBezTo>
                      <a:pt x="238" y="139"/>
                      <a:pt x="224" y="139"/>
                      <a:pt x="215" y="136"/>
                    </a:cubicBezTo>
                    <a:close/>
                    <a:moveTo>
                      <a:pt x="498" y="170"/>
                    </a:moveTo>
                    <a:cubicBezTo>
                      <a:pt x="409" y="196"/>
                      <a:pt x="409" y="196"/>
                      <a:pt x="409" y="196"/>
                    </a:cubicBezTo>
                    <a:cubicBezTo>
                      <a:pt x="408" y="196"/>
                      <a:pt x="408" y="196"/>
                      <a:pt x="407" y="196"/>
                    </a:cubicBezTo>
                    <a:cubicBezTo>
                      <a:pt x="403" y="198"/>
                      <a:pt x="397" y="199"/>
                      <a:pt x="390" y="199"/>
                    </a:cubicBezTo>
                    <a:cubicBezTo>
                      <a:pt x="386" y="199"/>
                      <a:pt x="386" y="199"/>
                      <a:pt x="386" y="199"/>
                    </a:cubicBezTo>
                    <a:cubicBezTo>
                      <a:pt x="380" y="199"/>
                      <a:pt x="375" y="198"/>
                      <a:pt x="371" y="197"/>
                    </a:cubicBezTo>
                    <a:cubicBezTo>
                      <a:pt x="369" y="197"/>
                      <a:pt x="368" y="196"/>
                      <a:pt x="366" y="196"/>
                    </a:cubicBezTo>
                    <a:cubicBezTo>
                      <a:pt x="278" y="170"/>
                      <a:pt x="278" y="170"/>
                      <a:pt x="278" y="170"/>
                    </a:cubicBezTo>
                    <a:cubicBezTo>
                      <a:pt x="269" y="167"/>
                      <a:pt x="269" y="163"/>
                      <a:pt x="278" y="161"/>
                    </a:cubicBezTo>
                    <a:cubicBezTo>
                      <a:pt x="281" y="160"/>
                      <a:pt x="281" y="160"/>
                      <a:pt x="281" y="160"/>
                    </a:cubicBezTo>
                    <a:cubicBezTo>
                      <a:pt x="289" y="157"/>
                      <a:pt x="303" y="157"/>
                      <a:pt x="312" y="160"/>
                    </a:cubicBezTo>
                    <a:cubicBezTo>
                      <a:pt x="364" y="175"/>
                      <a:pt x="364" y="175"/>
                      <a:pt x="364" y="175"/>
                    </a:cubicBezTo>
                    <a:cubicBezTo>
                      <a:pt x="364" y="123"/>
                      <a:pt x="364" y="123"/>
                      <a:pt x="364" y="123"/>
                    </a:cubicBezTo>
                    <a:cubicBezTo>
                      <a:pt x="364" y="120"/>
                      <a:pt x="374" y="117"/>
                      <a:pt x="386" y="117"/>
                    </a:cubicBezTo>
                    <a:cubicBezTo>
                      <a:pt x="390" y="117"/>
                      <a:pt x="390" y="117"/>
                      <a:pt x="390" y="117"/>
                    </a:cubicBezTo>
                    <a:cubicBezTo>
                      <a:pt x="402" y="117"/>
                      <a:pt x="412" y="120"/>
                      <a:pt x="412" y="123"/>
                    </a:cubicBezTo>
                    <a:cubicBezTo>
                      <a:pt x="412" y="175"/>
                      <a:pt x="412" y="175"/>
                      <a:pt x="412" y="175"/>
                    </a:cubicBezTo>
                    <a:cubicBezTo>
                      <a:pt x="463" y="160"/>
                      <a:pt x="463" y="160"/>
                      <a:pt x="463" y="160"/>
                    </a:cubicBezTo>
                    <a:cubicBezTo>
                      <a:pt x="472" y="157"/>
                      <a:pt x="486" y="157"/>
                      <a:pt x="494" y="160"/>
                    </a:cubicBezTo>
                    <a:cubicBezTo>
                      <a:pt x="498" y="161"/>
                      <a:pt x="498" y="161"/>
                      <a:pt x="498" y="161"/>
                    </a:cubicBezTo>
                    <a:cubicBezTo>
                      <a:pt x="506" y="163"/>
                      <a:pt x="506" y="167"/>
                      <a:pt x="498" y="170"/>
                    </a:cubicBezTo>
                    <a:close/>
                    <a:moveTo>
                      <a:pt x="711" y="105"/>
                    </a:moveTo>
                    <a:cubicBezTo>
                      <a:pt x="711" y="108"/>
                      <a:pt x="701" y="111"/>
                      <a:pt x="689" y="111"/>
                    </a:cubicBezTo>
                    <a:cubicBezTo>
                      <a:pt x="512" y="111"/>
                      <a:pt x="512" y="111"/>
                      <a:pt x="512" y="111"/>
                    </a:cubicBezTo>
                    <a:cubicBezTo>
                      <a:pt x="563" y="126"/>
                      <a:pt x="563" y="126"/>
                      <a:pt x="563" y="126"/>
                    </a:cubicBezTo>
                    <a:cubicBezTo>
                      <a:pt x="572" y="129"/>
                      <a:pt x="572" y="133"/>
                      <a:pt x="563" y="135"/>
                    </a:cubicBezTo>
                    <a:cubicBezTo>
                      <a:pt x="560" y="136"/>
                      <a:pt x="560" y="136"/>
                      <a:pt x="560" y="136"/>
                    </a:cubicBezTo>
                    <a:cubicBezTo>
                      <a:pt x="552" y="139"/>
                      <a:pt x="538" y="139"/>
                      <a:pt x="529" y="136"/>
                    </a:cubicBezTo>
                    <a:cubicBezTo>
                      <a:pt x="441" y="110"/>
                      <a:pt x="441" y="110"/>
                      <a:pt x="441" y="110"/>
                    </a:cubicBezTo>
                    <a:cubicBezTo>
                      <a:pt x="440" y="110"/>
                      <a:pt x="440" y="110"/>
                      <a:pt x="439" y="110"/>
                    </a:cubicBezTo>
                    <a:cubicBezTo>
                      <a:pt x="434" y="109"/>
                      <a:pt x="431" y="107"/>
                      <a:pt x="431" y="105"/>
                    </a:cubicBezTo>
                    <a:cubicBezTo>
                      <a:pt x="431" y="104"/>
                      <a:pt x="431" y="104"/>
                      <a:pt x="431" y="104"/>
                    </a:cubicBezTo>
                    <a:cubicBezTo>
                      <a:pt x="431" y="102"/>
                      <a:pt x="434" y="100"/>
                      <a:pt x="437" y="99"/>
                    </a:cubicBezTo>
                    <a:cubicBezTo>
                      <a:pt x="438" y="99"/>
                      <a:pt x="439" y="98"/>
                      <a:pt x="441" y="98"/>
                    </a:cubicBezTo>
                    <a:cubicBezTo>
                      <a:pt x="529" y="72"/>
                      <a:pt x="529" y="72"/>
                      <a:pt x="529" y="72"/>
                    </a:cubicBezTo>
                    <a:cubicBezTo>
                      <a:pt x="538" y="70"/>
                      <a:pt x="552" y="70"/>
                      <a:pt x="560" y="72"/>
                    </a:cubicBezTo>
                    <a:cubicBezTo>
                      <a:pt x="563" y="73"/>
                      <a:pt x="563" y="73"/>
                      <a:pt x="563" y="73"/>
                    </a:cubicBezTo>
                    <a:cubicBezTo>
                      <a:pt x="572" y="75"/>
                      <a:pt x="572" y="80"/>
                      <a:pt x="563" y="82"/>
                    </a:cubicBezTo>
                    <a:cubicBezTo>
                      <a:pt x="511" y="97"/>
                      <a:pt x="511" y="97"/>
                      <a:pt x="511" y="97"/>
                    </a:cubicBezTo>
                    <a:cubicBezTo>
                      <a:pt x="689" y="97"/>
                      <a:pt x="689" y="97"/>
                      <a:pt x="689" y="97"/>
                    </a:cubicBezTo>
                    <a:cubicBezTo>
                      <a:pt x="701" y="97"/>
                      <a:pt x="711" y="100"/>
                      <a:pt x="711" y="104"/>
                    </a:cubicBezTo>
                    <a:lnTo>
                      <a:pt x="711" y="10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14" name="Group 213"/>
            <p:cNvGrpSpPr>
              <a:grpSpLocks noChangeAspect="1"/>
            </p:cNvGrpSpPr>
            <p:nvPr userDrawn="1"/>
          </p:nvGrpSpPr>
          <p:grpSpPr>
            <a:xfrm>
              <a:off x="3559506" y="2097318"/>
              <a:ext cx="91440" cy="90432"/>
              <a:chOff x="4691826" y="941215"/>
              <a:chExt cx="232883" cy="230314"/>
            </a:xfrm>
          </p:grpSpPr>
          <p:sp>
            <p:nvSpPr>
              <p:cNvPr id="215" name="Freeform 31"/>
              <p:cNvSpPr>
                <a:spLocks noEditPoints="1"/>
              </p:cNvSpPr>
              <p:nvPr/>
            </p:nvSpPr>
            <p:spPr bwMode="auto">
              <a:xfrm>
                <a:off x="4691826" y="941215"/>
                <a:ext cx="101751" cy="230314"/>
              </a:xfrm>
              <a:custGeom>
                <a:avLst/>
                <a:gdLst>
                  <a:gd name="T0" fmla="*/ 145 w 156"/>
                  <a:gd name="T1" fmla="*/ 0 h 228"/>
                  <a:gd name="T2" fmla="*/ 11 w 156"/>
                  <a:gd name="T3" fmla="*/ 0 h 228"/>
                  <a:gd name="T4" fmla="*/ 0 w 156"/>
                  <a:gd name="T5" fmla="*/ 11 h 228"/>
                  <a:gd name="T6" fmla="*/ 0 w 156"/>
                  <a:gd name="T7" fmla="*/ 218 h 228"/>
                  <a:gd name="T8" fmla="*/ 11 w 156"/>
                  <a:gd name="T9" fmla="*/ 228 h 228"/>
                  <a:gd name="T10" fmla="*/ 145 w 156"/>
                  <a:gd name="T11" fmla="*/ 228 h 228"/>
                  <a:gd name="T12" fmla="*/ 156 w 156"/>
                  <a:gd name="T13" fmla="*/ 218 h 228"/>
                  <a:gd name="T14" fmla="*/ 156 w 156"/>
                  <a:gd name="T15" fmla="*/ 11 h 228"/>
                  <a:gd name="T16" fmla="*/ 145 w 156"/>
                  <a:gd name="T17" fmla="*/ 0 h 228"/>
                  <a:gd name="T18" fmla="*/ 146 w 156"/>
                  <a:gd name="T19" fmla="*/ 135 h 228"/>
                  <a:gd name="T20" fmla="*/ 146 w 156"/>
                  <a:gd name="T21" fmla="*/ 137 h 228"/>
                  <a:gd name="T22" fmla="*/ 10 w 156"/>
                  <a:gd name="T23" fmla="*/ 137 h 228"/>
                  <a:gd name="T24" fmla="*/ 10 w 156"/>
                  <a:gd name="T25" fmla="*/ 135 h 228"/>
                  <a:gd name="T26" fmla="*/ 95 w 156"/>
                  <a:gd name="T27" fmla="*/ 135 h 228"/>
                  <a:gd name="T28" fmla="*/ 95 w 156"/>
                  <a:gd name="T29" fmla="*/ 130 h 228"/>
                  <a:gd name="T30" fmla="*/ 146 w 156"/>
                  <a:gd name="T31" fmla="*/ 130 h 228"/>
                  <a:gd name="T32" fmla="*/ 146 w 156"/>
                  <a:gd name="T33" fmla="*/ 135 h 228"/>
                  <a:gd name="T34" fmla="*/ 146 w 156"/>
                  <a:gd name="T35" fmla="*/ 103 h 228"/>
                  <a:gd name="T36" fmla="*/ 146 w 156"/>
                  <a:gd name="T37" fmla="*/ 105 h 228"/>
                  <a:gd name="T38" fmla="*/ 10 w 156"/>
                  <a:gd name="T39" fmla="*/ 105 h 228"/>
                  <a:gd name="T40" fmla="*/ 10 w 156"/>
                  <a:gd name="T41" fmla="*/ 103 h 228"/>
                  <a:gd name="T42" fmla="*/ 95 w 156"/>
                  <a:gd name="T43" fmla="*/ 103 h 228"/>
                  <a:gd name="T44" fmla="*/ 95 w 156"/>
                  <a:gd name="T45" fmla="*/ 98 h 228"/>
                  <a:gd name="T46" fmla="*/ 146 w 156"/>
                  <a:gd name="T47" fmla="*/ 98 h 228"/>
                  <a:gd name="T48" fmla="*/ 146 w 156"/>
                  <a:gd name="T49" fmla="*/ 103 h 228"/>
                  <a:gd name="T50" fmla="*/ 146 w 156"/>
                  <a:gd name="T51" fmla="*/ 72 h 228"/>
                  <a:gd name="T52" fmla="*/ 146 w 156"/>
                  <a:gd name="T53" fmla="*/ 73 h 228"/>
                  <a:gd name="T54" fmla="*/ 10 w 156"/>
                  <a:gd name="T55" fmla="*/ 73 h 228"/>
                  <a:gd name="T56" fmla="*/ 10 w 156"/>
                  <a:gd name="T57" fmla="*/ 72 h 228"/>
                  <a:gd name="T58" fmla="*/ 95 w 156"/>
                  <a:gd name="T59" fmla="*/ 72 h 228"/>
                  <a:gd name="T60" fmla="*/ 95 w 156"/>
                  <a:gd name="T61" fmla="*/ 67 h 228"/>
                  <a:gd name="T62" fmla="*/ 146 w 156"/>
                  <a:gd name="T63" fmla="*/ 67 h 228"/>
                  <a:gd name="T64" fmla="*/ 146 w 156"/>
                  <a:gd name="T65" fmla="*/ 72 h 228"/>
                  <a:gd name="T66" fmla="*/ 146 w 156"/>
                  <a:gd name="T67" fmla="*/ 40 h 228"/>
                  <a:gd name="T68" fmla="*/ 146 w 156"/>
                  <a:gd name="T69" fmla="*/ 42 h 228"/>
                  <a:gd name="T70" fmla="*/ 10 w 156"/>
                  <a:gd name="T71" fmla="*/ 42 h 228"/>
                  <a:gd name="T72" fmla="*/ 10 w 156"/>
                  <a:gd name="T73" fmla="*/ 40 h 228"/>
                  <a:gd name="T74" fmla="*/ 95 w 156"/>
                  <a:gd name="T75" fmla="*/ 40 h 228"/>
                  <a:gd name="T76" fmla="*/ 95 w 156"/>
                  <a:gd name="T77" fmla="*/ 35 h 228"/>
                  <a:gd name="T78" fmla="*/ 146 w 156"/>
                  <a:gd name="T79" fmla="*/ 35 h 228"/>
                  <a:gd name="T80" fmla="*/ 146 w 156"/>
                  <a:gd name="T81" fmla="*/ 40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56" h="228">
                    <a:moveTo>
                      <a:pt x="145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218"/>
                      <a:pt x="0" y="218"/>
                      <a:pt x="0" y="218"/>
                    </a:cubicBezTo>
                    <a:cubicBezTo>
                      <a:pt x="0" y="224"/>
                      <a:pt x="5" y="228"/>
                      <a:pt x="11" y="228"/>
                    </a:cubicBezTo>
                    <a:cubicBezTo>
                      <a:pt x="145" y="228"/>
                      <a:pt x="145" y="228"/>
                      <a:pt x="145" y="228"/>
                    </a:cubicBezTo>
                    <a:cubicBezTo>
                      <a:pt x="151" y="228"/>
                      <a:pt x="156" y="224"/>
                      <a:pt x="156" y="218"/>
                    </a:cubicBezTo>
                    <a:cubicBezTo>
                      <a:pt x="156" y="11"/>
                      <a:pt x="156" y="11"/>
                      <a:pt x="156" y="11"/>
                    </a:cubicBezTo>
                    <a:cubicBezTo>
                      <a:pt x="156" y="5"/>
                      <a:pt x="151" y="0"/>
                      <a:pt x="145" y="0"/>
                    </a:cubicBezTo>
                    <a:close/>
                    <a:moveTo>
                      <a:pt x="146" y="135"/>
                    </a:moveTo>
                    <a:cubicBezTo>
                      <a:pt x="146" y="137"/>
                      <a:pt x="146" y="137"/>
                      <a:pt x="146" y="137"/>
                    </a:cubicBezTo>
                    <a:cubicBezTo>
                      <a:pt x="10" y="137"/>
                      <a:pt x="10" y="137"/>
                      <a:pt x="10" y="137"/>
                    </a:cubicBezTo>
                    <a:cubicBezTo>
                      <a:pt x="10" y="135"/>
                      <a:pt x="10" y="135"/>
                      <a:pt x="10" y="135"/>
                    </a:cubicBezTo>
                    <a:cubicBezTo>
                      <a:pt x="95" y="135"/>
                      <a:pt x="95" y="135"/>
                      <a:pt x="95" y="135"/>
                    </a:cubicBezTo>
                    <a:cubicBezTo>
                      <a:pt x="95" y="130"/>
                      <a:pt x="95" y="130"/>
                      <a:pt x="95" y="130"/>
                    </a:cubicBezTo>
                    <a:cubicBezTo>
                      <a:pt x="146" y="130"/>
                      <a:pt x="146" y="130"/>
                      <a:pt x="146" y="130"/>
                    </a:cubicBezTo>
                    <a:lnTo>
                      <a:pt x="146" y="135"/>
                    </a:lnTo>
                    <a:close/>
                    <a:moveTo>
                      <a:pt x="146" y="103"/>
                    </a:moveTo>
                    <a:cubicBezTo>
                      <a:pt x="146" y="105"/>
                      <a:pt x="146" y="105"/>
                      <a:pt x="146" y="105"/>
                    </a:cubicBezTo>
                    <a:cubicBezTo>
                      <a:pt x="10" y="105"/>
                      <a:pt x="10" y="105"/>
                      <a:pt x="10" y="105"/>
                    </a:cubicBezTo>
                    <a:cubicBezTo>
                      <a:pt x="10" y="103"/>
                      <a:pt x="10" y="103"/>
                      <a:pt x="10" y="103"/>
                    </a:cubicBezTo>
                    <a:cubicBezTo>
                      <a:pt x="95" y="103"/>
                      <a:pt x="95" y="103"/>
                      <a:pt x="95" y="103"/>
                    </a:cubicBezTo>
                    <a:cubicBezTo>
                      <a:pt x="95" y="98"/>
                      <a:pt x="95" y="98"/>
                      <a:pt x="95" y="98"/>
                    </a:cubicBezTo>
                    <a:cubicBezTo>
                      <a:pt x="146" y="98"/>
                      <a:pt x="146" y="98"/>
                      <a:pt x="146" y="98"/>
                    </a:cubicBezTo>
                    <a:lnTo>
                      <a:pt x="146" y="103"/>
                    </a:lnTo>
                    <a:close/>
                    <a:moveTo>
                      <a:pt x="146" y="72"/>
                    </a:moveTo>
                    <a:cubicBezTo>
                      <a:pt x="146" y="73"/>
                      <a:pt x="146" y="73"/>
                      <a:pt x="146" y="73"/>
                    </a:cubicBezTo>
                    <a:cubicBezTo>
                      <a:pt x="10" y="73"/>
                      <a:pt x="10" y="73"/>
                      <a:pt x="10" y="73"/>
                    </a:cubicBezTo>
                    <a:cubicBezTo>
                      <a:pt x="10" y="72"/>
                      <a:pt x="10" y="72"/>
                      <a:pt x="10" y="72"/>
                    </a:cubicBezTo>
                    <a:cubicBezTo>
                      <a:pt x="95" y="72"/>
                      <a:pt x="95" y="72"/>
                      <a:pt x="95" y="72"/>
                    </a:cubicBezTo>
                    <a:cubicBezTo>
                      <a:pt x="95" y="67"/>
                      <a:pt x="95" y="67"/>
                      <a:pt x="95" y="67"/>
                    </a:cubicBezTo>
                    <a:cubicBezTo>
                      <a:pt x="146" y="67"/>
                      <a:pt x="146" y="67"/>
                      <a:pt x="146" y="67"/>
                    </a:cubicBezTo>
                    <a:lnTo>
                      <a:pt x="146" y="72"/>
                    </a:lnTo>
                    <a:close/>
                    <a:moveTo>
                      <a:pt x="146" y="40"/>
                    </a:moveTo>
                    <a:cubicBezTo>
                      <a:pt x="146" y="42"/>
                      <a:pt x="146" y="42"/>
                      <a:pt x="146" y="42"/>
                    </a:cubicBezTo>
                    <a:cubicBezTo>
                      <a:pt x="10" y="42"/>
                      <a:pt x="10" y="42"/>
                      <a:pt x="10" y="42"/>
                    </a:cubicBezTo>
                    <a:cubicBezTo>
                      <a:pt x="10" y="40"/>
                      <a:pt x="10" y="40"/>
                      <a:pt x="10" y="40"/>
                    </a:cubicBezTo>
                    <a:cubicBezTo>
                      <a:pt x="95" y="40"/>
                      <a:pt x="95" y="40"/>
                      <a:pt x="95" y="40"/>
                    </a:cubicBezTo>
                    <a:cubicBezTo>
                      <a:pt x="95" y="35"/>
                      <a:pt x="95" y="35"/>
                      <a:pt x="95" y="35"/>
                    </a:cubicBezTo>
                    <a:cubicBezTo>
                      <a:pt x="146" y="35"/>
                      <a:pt x="146" y="35"/>
                      <a:pt x="146" y="35"/>
                    </a:cubicBezTo>
                    <a:lnTo>
                      <a:pt x="146" y="4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30000"/>
                </a:schemeClr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defTabSz="45677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216" name="Freeform 31"/>
              <p:cNvSpPr>
                <a:spLocks noEditPoints="1"/>
              </p:cNvSpPr>
              <p:nvPr/>
            </p:nvSpPr>
            <p:spPr bwMode="auto">
              <a:xfrm>
                <a:off x="4822958" y="941215"/>
                <a:ext cx="101751" cy="230314"/>
              </a:xfrm>
              <a:custGeom>
                <a:avLst/>
                <a:gdLst>
                  <a:gd name="T0" fmla="*/ 145 w 156"/>
                  <a:gd name="T1" fmla="*/ 0 h 228"/>
                  <a:gd name="T2" fmla="*/ 11 w 156"/>
                  <a:gd name="T3" fmla="*/ 0 h 228"/>
                  <a:gd name="T4" fmla="*/ 0 w 156"/>
                  <a:gd name="T5" fmla="*/ 11 h 228"/>
                  <a:gd name="T6" fmla="*/ 0 w 156"/>
                  <a:gd name="T7" fmla="*/ 218 h 228"/>
                  <a:gd name="T8" fmla="*/ 11 w 156"/>
                  <a:gd name="T9" fmla="*/ 228 h 228"/>
                  <a:gd name="T10" fmla="*/ 145 w 156"/>
                  <a:gd name="T11" fmla="*/ 228 h 228"/>
                  <a:gd name="T12" fmla="*/ 156 w 156"/>
                  <a:gd name="T13" fmla="*/ 218 h 228"/>
                  <a:gd name="T14" fmla="*/ 156 w 156"/>
                  <a:gd name="T15" fmla="*/ 11 h 228"/>
                  <a:gd name="T16" fmla="*/ 145 w 156"/>
                  <a:gd name="T17" fmla="*/ 0 h 228"/>
                  <a:gd name="T18" fmla="*/ 146 w 156"/>
                  <a:gd name="T19" fmla="*/ 135 h 228"/>
                  <a:gd name="T20" fmla="*/ 146 w 156"/>
                  <a:gd name="T21" fmla="*/ 137 h 228"/>
                  <a:gd name="T22" fmla="*/ 10 w 156"/>
                  <a:gd name="T23" fmla="*/ 137 h 228"/>
                  <a:gd name="T24" fmla="*/ 10 w 156"/>
                  <a:gd name="T25" fmla="*/ 135 h 228"/>
                  <a:gd name="T26" fmla="*/ 95 w 156"/>
                  <a:gd name="T27" fmla="*/ 135 h 228"/>
                  <a:gd name="T28" fmla="*/ 95 w 156"/>
                  <a:gd name="T29" fmla="*/ 130 h 228"/>
                  <a:gd name="T30" fmla="*/ 146 w 156"/>
                  <a:gd name="T31" fmla="*/ 130 h 228"/>
                  <a:gd name="T32" fmla="*/ 146 w 156"/>
                  <a:gd name="T33" fmla="*/ 135 h 228"/>
                  <a:gd name="T34" fmla="*/ 146 w 156"/>
                  <a:gd name="T35" fmla="*/ 103 h 228"/>
                  <a:gd name="T36" fmla="*/ 146 w 156"/>
                  <a:gd name="T37" fmla="*/ 105 h 228"/>
                  <a:gd name="T38" fmla="*/ 10 w 156"/>
                  <a:gd name="T39" fmla="*/ 105 h 228"/>
                  <a:gd name="T40" fmla="*/ 10 w 156"/>
                  <a:gd name="T41" fmla="*/ 103 h 228"/>
                  <a:gd name="T42" fmla="*/ 95 w 156"/>
                  <a:gd name="T43" fmla="*/ 103 h 228"/>
                  <a:gd name="T44" fmla="*/ 95 w 156"/>
                  <a:gd name="T45" fmla="*/ 98 h 228"/>
                  <a:gd name="T46" fmla="*/ 146 w 156"/>
                  <a:gd name="T47" fmla="*/ 98 h 228"/>
                  <a:gd name="T48" fmla="*/ 146 w 156"/>
                  <a:gd name="T49" fmla="*/ 103 h 228"/>
                  <a:gd name="T50" fmla="*/ 146 w 156"/>
                  <a:gd name="T51" fmla="*/ 72 h 228"/>
                  <a:gd name="T52" fmla="*/ 146 w 156"/>
                  <a:gd name="T53" fmla="*/ 73 h 228"/>
                  <a:gd name="T54" fmla="*/ 10 w 156"/>
                  <a:gd name="T55" fmla="*/ 73 h 228"/>
                  <a:gd name="T56" fmla="*/ 10 w 156"/>
                  <a:gd name="T57" fmla="*/ 72 h 228"/>
                  <a:gd name="T58" fmla="*/ 95 w 156"/>
                  <a:gd name="T59" fmla="*/ 72 h 228"/>
                  <a:gd name="T60" fmla="*/ 95 w 156"/>
                  <a:gd name="T61" fmla="*/ 67 h 228"/>
                  <a:gd name="T62" fmla="*/ 146 w 156"/>
                  <a:gd name="T63" fmla="*/ 67 h 228"/>
                  <a:gd name="T64" fmla="*/ 146 w 156"/>
                  <a:gd name="T65" fmla="*/ 72 h 228"/>
                  <a:gd name="T66" fmla="*/ 146 w 156"/>
                  <a:gd name="T67" fmla="*/ 40 h 228"/>
                  <a:gd name="T68" fmla="*/ 146 w 156"/>
                  <a:gd name="T69" fmla="*/ 42 h 228"/>
                  <a:gd name="T70" fmla="*/ 10 w 156"/>
                  <a:gd name="T71" fmla="*/ 42 h 228"/>
                  <a:gd name="T72" fmla="*/ 10 w 156"/>
                  <a:gd name="T73" fmla="*/ 40 h 228"/>
                  <a:gd name="T74" fmla="*/ 95 w 156"/>
                  <a:gd name="T75" fmla="*/ 40 h 228"/>
                  <a:gd name="T76" fmla="*/ 95 w 156"/>
                  <a:gd name="T77" fmla="*/ 35 h 228"/>
                  <a:gd name="T78" fmla="*/ 146 w 156"/>
                  <a:gd name="T79" fmla="*/ 35 h 228"/>
                  <a:gd name="T80" fmla="*/ 146 w 156"/>
                  <a:gd name="T81" fmla="*/ 40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56" h="228">
                    <a:moveTo>
                      <a:pt x="145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218"/>
                      <a:pt x="0" y="218"/>
                      <a:pt x="0" y="218"/>
                    </a:cubicBezTo>
                    <a:cubicBezTo>
                      <a:pt x="0" y="224"/>
                      <a:pt x="5" y="228"/>
                      <a:pt x="11" y="228"/>
                    </a:cubicBezTo>
                    <a:cubicBezTo>
                      <a:pt x="145" y="228"/>
                      <a:pt x="145" y="228"/>
                      <a:pt x="145" y="228"/>
                    </a:cubicBezTo>
                    <a:cubicBezTo>
                      <a:pt x="151" y="228"/>
                      <a:pt x="156" y="224"/>
                      <a:pt x="156" y="218"/>
                    </a:cubicBezTo>
                    <a:cubicBezTo>
                      <a:pt x="156" y="11"/>
                      <a:pt x="156" y="11"/>
                      <a:pt x="156" y="11"/>
                    </a:cubicBezTo>
                    <a:cubicBezTo>
                      <a:pt x="156" y="5"/>
                      <a:pt x="151" y="0"/>
                      <a:pt x="145" y="0"/>
                    </a:cubicBezTo>
                    <a:close/>
                    <a:moveTo>
                      <a:pt x="146" y="135"/>
                    </a:moveTo>
                    <a:cubicBezTo>
                      <a:pt x="146" y="137"/>
                      <a:pt x="146" y="137"/>
                      <a:pt x="146" y="137"/>
                    </a:cubicBezTo>
                    <a:cubicBezTo>
                      <a:pt x="10" y="137"/>
                      <a:pt x="10" y="137"/>
                      <a:pt x="10" y="137"/>
                    </a:cubicBezTo>
                    <a:cubicBezTo>
                      <a:pt x="10" y="135"/>
                      <a:pt x="10" y="135"/>
                      <a:pt x="10" y="135"/>
                    </a:cubicBezTo>
                    <a:cubicBezTo>
                      <a:pt x="95" y="135"/>
                      <a:pt x="95" y="135"/>
                      <a:pt x="95" y="135"/>
                    </a:cubicBezTo>
                    <a:cubicBezTo>
                      <a:pt x="95" y="130"/>
                      <a:pt x="95" y="130"/>
                      <a:pt x="95" y="130"/>
                    </a:cubicBezTo>
                    <a:cubicBezTo>
                      <a:pt x="146" y="130"/>
                      <a:pt x="146" y="130"/>
                      <a:pt x="146" y="130"/>
                    </a:cubicBezTo>
                    <a:lnTo>
                      <a:pt x="146" y="135"/>
                    </a:lnTo>
                    <a:close/>
                    <a:moveTo>
                      <a:pt x="146" y="103"/>
                    </a:moveTo>
                    <a:cubicBezTo>
                      <a:pt x="146" y="105"/>
                      <a:pt x="146" y="105"/>
                      <a:pt x="146" y="105"/>
                    </a:cubicBezTo>
                    <a:cubicBezTo>
                      <a:pt x="10" y="105"/>
                      <a:pt x="10" y="105"/>
                      <a:pt x="10" y="105"/>
                    </a:cubicBezTo>
                    <a:cubicBezTo>
                      <a:pt x="10" y="103"/>
                      <a:pt x="10" y="103"/>
                      <a:pt x="10" y="103"/>
                    </a:cubicBezTo>
                    <a:cubicBezTo>
                      <a:pt x="95" y="103"/>
                      <a:pt x="95" y="103"/>
                      <a:pt x="95" y="103"/>
                    </a:cubicBezTo>
                    <a:cubicBezTo>
                      <a:pt x="95" y="98"/>
                      <a:pt x="95" y="98"/>
                      <a:pt x="95" y="98"/>
                    </a:cubicBezTo>
                    <a:cubicBezTo>
                      <a:pt x="146" y="98"/>
                      <a:pt x="146" y="98"/>
                      <a:pt x="146" y="98"/>
                    </a:cubicBezTo>
                    <a:lnTo>
                      <a:pt x="146" y="103"/>
                    </a:lnTo>
                    <a:close/>
                    <a:moveTo>
                      <a:pt x="146" y="72"/>
                    </a:moveTo>
                    <a:cubicBezTo>
                      <a:pt x="146" y="73"/>
                      <a:pt x="146" y="73"/>
                      <a:pt x="146" y="73"/>
                    </a:cubicBezTo>
                    <a:cubicBezTo>
                      <a:pt x="10" y="73"/>
                      <a:pt x="10" y="73"/>
                      <a:pt x="10" y="73"/>
                    </a:cubicBezTo>
                    <a:cubicBezTo>
                      <a:pt x="10" y="72"/>
                      <a:pt x="10" y="72"/>
                      <a:pt x="10" y="72"/>
                    </a:cubicBezTo>
                    <a:cubicBezTo>
                      <a:pt x="95" y="72"/>
                      <a:pt x="95" y="72"/>
                      <a:pt x="95" y="72"/>
                    </a:cubicBezTo>
                    <a:cubicBezTo>
                      <a:pt x="95" y="67"/>
                      <a:pt x="95" y="67"/>
                      <a:pt x="95" y="67"/>
                    </a:cubicBezTo>
                    <a:cubicBezTo>
                      <a:pt x="146" y="67"/>
                      <a:pt x="146" y="67"/>
                      <a:pt x="146" y="67"/>
                    </a:cubicBezTo>
                    <a:lnTo>
                      <a:pt x="146" y="72"/>
                    </a:lnTo>
                    <a:close/>
                    <a:moveTo>
                      <a:pt x="146" y="40"/>
                    </a:moveTo>
                    <a:cubicBezTo>
                      <a:pt x="146" y="42"/>
                      <a:pt x="146" y="42"/>
                      <a:pt x="146" y="42"/>
                    </a:cubicBezTo>
                    <a:cubicBezTo>
                      <a:pt x="10" y="42"/>
                      <a:pt x="10" y="42"/>
                      <a:pt x="10" y="42"/>
                    </a:cubicBezTo>
                    <a:cubicBezTo>
                      <a:pt x="10" y="40"/>
                      <a:pt x="10" y="40"/>
                      <a:pt x="10" y="40"/>
                    </a:cubicBezTo>
                    <a:cubicBezTo>
                      <a:pt x="95" y="40"/>
                      <a:pt x="95" y="40"/>
                      <a:pt x="95" y="40"/>
                    </a:cubicBezTo>
                    <a:cubicBezTo>
                      <a:pt x="95" y="35"/>
                      <a:pt x="95" y="35"/>
                      <a:pt x="95" y="35"/>
                    </a:cubicBezTo>
                    <a:cubicBezTo>
                      <a:pt x="146" y="35"/>
                      <a:pt x="146" y="35"/>
                      <a:pt x="146" y="35"/>
                    </a:cubicBezTo>
                    <a:lnTo>
                      <a:pt x="146" y="4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30000"/>
                </a:schemeClr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defTabSz="45677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17" name="Freeform 74"/>
            <p:cNvSpPr>
              <a:spLocks noChangeAspect="1" noEditPoints="1"/>
            </p:cNvSpPr>
            <p:nvPr userDrawn="1"/>
          </p:nvSpPr>
          <p:spPr bwMode="auto">
            <a:xfrm>
              <a:off x="2901516" y="2265807"/>
              <a:ext cx="91440" cy="110963"/>
            </a:xfrm>
            <a:custGeom>
              <a:avLst/>
              <a:gdLst>
                <a:gd name="T0" fmla="*/ 21 w 116"/>
                <a:gd name="T1" fmla="*/ 3 h 141"/>
                <a:gd name="T2" fmla="*/ 28 w 116"/>
                <a:gd name="T3" fmla="*/ 3 h 141"/>
                <a:gd name="T4" fmla="*/ 29 w 116"/>
                <a:gd name="T5" fmla="*/ 28 h 141"/>
                <a:gd name="T6" fmla="*/ 45 w 116"/>
                <a:gd name="T7" fmla="*/ 32 h 141"/>
                <a:gd name="T8" fmla="*/ 38 w 116"/>
                <a:gd name="T9" fmla="*/ 22 h 141"/>
                <a:gd name="T10" fmla="*/ 45 w 116"/>
                <a:gd name="T11" fmla="*/ 17 h 141"/>
                <a:gd name="T12" fmla="*/ 42 w 116"/>
                <a:gd name="T13" fmla="*/ 64 h 141"/>
                <a:gd name="T14" fmla="*/ 42 w 116"/>
                <a:gd name="T15" fmla="*/ 108 h 141"/>
                <a:gd name="T16" fmla="*/ 28 w 116"/>
                <a:gd name="T17" fmla="*/ 123 h 141"/>
                <a:gd name="T18" fmla="*/ 28 w 116"/>
                <a:gd name="T19" fmla="*/ 69 h 141"/>
                <a:gd name="T20" fmla="*/ 21 w 116"/>
                <a:gd name="T21" fmla="*/ 76 h 141"/>
                <a:gd name="T22" fmla="*/ 7 w 116"/>
                <a:gd name="T23" fmla="*/ 81 h 141"/>
                <a:gd name="T24" fmla="*/ 7 w 116"/>
                <a:gd name="T25" fmla="*/ 23 h 141"/>
                <a:gd name="T26" fmla="*/ 0 w 116"/>
                <a:gd name="T27" fmla="*/ 81 h 141"/>
                <a:gd name="T28" fmla="*/ 0 w 116"/>
                <a:gd name="T29" fmla="*/ 82 h 141"/>
                <a:gd name="T30" fmla="*/ 21 w 116"/>
                <a:gd name="T31" fmla="*/ 141 h 141"/>
                <a:gd name="T32" fmla="*/ 49 w 116"/>
                <a:gd name="T33" fmla="*/ 109 h 141"/>
                <a:gd name="T34" fmla="*/ 49 w 116"/>
                <a:gd name="T35" fmla="*/ 102 h 141"/>
                <a:gd name="T36" fmla="*/ 71 w 116"/>
                <a:gd name="T37" fmla="*/ 52 h 141"/>
                <a:gd name="T38" fmla="*/ 72 w 116"/>
                <a:gd name="T39" fmla="*/ 51 h 141"/>
                <a:gd name="T40" fmla="*/ 73 w 116"/>
                <a:gd name="T41" fmla="*/ 51 h 141"/>
                <a:gd name="T42" fmla="*/ 74 w 116"/>
                <a:gd name="T43" fmla="*/ 51 h 141"/>
                <a:gd name="T44" fmla="*/ 46 w 116"/>
                <a:gd name="T45" fmla="*/ 38 h 141"/>
                <a:gd name="T46" fmla="*/ 28 w 116"/>
                <a:gd name="T47" fmla="*/ 30 h 141"/>
                <a:gd name="T48" fmla="*/ 9 w 116"/>
                <a:gd name="T49" fmla="*/ 21 h 141"/>
                <a:gd name="T50" fmla="*/ 9 w 116"/>
                <a:gd name="T51" fmla="*/ 21 h 141"/>
                <a:gd name="T52" fmla="*/ 16 w 116"/>
                <a:gd name="T53" fmla="*/ 70 h 141"/>
                <a:gd name="T54" fmla="*/ 49 w 116"/>
                <a:gd name="T55" fmla="*/ 59 h 141"/>
                <a:gd name="T56" fmla="*/ 30 w 116"/>
                <a:gd name="T57" fmla="*/ 52 h 141"/>
                <a:gd name="T58" fmla="*/ 18 w 116"/>
                <a:gd name="T59" fmla="*/ 52 h 141"/>
                <a:gd name="T60" fmla="*/ 25 w 116"/>
                <a:gd name="T61" fmla="*/ 46 h 141"/>
                <a:gd name="T62" fmla="*/ 26 w 116"/>
                <a:gd name="T63" fmla="*/ 43 h 141"/>
                <a:gd name="T64" fmla="*/ 22 w 116"/>
                <a:gd name="T65" fmla="*/ 44 h 141"/>
                <a:gd name="T66" fmla="*/ 20 w 116"/>
                <a:gd name="T67" fmla="*/ 41 h 141"/>
                <a:gd name="T68" fmla="*/ 27 w 116"/>
                <a:gd name="T69" fmla="*/ 40 h 141"/>
                <a:gd name="T70" fmla="*/ 30 w 116"/>
                <a:gd name="T71" fmla="*/ 44 h 141"/>
                <a:gd name="T72" fmla="*/ 28 w 116"/>
                <a:gd name="T73" fmla="*/ 48 h 141"/>
                <a:gd name="T74" fmla="*/ 30 w 116"/>
                <a:gd name="T75" fmla="*/ 52 h 141"/>
                <a:gd name="T76" fmla="*/ 51 w 116"/>
                <a:gd name="T77" fmla="*/ 107 h 141"/>
                <a:gd name="T78" fmla="*/ 70 w 116"/>
                <a:gd name="T79" fmla="*/ 88 h 141"/>
                <a:gd name="T80" fmla="*/ 63 w 116"/>
                <a:gd name="T81" fmla="*/ 89 h 141"/>
                <a:gd name="T82" fmla="*/ 59 w 116"/>
                <a:gd name="T83" fmla="*/ 85 h 141"/>
                <a:gd name="T84" fmla="*/ 65 w 116"/>
                <a:gd name="T85" fmla="*/ 87 h 141"/>
                <a:gd name="T86" fmla="*/ 67 w 116"/>
                <a:gd name="T87" fmla="*/ 83 h 141"/>
                <a:gd name="T88" fmla="*/ 63 w 116"/>
                <a:gd name="T89" fmla="*/ 80 h 141"/>
                <a:gd name="T90" fmla="*/ 67 w 116"/>
                <a:gd name="T91" fmla="*/ 79 h 141"/>
                <a:gd name="T92" fmla="*/ 67 w 116"/>
                <a:gd name="T93" fmla="*/ 76 h 141"/>
                <a:gd name="T94" fmla="*/ 60 w 116"/>
                <a:gd name="T95" fmla="*/ 77 h 141"/>
                <a:gd name="T96" fmla="*/ 68 w 116"/>
                <a:gd name="T97" fmla="*/ 74 h 141"/>
                <a:gd name="T98" fmla="*/ 71 w 116"/>
                <a:gd name="T99" fmla="*/ 77 h 141"/>
                <a:gd name="T100" fmla="*/ 69 w 116"/>
                <a:gd name="T101" fmla="*/ 80 h 141"/>
                <a:gd name="T102" fmla="*/ 71 w 116"/>
                <a:gd name="T103" fmla="*/ 82 h 141"/>
                <a:gd name="T104" fmla="*/ 71 w 116"/>
                <a:gd name="T105" fmla="*/ 86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16" h="141">
                  <a:moveTo>
                    <a:pt x="28" y="3"/>
                  </a:moveTo>
                  <a:cubicBezTo>
                    <a:pt x="28" y="1"/>
                    <a:pt x="26" y="0"/>
                    <a:pt x="24" y="0"/>
                  </a:cubicBezTo>
                  <a:cubicBezTo>
                    <a:pt x="23" y="0"/>
                    <a:pt x="21" y="1"/>
                    <a:pt x="21" y="3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11"/>
                    <a:pt x="28" y="3"/>
                    <a:pt x="28" y="3"/>
                  </a:cubicBezTo>
                  <a:close/>
                  <a:moveTo>
                    <a:pt x="94" y="32"/>
                  </a:moveTo>
                  <a:cubicBezTo>
                    <a:pt x="29" y="3"/>
                    <a:pt x="29" y="3"/>
                    <a:pt x="29" y="3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94" y="32"/>
                    <a:pt x="94" y="32"/>
                    <a:pt x="94" y="32"/>
                  </a:cubicBezTo>
                  <a:close/>
                  <a:moveTo>
                    <a:pt x="45" y="32"/>
                  </a:moveTo>
                  <a:cubicBezTo>
                    <a:pt x="42" y="32"/>
                    <a:pt x="42" y="32"/>
                    <a:pt x="42" y="32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5" y="17"/>
                    <a:pt x="45" y="17"/>
                    <a:pt x="45" y="17"/>
                  </a:cubicBezTo>
                  <a:lnTo>
                    <a:pt x="45" y="32"/>
                  </a:lnTo>
                  <a:close/>
                  <a:moveTo>
                    <a:pt x="49" y="62"/>
                  </a:moveTo>
                  <a:cubicBezTo>
                    <a:pt x="42" y="64"/>
                    <a:pt x="42" y="64"/>
                    <a:pt x="42" y="64"/>
                  </a:cubicBezTo>
                  <a:cubicBezTo>
                    <a:pt x="42" y="103"/>
                    <a:pt x="42" y="103"/>
                    <a:pt x="42" y="103"/>
                  </a:cubicBezTo>
                  <a:cubicBezTo>
                    <a:pt x="42" y="103"/>
                    <a:pt x="42" y="103"/>
                    <a:pt x="42" y="103"/>
                  </a:cubicBezTo>
                  <a:cubicBezTo>
                    <a:pt x="42" y="108"/>
                    <a:pt x="42" y="108"/>
                    <a:pt x="42" y="108"/>
                  </a:cubicBezTo>
                  <a:cubicBezTo>
                    <a:pt x="42" y="108"/>
                    <a:pt x="42" y="108"/>
                    <a:pt x="42" y="108"/>
                  </a:cubicBezTo>
                  <a:cubicBezTo>
                    <a:pt x="42" y="108"/>
                    <a:pt x="42" y="108"/>
                    <a:pt x="42" y="108"/>
                  </a:cubicBezTo>
                  <a:cubicBezTo>
                    <a:pt x="42" y="116"/>
                    <a:pt x="36" y="122"/>
                    <a:pt x="28" y="123"/>
                  </a:cubicBezTo>
                  <a:cubicBezTo>
                    <a:pt x="28" y="103"/>
                    <a:pt x="28" y="103"/>
                    <a:pt x="28" y="103"/>
                  </a:cubicBezTo>
                  <a:cubicBezTo>
                    <a:pt x="28" y="103"/>
                    <a:pt x="28" y="103"/>
                    <a:pt x="28" y="103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1" y="71"/>
                    <a:pt x="21" y="71"/>
                    <a:pt x="21" y="71"/>
                  </a:cubicBezTo>
                  <a:cubicBezTo>
                    <a:pt x="21" y="76"/>
                    <a:pt x="21" y="76"/>
                    <a:pt x="21" y="76"/>
                  </a:cubicBezTo>
                  <a:cubicBezTo>
                    <a:pt x="21" y="76"/>
                    <a:pt x="21" y="76"/>
                    <a:pt x="21" y="76"/>
                  </a:cubicBezTo>
                  <a:cubicBezTo>
                    <a:pt x="21" y="97"/>
                    <a:pt x="21" y="97"/>
                    <a:pt x="21" y="97"/>
                  </a:cubicBezTo>
                  <a:cubicBezTo>
                    <a:pt x="13" y="95"/>
                    <a:pt x="7" y="89"/>
                    <a:pt x="7" y="81"/>
                  </a:cubicBezTo>
                  <a:cubicBezTo>
                    <a:pt x="7" y="81"/>
                    <a:pt x="7" y="81"/>
                    <a:pt x="7" y="81"/>
                  </a:cubicBezTo>
                  <a:cubicBezTo>
                    <a:pt x="7" y="81"/>
                    <a:pt x="7" y="81"/>
                    <a:pt x="7" y="81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11"/>
                    <a:pt x="7" y="23"/>
                    <a:pt x="7" y="23"/>
                  </a:cubicBezTo>
                  <a:cubicBezTo>
                    <a:pt x="7" y="22"/>
                    <a:pt x="6" y="20"/>
                    <a:pt x="4" y="20"/>
                  </a:cubicBezTo>
                  <a:cubicBezTo>
                    <a:pt x="2" y="20"/>
                    <a:pt x="0" y="22"/>
                    <a:pt x="0" y="23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1" y="82"/>
                    <a:pt x="1" y="82"/>
                    <a:pt x="1" y="82"/>
                  </a:cubicBezTo>
                  <a:cubicBezTo>
                    <a:pt x="1" y="92"/>
                    <a:pt x="10" y="101"/>
                    <a:pt x="21" y="103"/>
                  </a:cubicBezTo>
                  <a:cubicBezTo>
                    <a:pt x="21" y="141"/>
                    <a:pt x="21" y="141"/>
                    <a:pt x="21" y="141"/>
                  </a:cubicBezTo>
                  <a:cubicBezTo>
                    <a:pt x="28" y="141"/>
                    <a:pt x="28" y="141"/>
                    <a:pt x="28" y="141"/>
                  </a:cubicBezTo>
                  <a:cubicBezTo>
                    <a:pt x="28" y="129"/>
                    <a:pt x="28" y="129"/>
                    <a:pt x="28" y="129"/>
                  </a:cubicBezTo>
                  <a:cubicBezTo>
                    <a:pt x="39" y="128"/>
                    <a:pt x="49" y="119"/>
                    <a:pt x="49" y="109"/>
                  </a:cubicBezTo>
                  <a:cubicBezTo>
                    <a:pt x="49" y="109"/>
                    <a:pt x="49" y="109"/>
                    <a:pt x="49" y="109"/>
                  </a:cubicBezTo>
                  <a:cubicBezTo>
                    <a:pt x="49" y="102"/>
                    <a:pt x="49" y="102"/>
                    <a:pt x="49" y="102"/>
                  </a:cubicBezTo>
                  <a:cubicBezTo>
                    <a:pt x="49" y="102"/>
                    <a:pt x="49" y="102"/>
                    <a:pt x="49" y="102"/>
                  </a:cubicBezTo>
                  <a:lnTo>
                    <a:pt x="49" y="62"/>
                  </a:lnTo>
                  <a:close/>
                  <a:moveTo>
                    <a:pt x="70" y="52"/>
                  </a:moveTo>
                  <a:cubicBezTo>
                    <a:pt x="71" y="52"/>
                    <a:pt x="71" y="52"/>
                    <a:pt x="71" y="52"/>
                  </a:cubicBezTo>
                  <a:cubicBezTo>
                    <a:pt x="71" y="52"/>
                    <a:pt x="71" y="52"/>
                    <a:pt x="72" y="52"/>
                  </a:cubicBezTo>
                  <a:cubicBezTo>
                    <a:pt x="72" y="52"/>
                    <a:pt x="72" y="51"/>
                    <a:pt x="72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1"/>
                    <a:pt x="73" y="51"/>
                    <a:pt x="73" y="51"/>
                  </a:cubicBezTo>
                  <a:cubicBezTo>
                    <a:pt x="73" y="51"/>
                    <a:pt x="73" y="51"/>
                    <a:pt x="73" y="51"/>
                  </a:cubicBezTo>
                  <a:cubicBezTo>
                    <a:pt x="73" y="51"/>
                    <a:pt x="73" y="51"/>
                    <a:pt x="73" y="51"/>
                  </a:cubicBezTo>
                  <a:cubicBezTo>
                    <a:pt x="73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68" y="48"/>
                    <a:pt x="63" y="46"/>
                    <a:pt x="59" y="44"/>
                  </a:cubicBezTo>
                  <a:cubicBezTo>
                    <a:pt x="54" y="42"/>
                    <a:pt x="50" y="40"/>
                    <a:pt x="46" y="38"/>
                  </a:cubicBezTo>
                  <a:cubicBezTo>
                    <a:pt x="45" y="38"/>
                    <a:pt x="44" y="37"/>
                    <a:pt x="43" y="37"/>
                  </a:cubicBezTo>
                  <a:cubicBezTo>
                    <a:pt x="38" y="34"/>
                    <a:pt x="33" y="32"/>
                    <a:pt x="29" y="31"/>
                  </a:cubicBezTo>
                  <a:cubicBezTo>
                    <a:pt x="29" y="30"/>
                    <a:pt x="28" y="30"/>
                    <a:pt x="28" y="30"/>
                  </a:cubicBezTo>
                  <a:cubicBezTo>
                    <a:pt x="25" y="29"/>
                    <a:pt x="23" y="28"/>
                    <a:pt x="21" y="27"/>
                  </a:cubicBezTo>
                  <a:cubicBezTo>
                    <a:pt x="20" y="26"/>
                    <a:pt x="19" y="26"/>
                    <a:pt x="18" y="25"/>
                  </a:cubicBezTo>
                  <a:cubicBezTo>
                    <a:pt x="10" y="22"/>
                    <a:pt x="9" y="21"/>
                    <a:pt x="9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72"/>
                    <a:pt x="9" y="72"/>
                    <a:pt x="9" y="72"/>
                  </a:cubicBezTo>
                  <a:cubicBezTo>
                    <a:pt x="10" y="72"/>
                    <a:pt x="11" y="72"/>
                    <a:pt x="12" y="71"/>
                  </a:cubicBezTo>
                  <a:cubicBezTo>
                    <a:pt x="14" y="71"/>
                    <a:pt x="15" y="70"/>
                    <a:pt x="16" y="70"/>
                  </a:cubicBezTo>
                  <a:cubicBezTo>
                    <a:pt x="20" y="69"/>
                    <a:pt x="24" y="67"/>
                    <a:pt x="28" y="66"/>
                  </a:cubicBezTo>
                  <a:cubicBezTo>
                    <a:pt x="33" y="64"/>
                    <a:pt x="38" y="63"/>
                    <a:pt x="42" y="61"/>
                  </a:cubicBezTo>
                  <a:cubicBezTo>
                    <a:pt x="45" y="60"/>
                    <a:pt x="47" y="60"/>
                    <a:pt x="49" y="59"/>
                  </a:cubicBezTo>
                  <a:cubicBezTo>
                    <a:pt x="49" y="59"/>
                    <a:pt x="50" y="59"/>
                    <a:pt x="51" y="59"/>
                  </a:cubicBezTo>
                  <a:cubicBezTo>
                    <a:pt x="62" y="55"/>
                    <a:pt x="67" y="53"/>
                    <a:pt x="70" y="52"/>
                  </a:cubicBezTo>
                  <a:close/>
                  <a:moveTo>
                    <a:pt x="30" y="52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8" y="55"/>
                    <a:pt x="18" y="55"/>
                    <a:pt x="18" y="55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23" y="48"/>
                    <a:pt x="24" y="48"/>
                    <a:pt x="24" y="47"/>
                  </a:cubicBezTo>
                  <a:cubicBezTo>
                    <a:pt x="25" y="47"/>
                    <a:pt x="25" y="46"/>
                    <a:pt x="25" y="46"/>
                  </a:cubicBezTo>
                  <a:cubicBezTo>
                    <a:pt x="26" y="46"/>
                    <a:pt x="26" y="45"/>
                    <a:pt x="26" y="45"/>
                  </a:cubicBezTo>
                  <a:cubicBezTo>
                    <a:pt x="26" y="45"/>
                    <a:pt x="26" y="44"/>
                    <a:pt x="26" y="44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5" y="42"/>
                    <a:pt x="25" y="42"/>
                    <a:pt x="24" y="42"/>
                  </a:cubicBezTo>
                  <a:cubicBezTo>
                    <a:pt x="24" y="42"/>
                    <a:pt x="23" y="42"/>
                    <a:pt x="23" y="43"/>
                  </a:cubicBezTo>
                  <a:cubicBezTo>
                    <a:pt x="22" y="43"/>
                    <a:pt x="22" y="44"/>
                    <a:pt x="22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3"/>
                    <a:pt x="18" y="43"/>
                    <a:pt x="19" y="42"/>
                  </a:cubicBezTo>
                  <a:cubicBezTo>
                    <a:pt x="19" y="42"/>
                    <a:pt x="20" y="41"/>
                    <a:pt x="20" y="41"/>
                  </a:cubicBezTo>
                  <a:cubicBezTo>
                    <a:pt x="21" y="41"/>
                    <a:pt x="21" y="40"/>
                    <a:pt x="22" y="40"/>
                  </a:cubicBezTo>
                  <a:cubicBezTo>
                    <a:pt x="23" y="40"/>
                    <a:pt x="24" y="40"/>
                    <a:pt x="24" y="40"/>
                  </a:cubicBezTo>
                  <a:cubicBezTo>
                    <a:pt x="25" y="40"/>
                    <a:pt x="26" y="40"/>
                    <a:pt x="27" y="40"/>
                  </a:cubicBezTo>
                  <a:cubicBezTo>
                    <a:pt x="27" y="40"/>
                    <a:pt x="28" y="41"/>
                    <a:pt x="28" y="41"/>
                  </a:cubicBezTo>
                  <a:cubicBezTo>
                    <a:pt x="29" y="41"/>
                    <a:pt x="29" y="42"/>
                    <a:pt x="30" y="42"/>
                  </a:cubicBezTo>
                  <a:cubicBezTo>
                    <a:pt x="30" y="43"/>
                    <a:pt x="30" y="43"/>
                    <a:pt x="30" y="44"/>
                  </a:cubicBezTo>
                  <a:cubicBezTo>
                    <a:pt x="30" y="45"/>
                    <a:pt x="30" y="45"/>
                    <a:pt x="30" y="46"/>
                  </a:cubicBezTo>
                  <a:cubicBezTo>
                    <a:pt x="30" y="46"/>
                    <a:pt x="29" y="47"/>
                    <a:pt x="29" y="47"/>
                  </a:cubicBezTo>
                  <a:cubicBezTo>
                    <a:pt x="29" y="47"/>
                    <a:pt x="28" y="48"/>
                    <a:pt x="28" y="48"/>
                  </a:cubicBezTo>
                  <a:cubicBezTo>
                    <a:pt x="27" y="49"/>
                    <a:pt x="26" y="50"/>
                    <a:pt x="26" y="50"/>
                  </a:cubicBezTo>
                  <a:cubicBezTo>
                    <a:pt x="23" y="52"/>
                    <a:pt x="23" y="52"/>
                    <a:pt x="23" y="52"/>
                  </a:cubicBezTo>
                  <a:lnTo>
                    <a:pt x="30" y="52"/>
                  </a:lnTo>
                  <a:close/>
                  <a:moveTo>
                    <a:pt x="58" y="59"/>
                  </a:moveTo>
                  <a:cubicBezTo>
                    <a:pt x="51" y="61"/>
                    <a:pt x="51" y="61"/>
                    <a:pt x="51" y="61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116" y="85"/>
                    <a:pt x="116" y="85"/>
                    <a:pt x="116" y="85"/>
                  </a:cubicBezTo>
                  <a:cubicBezTo>
                    <a:pt x="82" y="70"/>
                    <a:pt x="65" y="63"/>
                    <a:pt x="58" y="59"/>
                  </a:cubicBezTo>
                  <a:close/>
                  <a:moveTo>
                    <a:pt x="70" y="88"/>
                  </a:moveTo>
                  <a:cubicBezTo>
                    <a:pt x="69" y="88"/>
                    <a:pt x="69" y="89"/>
                    <a:pt x="68" y="89"/>
                  </a:cubicBezTo>
                  <a:cubicBezTo>
                    <a:pt x="67" y="89"/>
                    <a:pt x="66" y="89"/>
                    <a:pt x="65" y="89"/>
                  </a:cubicBezTo>
                  <a:cubicBezTo>
                    <a:pt x="65" y="89"/>
                    <a:pt x="64" y="89"/>
                    <a:pt x="63" y="89"/>
                  </a:cubicBezTo>
                  <a:cubicBezTo>
                    <a:pt x="62" y="89"/>
                    <a:pt x="62" y="88"/>
                    <a:pt x="61" y="88"/>
                  </a:cubicBezTo>
                  <a:cubicBezTo>
                    <a:pt x="61" y="88"/>
                    <a:pt x="60" y="87"/>
                    <a:pt x="60" y="87"/>
                  </a:cubicBezTo>
                  <a:cubicBezTo>
                    <a:pt x="60" y="86"/>
                    <a:pt x="59" y="86"/>
                    <a:pt x="59" y="85"/>
                  </a:cubicBezTo>
                  <a:cubicBezTo>
                    <a:pt x="63" y="85"/>
                    <a:pt x="63" y="85"/>
                    <a:pt x="63" y="85"/>
                  </a:cubicBezTo>
                  <a:cubicBezTo>
                    <a:pt x="63" y="86"/>
                    <a:pt x="63" y="86"/>
                    <a:pt x="64" y="86"/>
                  </a:cubicBezTo>
                  <a:cubicBezTo>
                    <a:pt x="64" y="87"/>
                    <a:pt x="65" y="87"/>
                    <a:pt x="65" y="87"/>
                  </a:cubicBezTo>
                  <a:cubicBezTo>
                    <a:pt x="66" y="87"/>
                    <a:pt x="67" y="87"/>
                    <a:pt x="67" y="86"/>
                  </a:cubicBezTo>
                  <a:cubicBezTo>
                    <a:pt x="68" y="86"/>
                    <a:pt x="68" y="85"/>
                    <a:pt x="68" y="85"/>
                  </a:cubicBezTo>
                  <a:cubicBezTo>
                    <a:pt x="68" y="84"/>
                    <a:pt x="68" y="83"/>
                    <a:pt x="67" y="83"/>
                  </a:cubicBezTo>
                  <a:cubicBezTo>
                    <a:pt x="67" y="82"/>
                    <a:pt x="66" y="82"/>
                    <a:pt x="65" y="82"/>
                  </a:cubicBezTo>
                  <a:cubicBezTo>
                    <a:pt x="63" y="82"/>
                    <a:pt x="63" y="82"/>
                    <a:pt x="63" y="82"/>
                  </a:cubicBezTo>
                  <a:cubicBezTo>
                    <a:pt x="63" y="80"/>
                    <a:pt x="63" y="80"/>
                    <a:pt x="63" y="80"/>
                  </a:cubicBezTo>
                  <a:cubicBezTo>
                    <a:pt x="65" y="80"/>
                    <a:pt x="65" y="80"/>
                    <a:pt x="65" y="80"/>
                  </a:cubicBezTo>
                  <a:cubicBezTo>
                    <a:pt x="65" y="80"/>
                    <a:pt x="66" y="80"/>
                    <a:pt x="66" y="80"/>
                  </a:cubicBezTo>
                  <a:cubicBezTo>
                    <a:pt x="66" y="80"/>
                    <a:pt x="67" y="79"/>
                    <a:pt x="67" y="79"/>
                  </a:cubicBezTo>
                  <a:cubicBezTo>
                    <a:pt x="67" y="79"/>
                    <a:pt x="67" y="79"/>
                    <a:pt x="67" y="79"/>
                  </a:cubicBezTo>
                  <a:cubicBezTo>
                    <a:pt x="67" y="78"/>
                    <a:pt x="67" y="78"/>
                    <a:pt x="67" y="78"/>
                  </a:cubicBezTo>
                  <a:cubicBezTo>
                    <a:pt x="67" y="77"/>
                    <a:pt x="67" y="77"/>
                    <a:pt x="67" y="76"/>
                  </a:cubicBezTo>
                  <a:cubicBezTo>
                    <a:pt x="67" y="76"/>
                    <a:pt x="66" y="76"/>
                    <a:pt x="65" y="76"/>
                  </a:cubicBezTo>
                  <a:cubicBezTo>
                    <a:pt x="64" y="76"/>
                    <a:pt x="64" y="76"/>
                    <a:pt x="63" y="77"/>
                  </a:cubicBezTo>
                  <a:cubicBezTo>
                    <a:pt x="60" y="77"/>
                    <a:pt x="60" y="77"/>
                    <a:pt x="60" y="77"/>
                  </a:cubicBezTo>
                  <a:cubicBezTo>
                    <a:pt x="60" y="76"/>
                    <a:pt x="61" y="75"/>
                    <a:pt x="62" y="75"/>
                  </a:cubicBezTo>
                  <a:cubicBezTo>
                    <a:pt x="63" y="74"/>
                    <a:pt x="64" y="74"/>
                    <a:pt x="66" y="74"/>
                  </a:cubicBezTo>
                  <a:cubicBezTo>
                    <a:pt x="66" y="74"/>
                    <a:pt x="67" y="74"/>
                    <a:pt x="68" y="74"/>
                  </a:cubicBezTo>
                  <a:cubicBezTo>
                    <a:pt x="69" y="74"/>
                    <a:pt x="69" y="74"/>
                    <a:pt x="70" y="75"/>
                  </a:cubicBezTo>
                  <a:cubicBezTo>
                    <a:pt x="70" y="75"/>
                    <a:pt x="71" y="75"/>
                    <a:pt x="71" y="76"/>
                  </a:cubicBezTo>
                  <a:cubicBezTo>
                    <a:pt x="71" y="76"/>
                    <a:pt x="71" y="77"/>
                    <a:pt x="71" y="77"/>
                  </a:cubicBezTo>
                  <a:cubicBezTo>
                    <a:pt x="71" y="78"/>
                    <a:pt x="71" y="78"/>
                    <a:pt x="71" y="79"/>
                  </a:cubicBezTo>
                  <a:cubicBezTo>
                    <a:pt x="71" y="79"/>
                    <a:pt x="71" y="79"/>
                    <a:pt x="70" y="80"/>
                  </a:cubicBezTo>
                  <a:cubicBezTo>
                    <a:pt x="70" y="80"/>
                    <a:pt x="70" y="80"/>
                    <a:pt x="69" y="80"/>
                  </a:cubicBezTo>
                  <a:cubicBezTo>
                    <a:pt x="69" y="81"/>
                    <a:pt x="68" y="81"/>
                    <a:pt x="68" y="81"/>
                  </a:cubicBezTo>
                  <a:cubicBezTo>
                    <a:pt x="68" y="81"/>
                    <a:pt x="69" y="81"/>
                    <a:pt x="69" y="81"/>
                  </a:cubicBezTo>
                  <a:cubicBezTo>
                    <a:pt x="70" y="81"/>
                    <a:pt x="70" y="82"/>
                    <a:pt x="71" y="82"/>
                  </a:cubicBezTo>
                  <a:cubicBezTo>
                    <a:pt x="71" y="82"/>
                    <a:pt x="71" y="83"/>
                    <a:pt x="71" y="83"/>
                  </a:cubicBezTo>
                  <a:cubicBezTo>
                    <a:pt x="72" y="84"/>
                    <a:pt x="72" y="84"/>
                    <a:pt x="72" y="84"/>
                  </a:cubicBezTo>
                  <a:cubicBezTo>
                    <a:pt x="72" y="85"/>
                    <a:pt x="72" y="86"/>
                    <a:pt x="71" y="86"/>
                  </a:cubicBezTo>
                  <a:cubicBezTo>
                    <a:pt x="71" y="87"/>
                    <a:pt x="70" y="87"/>
                    <a:pt x="70" y="88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3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43" fontAlgn="auto">
                <a:spcBef>
                  <a:spcPts val="0"/>
                </a:spcBef>
                <a:spcAft>
                  <a:spcPts val="0"/>
                </a:spcAft>
              </a:pPr>
              <a:endParaRPr lang="en-CA" sz="700" dirty="0">
                <a:solidFill>
                  <a:srgbClr val="BF0E11"/>
                </a:solidFill>
                <a:latin typeface="Arial"/>
                <a:cs typeface="Arial" panose="020B0604020202020204" pitchFamily="34" charset="0"/>
              </a:endParaRPr>
            </a:p>
          </p:txBody>
        </p:sp>
        <p:grpSp>
          <p:nvGrpSpPr>
            <p:cNvPr id="218" name="Group 217"/>
            <p:cNvGrpSpPr>
              <a:grpSpLocks noChangeAspect="1"/>
            </p:cNvGrpSpPr>
            <p:nvPr userDrawn="1"/>
          </p:nvGrpSpPr>
          <p:grpSpPr>
            <a:xfrm>
              <a:off x="6901939" y="2959182"/>
              <a:ext cx="137160" cy="97070"/>
              <a:chOff x="4521549" y="2449250"/>
              <a:chExt cx="242113" cy="171347"/>
            </a:xfrm>
            <a:solidFill>
              <a:schemeClr val="bg1">
                <a:lumMod val="85000"/>
                <a:alpha val="30000"/>
              </a:schemeClr>
            </a:solidFill>
          </p:grpSpPr>
          <p:sp>
            <p:nvSpPr>
              <p:cNvPr id="219" name="Freeform 5"/>
              <p:cNvSpPr>
                <a:spLocks noEditPoints="1"/>
              </p:cNvSpPr>
              <p:nvPr/>
            </p:nvSpPr>
            <p:spPr bwMode="auto">
              <a:xfrm>
                <a:off x="4521549" y="2493341"/>
                <a:ext cx="242113" cy="127256"/>
              </a:xfrm>
              <a:custGeom>
                <a:avLst/>
                <a:gdLst>
                  <a:gd name="T0" fmla="*/ 242 w 280"/>
                  <a:gd name="T1" fmla="*/ 51 h 147"/>
                  <a:gd name="T2" fmla="*/ 246 w 280"/>
                  <a:gd name="T3" fmla="*/ 51 h 147"/>
                  <a:gd name="T4" fmla="*/ 261 w 280"/>
                  <a:gd name="T5" fmla="*/ 51 h 147"/>
                  <a:gd name="T6" fmla="*/ 280 w 280"/>
                  <a:gd name="T7" fmla="*/ 70 h 147"/>
                  <a:gd name="T8" fmla="*/ 280 w 280"/>
                  <a:gd name="T9" fmla="*/ 127 h 147"/>
                  <a:gd name="T10" fmla="*/ 260 w 280"/>
                  <a:gd name="T11" fmla="*/ 147 h 147"/>
                  <a:gd name="T12" fmla="*/ 195 w 280"/>
                  <a:gd name="T13" fmla="*/ 147 h 147"/>
                  <a:gd name="T14" fmla="*/ 21 w 280"/>
                  <a:gd name="T15" fmla="*/ 147 h 147"/>
                  <a:gd name="T16" fmla="*/ 1 w 280"/>
                  <a:gd name="T17" fmla="*/ 132 h 147"/>
                  <a:gd name="T18" fmla="*/ 0 w 280"/>
                  <a:gd name="T19" fmla="*/ 126 h 147"/>
                  <a:gd name="T20" fmla="*/ 0 w 280"/>
                  <a:gd name="T21" fmla="*/ 72 h 147"/>
                  <a:gd name="T22" fmla="*/ 21 w 280"/>
                  <a:gd name="T23" fmla="*/ 51 h 147"/>
                  <a:gd name="T24" fmla="*/ 116 w 280"/>
                  <a:gd name="T25" fmla="*/ 51 h 147"/>
                  <a:gd name="T26" fmla="*/ 221 w 280"/>
                  <a:gd name="T27" fmla="*/ 51 h 147"/>
                  <a:gd name="T28" fmla="*/ 224 w 280"/>
                  <a:gd name="T29" fmla="*/ 48 h 147"/>
                  <a:gd name="T30" fmla="*/ 224 w 280"/>
                  <a:gd name="T31" fmla="*/ 13 h 147"/>
                  <a:gd name="T32" fmla="*/ 225 w 280"/>
                  <a:gd name="T33" fmla="*/ 5 h 147"/>
                  <a:gd name="T34" fmla="*/ 233 w 280"/>
                  <a:gd name="T35" fmla="*/ 0 h 147"/>
                  <a:gd name="T36" fmla="*/ 241 w 280"/>
                  <a:gd name="T37" fmla="*/ 5 h 147"/>
                  <a:gd name="T38" fmla="*/ 242 w 280"/>
                  <a:gd name="T39" fmla="*/ 13 h 147"/>
                  <a:gd name="T40" fmla="*/ 242 w 280"/>
                  <a:gd name="T41" fmla="*/ 47 h 147"/>
                  <a:gd name="T42" fmla="*/ 242 w 280"/>
                  <a:gd name="T43" fmla="*/ 51 h 147"/>
                  <a:gd name="T44" fmla="*/ 63 w 280"/>
                  <a:gd name="T45" fmla="*/ 119 h 147"/>
                  <a:gd name="T46" fmla="*/ 63 w 280"/>
                  <a:gd name="T47" fmla="*/ 119 h 147"/>
                  <a:gd name="T48" fmla="*/ 63 w 280"/>
                  <a:gd name="T49" fmla="*/ 126 h 147"/>
                  <a:gd name="T50" fmla="*/ 67 w 280"/>
                  <a:gd name="T51" fmla="*/ 129 h 147"/>
                  <a:gd name="T52" fmla="*/ 81 w 280"/>
                  <a:gd name="T53" fmla="*/ 129 h 147"/>
                  <a:gd name="T54" fmla="*/ 85 w 280"/>
                  <a:gd name="T55" fmla="*/ 126 h 147"/>
                  <a:gd name="T56" fmla="*/ 85 w 280"/>
                  <a:gd name="T57" fmla="*/ 112 h 147"/>
                  <a:gd name="T58" fmla="*/ 81 w 280"/>
                  <a:gd name="T59" fmla="*/ 108 h 147"/>
                  <a:gd name="T60" fmla="*/ 67 w 280"/>
                  <a:gd name="T61" fmla="*/ 108 h 147"/>
                  <a:gd name="T62" fmla="*/ 63 w 280"/>
                  <a:gd name="T63" fmla="*/ 112 h 147"/>
                  <a:gd name="T64" fmla="*/ 63 w 280"/>
                  <a:gd name="T65" fmla="*/ 119 h 147"/>
                  <a:gd name="T66" fmla="*/ 110 w 280"/>
                  <a:gd name="T67" fmla="*/ 129 h 147"/>
                  <a:gd name="T68" fmla="*/ 110 w 280"/>
                  <a:gd name="T69" fmla="*/ 129 h 147"/>
                  <a:gd name="T70" fmla="*/ 117 w 280"/>
                  <a:gd name="T71" fmla="*/ 129 h 147"/>
                  <a:gd name="T72" fmla="*/ 121 w 280"/>
                  <a:gd name="T73" fmla="*/ 126 h 147"/>
                  <a:gd name="T74" fmla="*/ 121 w 280"/>
                  <a:gd name="T75" fmla="*/ 112 h 147"/>
                  <a:gd name="T76" fmla="*/ 117 w 280"/>
                  <a:gd name="T77" fmla="*/ 108 h 147"/>
                  <a:gd name="T78" fmla="*/ 104 w 280"/>
                  <a:gd name="T79" fmla="*/ 108 h 147"/>
                  <a:gd name="T80" fmla="*/ 100 w 280"/>
                  <a:gd name="T81" fmla="*/ 112 h 147"/>
                  <a:gd name="T82" fmla="*/ 100 w 280"/>
                  <a:gd name="T83" fmla="*/ 125 h 147"/>
                  <a:gd name="T84" fmla="*/ 103 w 280"/>
                  <a:gd name="T85" fmla="*/ 129 h 147"/>
                  <a:gd name="T86" fmla="*/ 110 w 280"/>
                  <a:gd name="T87" fmla="*/ 129 h 147"/>
                  <a:gd name="T88" fmla="*/ 27 w 280"/>
                  <a:gd name="T89" fmla="*/ 118 h 147"/>
                  <a:gd name="T90" fmla="*/ 27 w 280"/>
                  <a:gd name="T91" fmla="*/ 118 h 147"/>
                  <a:gd name="T92" fmla="*/ 27 w 280"/>
                  <a:gd name="T93" fmla="*/ 126 h 147"/>
                  <a:gd name="T94" fmla="*/ 31 w 280"/>
                  <a:gd name="T95" fmla="*/ 129 h 147"/>
                  <a:gd name="T96" fmla="*/ 45 w 280"/>
                  <a:gd name="T97" fmla="*/ 129 h 147"/>
                  <a:gd name="T98" fmla="*/ 48 w 280"/>
                  <a:gd name="T99" fmla="*/ 125 h 147"/>
                  <a:gd name="T100" fmla="*/ 48 w 280"/>
                  <a:gd name="T101" fmla="*/ 112 h 147"/>
                  <a:gd name="T102" fmla="*/ 45 w 280"/>
                  <a:gd name="T103" fmla="*/ 108 h 147"/>
                  <a:gd name="T104" fmla="*/ 31 w 280"/>
                  <a:gd name="T105" fmla="*/ 108 h 147"/>
                  <a:gd name="T106" fmla="*/ 27 w 280"/>
                  <a:gd name="T107" fmla="*/ 112 h 147"/>
                  <a:gd name="T108" fmla="*/ 27 w 280"/>
                  <a:gd name="T109" fmla="*/ 118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80" h="147">
                    <a:moveTo>
                      <a:pt x="242" y="51"/>
                    </a:moveTo>
                    <a:cubicBezTo>
                      <a:pt x="244" y="51"/>
                      <a:pt x="245" y="51"/>
                      <a:pt x="246" y="51"/>
                    </a:cubicBezTo>
                    <a:cubicBezTo>
                      <a:pt x="251" y="51"/>
                      <a:pt x="256" y="51"/>
                      <a:pt x="261" y="51"/>
                    </a:cubicBezTo>
                    <a:cubicBezTo>
                      <a:pt x="272" y="52"/>
                      <a:pt x="280" y="60"/>
                      <a:pt x="280" y="70"/>
                    </a:cubicBezTo>
                    <a:cubicBezTo>
                      <a:pt x="280" y="89"/>
                      <a:pt x="280" y="108"/>
                      <a:pt x="280" y="127"/>
                    </a:cubicBezTo>
                    <a:cubicBezTo>
                      <a:pt x="280" y="138"/>
                      <a:pt x="271" y="147"/>
                      <a:pt x="260" y="147"/>
                    </a:cubicBezTo>
                    <a:cubicBezTo>
                      <a:pt x="238" y="147"/>
                      <a:pt x="217" y="147"/>
                      <a:pt x="195" y="147"/>
                    </a:cubicBezTo>
                    <a:cubicBezTo>
                      <a:pt x="137" y="147"/>
                      <a:pt x="79" y="147"/>
                      <a:pt x="21" y="147"/>
                    </a:cubicBezTo>
                    <a:cubicBezTo>
                      <a:pt x="11" y="147"/>
                      <a:pt x="3" y="141"/>
                      <a:pt x="1" y="132"/>
                    </a:cubicBezTo>
                    <a:cubicBezTo>
                      <a:pt x="0" y="130"/>
                      <a:pt x="0" y="128"/>
                      <a:pt x="0" y="126"/>
                    </a:cubicBezTo>
                    <a:cubicBezTo>
                      <a:pt x="0" y="108"/>
                      <a:pt x="0" y="90"/>
                      <a:pt x="0" y="72"/>
                    </a:cubicBezTo>
                    <a:cubicBezTo>
                      <a:pt x="0" y="60"/>
                      <a:pt x="8" y="51"/>
                      <a:pt x="21" y="51"/>
                    </a:cubicBezTo>
                    <a:cubicBezTo>
                      <a:pt x="52" y="51"/>
                      <a:pt x="84" y="51"/>
                      <a:pt x="116" y="51"/>
                    </a:cubicBezTo>
                    <a:cubicBezTo>
                      <a:pt x="151" y="51"/>
                      <a:pt x="186" y="51"/>
                      <a:pt x="221" y="51"/>
                    </a:cubicBezTo>
                    <a:cubicBezTo>
                      <a:pt x="224" y="51"/>
                      <a:pt x="224" y="50"/>
                      <a:pt x="224" y="48"/>
                    </a:cubicBezTo>
                    <a:cubicBezTo>
                      <a:pt x="224" y="36"/>
                      <a:pt x="224" y="25"/>
                      <a:pt x="224" y="13"/>
                    </a:cubicBezTo>
                    <a:cubicBezTo>
                      <a:pt x="224" y="11"/>
                      <a:pt x="224" y="8"/>
                      <a:pt x="225" y="5"/>
                    </a:cubicBezTo>
                    <a:cubicBezTo>
                      <a:pt x="226" y="2"/>
                      <a:pt x="229" y="0"/>
                      <a:pt x="233" y="0"/>
                    </a:cubicBezTo>
                    <a:cubicBezTo>
                      <a:pt x="237" y="0"/>
                      <a:pt x="240" y="2"/>
                      <a:pt x="241" y="5"/>
                    </a:cubicBezTo>
                    <a:cubicBezTo>
                      <a:pt x="242" y="8"/>
                      <a:pt x="242" y="10"/>
                      <a:pt x="242" y="13"/>
                    </a:cubicBezTo>
                    <a:cubicBezTo>
                      <a:pt x="242" y="24"/>
                      <a:pt x="242" y="36"/>
                      <a:pt x="242" y="47"/>
                    </a:cubicBezTo>
                    <a:cubicBezTo>
                      <a:pt x="242" y="48"/>
                      <a:pt x="242" y="49"/>
                      <a:pt x="242" y="51"/>
                    </a:cubicBezTo>
                    <a:close/>
                    <a:moveTo>
                      <a:pt x="63" y="119"/>
                    </a:moveTo>
                    <a:cubicBezTo>
                      <a:pt x="63" y="119"/>
                      <a:pt x="63" y="119"/>
                      <a:pt x="63" y="119"/>
                    </a:cubicBezTo>
                    <a:cubicBezTo>
                      <a:pt x="63" y="121"/>
                      <a:pt x="63" y="123"/>
                      <a:pt x="63" y="126"/>
                    </a:cubicBezTo>
                    <a:cubicBezTo>
                      <a:pt x="64" y="128"/>
                      <a:pt x="65" y="129"/>
                      <a:pt x="67" y="129"/>
                    </a:cubicBezTo>
                    <a:cubicBezTo>
                      <a:pt x="72" y="129"/>
                      <a:pt x="76" y="129"/>
                      <a:pt x="81" y="129"/>
                    </a:cubicBezTo>
                    <a:cubicBezTo>
                      <a:pt x="83" y="129"/>
                      <a:pt x="85" y="128"/>
                      <a:pt x="85" y="126"/>
                    </a:cubicBezTo>
                    <a:cubicBezTo>
                      <a:pt x="85" y="121"/>
                      <a:pt x="85" y="116"/>
                      <a:pt x="85" y="112"/>
                    </a:cubicBezTo>
                    <a:cubicBezTo>
                      <a:pt x="85" y="109"/>
                      <a:pt x="83" y="108"/>
                      <a:pt x="81" y="108"/>
                    </a:cubicBezTo>
                    <a:cubicBezTo>
                      <a:pt x="76" y="108"/>
                      <a:pt x="72" y="108"/>
                      <a:pt x="67" y="108"/>
                    </a:cubicBezTo>
                    <a:cubicBezTo>
                      <a:pt x="65" y="108"/>
                      <a:pt x="64" y="109"/>
                      <a:pt x="63" y="112"/>
                    </a:cubicBezTo>
                    <a:cubicBezTo>
                      <a:pt x="63" y="114"/>
                      <a:pt x="63" y="116"/>
                      <a:pt x="63" y="119"/>
                    </a:cubicBezTo>
                    <a:close/>
                    <a:moveTo>
                      <a:pt x="110" y="129"/>
                    </a:moveTo>
                    <a:cubicBezTo>
                      <a:pt x="110" y="129"/>
                      <a:pt x="110" y="129"/>
                      <a:pt x="110" y="129"/>
                    </a:cubicBezTo>
                    <a:cubicBezTo>
                      <a:pt x="113" y="129"/>
                      <a:pt x="115" y="129"/>
                      <a:pt x="117" y="129"/>
                    </a:cubicBezTo>
                    <a:cubicBezTo>
                      <a:pt x="120" y="129"/>
                      <a:pt x="121" y="128"/>
                      <a:pt x="121" y="126"/>
                    </a:cubicBezTo>
                    <a:cubicBezTo>
                      <a:pt x="121" y="121"/>
                      <a:pt x="121" y="116"/>
                      <a:pt x="121" y="112"/>
                    </a:cubicBezTo>
                    <a:cubicBezTo>
                      <a:pt x="121" y="109"/>
                      <a:pt x="120" y="108"/>
                      <a:pt x="117" y="108"/>
                    </a:cubicBezTo>
                    <a:cubicBezTo>
                      <a:pt x="113" y="108"/>
                      <a:pt x="108" y="108"/>
                      <a:pt x="104" y="108"/>
                    </a:cubicBezTo>
                    <a:cubicBezTo>
                      <a:pt x="101" y="108"/>
                      <a:pt x="100" y="109"/>
                      <a:pt x="100" y="112"/>
                    </a:cubicBezTo>
                    <a:cubicBezTo>
                      <a:pt x="100" y="116"/>
                      <a:pt x="100" y="121"/>
                      <a:pt x="100" y="125"/>
                    </a:cubicBezTo>
                    <a:cubicBezTo>
                      <a:pt x="100" y="128"/>
                      <a:pt x="101" y="129"/>
                      <a:pt x="103" y="129"/>
                    </a:cubicBezTo>
                    <a:cubicBezTo>
                      <a:pt x="106" y="129"/>
                      <a:pt x="108" y="129"/>
                      <a:pt x="110" y="129"/>
                    </a:cubicBezTo>
                    <a:close/>
                    <a:moveTo>
                      <a:pt x="27" y="118"/>
                    </a:moveTo>
                    <a:cubicBezTo>
                      <a:pt x="27" y="118"/>
                      <a:pt x="27" y="118"/>
                      <a:pt x="27" y="118"/>
                    </a:cubicBezTo>
                    <a:cubicBezTo>
                      <a:pt x="27" y="121"/>
                      <a:pt x="27" y="123"/>
                      <a:pt x="27" y="126"/>
                    </a:cubicBezTo>
                    <a:cubicBezTo>
                      <a:pt x="27" y="128"/>
                      <a:pt x="28" y="129"/>
                      <a:pt x="31" y="129"/>
                    </a:cubicBezTo>
                    <a:cubicBezTo>
                      <a:pt x="35" y="129"/>
                      <a:pt x="40" y="129"/>
                      <a:pt x="45" y="129"/>
                    </a:cubicBezTo>
                    <a:cubicBezTo>
                      <a:pt x="47" y="129"/>
                      <a:pt x="48" y="128"/>
                      <a:pt x="48" y="125"/>
                    </a:cubicBezTo>
                    <a:cubicBezTo>
                      <a:pt x="48" y="121"/>
                      <a:pt x="48" y="116"/>
                      <a:pt x="48" y="112"/>
                    </a:cubicBezTo>
                    <a:cubicBezTo>
                      <a:pt x="48" y="109"/>
                      <a:pt x="47" y="108"/>
                      <a:pt x="45" y="108"/>
                    </a:cubicBezTo>
                    <a:cubicBezTo>
                      <a:pt x="40" y="108"/>
                      <a:pt x="35" y="108"/>
                      <a:pt x="31" y="108"/>
                    </a:cubicBezTo>
                    <a:cubicBezTo>
                      <a:pt x="28" y="108"/>
                      <a:pt x="27" y="109"/>
                      <a:pt x="27" y="112"/>
                    </a:cubicBezTo>
                    <a:cubicBezTo>
                      <a:pt x="27" y="114"/>
                      <a:pt x="27" y="116"/>
                      <a:pt x="27" y="1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CA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220" name="Freeform 6"/>
              <p:cNvSpPr>
                <a:spLocks/>
              </p:cNvSpPr>
              <p:nvPr/>
            </p:nvSpPr>
            <p:spPr bwMode="auto">
              <a:xfrm>
                <a:off x="4683441" y="2449250"/>
                <a:ext cx="74384" cy="27712"/>
              </a:xfrm>
              <a:custGeom>
                <a:avLst/>
                <a:gdLst>
                  <a:gd name="T0" fmla="*/ 43 w 86"/>
                  <a:gd name="T1" fmla="*/ 0 h 32"/>
                  <a:gd name="T2" fmla="*/ 83 w 86"/>
                  <a:gd name="T3" fmla="*/ 20 h 32"/>
                  <a:gd name="T4" fmla="*/ 81 w 86"/>
                  <a:gd name="T5" fmla="*/ 30 h 32"/>
                  <a:gd name="T6" fmla="*/ 72 w 86"/>
                  <a:gd name="T7" fmla="*/ 29 h 32"/>
                  <a:gd name="T8" fmla="*/ 14 w 86"/>
                  <a:gd name="T9" fmla="*/ 28 h 32"/>
                  <a:gd name="T10" fmla="*/ 5 w 86"/>
                  <a:gd name="T11" fmla="*/ 30 h 32"/>
                  <a:gd name="T12" fmla="*/ 3 w 86"/>
                  <a:gd name="T13" fmla="*/ 20 h 32"/>
                  <a:gd name="T14" fmla="*/ 43 w 86"/>
                  <a:gd name="T1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6" h="32">
                    <a:moveTo>
                      <a:pt x="43" y="0"/>
                    </a:moveTo>
                    <a:cubicBezTo>
                      <a:pt x="60" y="0"/>
                      <a:pt x="73" y="7"/>
                      <a:pt x="83" y="20"/>
                    </a:cubicBezTo>
                    <a:cubicBezTo>
                      <a:pt x="86" y="24"/>
                      <a:pt x="85" y="26"/>
                      <a:pt x="81" y="30"/>
                    </a:cubicBezTo>
                    <a:cubicBezTo>
                      <a:pt x="77" y="32"/>
                      <a:pt x="75" y="32"/>
                      <a:pt x="72" y="29"/>
                    </a:cubicBezTo>
                    <a:cubicBezTo>
                      <a:pt x="57" y="9"/>
                      <a:pt x="30" y="9"/>
                      <a:pt x="14" y="28"/>
                    </a:cubicBezTo>
                    <a:cubicBezTo>
                      <a:pt x="11" y="32"/>
                      <a:pt x="9" y="32"/>
                      <a:pt x="5" y="30"/>
                    </a:cubicBezTo>
                    <a:cubicBezTo>
                      <a:pt x="1" y="26"/>
                      <a:pt x="0" y="24"/>
                      <a:pt x="3" y="20"/>
                    </a:cubicBezTo>
                    <a:cubicBezTo>
                      <a:pt x="13" y="7"/>
                      <a:pt x="26" y="0"/>
                      <a:pt x="4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CA" sz="700" dirty="0" smtClean="0">
                    <a:solidFill>
                      <a:srgbClr val="676767"/>
                    </a:solidFill>
                    <a:latin typeface="Arial"/>
                    <a:cs typeface="Arial" panose="020B0604020202020204" pitchFamily="34" charset="0"/>
                  </a:rPr>
                  <a:t> </a:t>
                </a:r>
                <a:endParaRPr lang="en-CA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221" name="Freeform 7"/>
              <p:cNvSpPr>
                <a:spLocks/>
              </p:cNvSpPr>
              <p:nvPr/>
            </p:nvSpPr>
            <p:spPr bwMode="auto">
              <a:xfrm>
                <a:off x="4700478" y="2463835"/>
                <a:ext cx="42297" cy="23336"/>
              </a:xfrm>
              <a:custGeom>
                <a:avLst/>
                <a:gdLst>
                  <a:gd name="T0" fmla="*/ 49 w 49"/>
                  <a:gd name="T1" fmla="*/ 18 h 27"/>
                  <a:gd name="T2" fmla="*/ 43 w 49"/>
                  <a:gd name="T3" fmla="*/ 26 h 27"/>
                  <a:gd name="T4" fmla="*/ 37 w 49"/>
                  <a:gd name="T5" fmla="*/ 23 h 27"/>
                  <a:gd name="T6" fmla="*/ 13 w 49"/>
                  <a:gd name="T7" fmla="*/ 23 h 27"/>
                  <a:gd name="T8" fmla="*/ 4 w 49"/>
                  <a:gd name="T9" fmla="*/ 24 h 27"/>
                  <a:gd name="T10" fmla="*/ 2 w 49"/>
                  <a:gd name="T11" fmla="*/ 15 h 27"/>
                  <a:gd name="T12" fmla="*/ 47 w 49"/>
                  <a:gd name="T13" fmla="*/ 15 h 27"/>
                  <a:gd name="T14" fmla="*/ 49 w 49"/>
                  <a:gd name="T15" fmla="*/ 18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9" h="27">
                    <a:moveTo>
                      <a:pt x="49" y="18"/>
                    </a:moveTo>
                    <a:cubicBezTo>
                      <a:pt x="49" y="22"/>
                      <a:pt x="46" y="25"/>
                      <a:pt x="43" y="26"/>
                    </a:cubicBezTo>
                    <a:cubicBezTo>
                      <a:pt x="40" y="27"/>
                      <a:pt x="38" y="26"/>
                      <a:pt x="37" y="23"/>
                    </a:cubicBezTo>
                    <a:cubicBezTo>
                      <a:pt x="30" y="15"/>
                      <a:pt x="20" y="15"/>
                      <a:pt x="13" y="23"/>
                    </a:cubicBezTo>
                    <a:cubicBezTo>
                      <a:pt x="10" y="27"/>
                      <a:pt x="8" y="27"/>
                      <a:pt x="4" y="24"/>
                    </a:cubicBezTo>
                    <a:cubicBezTo>
                      <a:pt x="0" y="21"/>
                      <a:pt x="0" y="18"/>
                      <a:pt x="2" y="15"/>
                    </a:cubicBezTo>
                    <a:cubicBezTo>
                      <a:pt x="14" y="0"/>
                      <a:pt x="36" y="0"/>
                      <a:pt x="47" y="15"/>
                    </a:cubicBezTo>
                    <a:cubicBezTo>
                      <a:pt x="48" y="16"/>
                      <a:pt x="49" y="18"/>
                      <a:pt x="49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CA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22" name="Group 221"/>
            <p:cNvGrpSpPr>
              <a:grpSpLocks noChangeAspect="1"/>
            </p:cNvGrpSpPr>
            <p:nvPr userDrawn="1"/>
          </p:nvGrpSpPr>
          <p:grpSpPr>
            <a:xfrm>
              <a:off x="7683380" y="3147693"/>
              <a:ext cx="115313" cy="137160"/>
              <a:chOff x="4671822" y="3201387"/>
              <a:chExt cx="240140" cy="285637"/>
            </a:xfrm>
            <a:solidFill>
              <a:schemeClr val="bg1">
                <a:lumMod val="85000"/>
                <a:alpha val="30000"/>
              </a:schemeClr>
            </a:solidFill>
          </p:grpSpPr>
          <p:sp>
            <p:nvSpPr>
              <p:cNvPr id="223" name="Freeform 15"/>
              <p:cNvSpPr>
                <a:spLocks noChangeAspect="1" noEditPoints="1"/>
              </p:cNvSpPr>
              <p:nvPr/>
            </p:nvSpPr>
            <p:spPr bwMode="auto">
              <a:xfrm>
                <a:off x="4696295" y="3236256"/>
                <a:ext cx="190958" cy="223061"/>
              </a:xfrm>
              <a:custGeom>
                <a:avLst/>
                <a:gdLst/>
                <a:ahLst/>
                <a:cxnLst>
                  <a:cxn ang="0">
                    <a:pos x="321" y="59"/>
                  </a:cxn>
                  <a:cxn ang="0">
                    <a:pos x="176" y="0"/>
                  </a:cxn>
                  <a:cxn ang="0">
                    <a:pos x="31" y="59"/>
                  </a:cxn>
                  <a:cxn ang="0">
                    <a:pos x="0" y="57"/>
                  </a:cxn>
                  <a:cxn ang="0">
                    <a:pos x="5" y="92"/>
                  </a:cxn>
                  <a:cxn ang="0">
                    <a:pos x="24" y="199"/>
                  </a:cxn>
                  <a:cxn ang="0">
                    <a:pos x="81" y="328"/>
                  </a:cxn>
                  <a:cxn ang="0">
                    <a:pos x="130" y="239"/>
                  </a:cxn>
                  <a:cxn ang="0">
                    <a:pos x="139" y="244"/>
                  </a:cxn>
                  <a:cxn ang="0">
                    <a:pos x="150" y="223"/>
                  </a:cxn>
                  <a:cxn ang="0">
                    <a:pos x="126" y="115"/>
                  </a:cxn>
                  <a:cxn ang="0">
                    <a:pos x="241" y="80"/>
                  </a:cxn>
                  <a:cxn ang="0">
                    <a:pos x="276" y="195"/>
                  </a:cxn>
                  <a:cxn ang="0">
                    <a:pos x="174" y="236"/>
                  </a:cxn>
                  <a:cxn ang="0">
                    <a:pos x="162" y="257"/>
                  </a:cxn>
                  <a:cxn ang="0">
                    <a:pos x="172" y="263"/>
                  </a:cxn>
                  <a:cxn ang="0">
                    <a:pos x="116" y="368"/>
                  </a:cxn>
                  <a:cxn ang="0">
                    <a:pos x="176" y="409"/>
                  </a:cxn>
                  <a:cxn ang="0">
                    <a:pos x="348" y="92"/>
                  </a:cxn>
                  <a:cxn ang="0">
                    <a:pos x="350" y="57"/>
                  </a:cxn>
                  <a:cxn ang="0">
                    <a:pos x="321" y="59"/>
                  </a:cxn>
                  <a:cxn ang="0">
                    <a:pos x="255" y="184"/>
                  </a:cxn>
                  <a:cxn ang="0">
                    <a:pos x="229" y="102"/>
                  </a:cxn>
                  <a:cxn ang="0">
                    <a:pos x="148" y="127"/>
                  </a:cxn>
                  <a:cxn ang="0">
                    <a:pos x="172" y="209"/>
                  </a:cxn>
                  <a:cxn ang="0">
                    <a:pos x="255" y="184"/>
                  </a:cxn>
                  <a:cxn ang="0">
                    <a:pos x="158" y="149"/>
                  </a:cxn>
                  <a:cxn ang="0">
                    <a:pos x="158" y="149"/>
                  </a:cxn>
                  <a:cxn ang="0">
                    <a:pos x="153" y="153"/>
                  </a:cxn>
                  <a:cxn ang="0">
                    <a:pos x="149" y="147"/>
                  </a:cxn>
                  <a:cxn ang="0">
                    <a:pos x="217" y="106"/>
                  </a:cxn>
                  <a:cxn ang="0">
                    <a:pos x="220" y="111"/>
                  </a:cxn>
                  <a:cxn ang="0">
                    <a:pos x="216" y="114"/>
                  </a:cxn>
                  <a:cxn ang="0">
                    <a:pos x="158" y="149"/>
                  </a:cxn>
                </a:cxnLst>
                <a:rect l="0" t="0" r="r" b="b"/>
                <a:pathLst>
                  <a:path w="350" h="409">
                    <a:moveTo>
                      <a:pt x="321" y="59"/>
                    </a:moveTo>
                    <a:cubicBezTo>
                      <a:pt x="238" y="59"/>
                      <a:pt x="194" y="19"/>
                      <a:pt x="176" y="0"/>
                    </a:cubicBezTo>
                    <a:cubicBezTo>
                      <a:pt x="159" y="19"/>
                      <a:pt x="112" y="59"/>
                      <a:pt x="31" y="59"/>
                    </a:cubicBezTo>
                    <a:cubicBezTo>
                      <a:pt x="20" y="59"/>
                      <a:pt x="11" y="57"/>
                      <a:pt x="0" y="57"/>
                    </a:cubicBezTo>
                    <a:cubicBezTo>
                      <a:pt x="2" y="65"/>
                      <a:pt x="2" y="76"/>
                      <a:pt x="5" y="92"/>
                    </a:cubicBezTo>
                    <a:cubicBezTo>
                      <a:pt x="7" y="120"/>
                      <a:pt x="11" y="159"/>
                      <a:pt x="24" y="199"/>
                    </a:cubicBezTo>
                    <a:cubicBezTo>
                      <a:pt x="36" y="243"/>
                      <a:pt x="54" y="289"/>
                      <a:pt x="81" y="328"/>
                    </a:cubicBezTo>
                    <a:cubicBezTo>
                      <a:pt x="85" y="321"/>
                      <a:pt x="96" y="300"/>
                      <a:pt x="130" y="239"/>
                    </a:cubicBezTo>
                    <a:cubicBezTo>
                      <a:pt x="139" y="244"/>
                      <a:pt x="139" y="244"/>
                      <a:pt x="139" y="244"/>
                    </a:cubicBezTo>
                    <a:cubicBezTo>
                      <a:pt x="150" y="223"/>
                      <a:pt x="150" y="223"/>
                      <a:pt x="150" y="223"/>
                    </a:cubicBezTo>
                    <a:cubicBezTo>
                      <a:pt x="117" y="199"/>
                      <a:pt x="106" y="153"/>
                      <a:pt x="126" y="115"/>
                    </a:cubicBezTo>
                    <a:cubicBezTo>
                      <a:pt x="148" y="74"/>
                      <a:pt x="199" y="58"/>
                      <a:pt x="241" y="80"/>
                    </a:cubicBezTo>
                    <a:cubicBezTo>
                      <a:pt x="282" y="102"/>
                      <a:pt x="298" y="154"/>
                      <a:pt x="276" y="195"/>
                    </a:cubicBezTo>
                    <a:cubicBezTo>
                      <a:pt x="256" y="232"/>
                      <a:pt x="213" y="248"/>
                      <a:pt x="174" y="236"/>
                    </a:cubicBezTo>
                    <a:cubicBezTo>
                      <a:pt x="162" y="257"/>
                      <a:pt x="162" y="257"/>
                      <a:pt x="162" y="257"/>
                    </a:cubicBezTo>
                    <a:cubicBezTo>
                      <a:pt x="172" y="263"/>
                      <a:pt x="172" y="263"/>
                      <a:pt x="172" y="263"/>
                    </a:cubicBezTo>
                    <a:cubicBezTo>
                      <a:pt x="172" y="263"/>
                      <a:pt x="163" y="281"/>
                      <a:pt x="116" y="368"/>
                    </a:cubicBezTo>
                    <a:cubicBezTo>
                      <a:pt x="133" y="384"/>
                      <a:pt x="153" y="398"/>
                      <a:pt x="176" y="409"/>
                    </a:cubicBezTo>
                    <a:cubicBezTo>
                      <a:pt x="304" y="350"/>
                      <a:pt x="339" y="177"/>
                      <a:pt x="348" y="92"/>
                    </a:cubicBezTo>
                    <a:cubicBezTo>
                      <a:pt x="350" y="76"/>
                      <a:pt x="350" y="65"/>
                      <a:pt x="350" y="57"/>
                    </a:cubicBezTo>
                    <a:cubicBezTo>
                      <a:pt x="339" y="57"/>
                      <a:pt x="330" y="59"/>
                      <a:pt x="321" y="59"/>
                    </a:cubicBezTo>
                    <a:close/>
                    <a:moveTo>
                      <a:pt x="255" y="184"/>
                    </a:moveTo>
                    <a:cubicBezTo>
                      <a:pt x="270" y="155"/>
                      <a:pt x="259" y="118"/>
                      <a:pt x="229" y="102"/>
                    </a:cubicBezTo>
                    <a:cubicBezTo>
                      <a:pt x="200" y="87"/>
                      <a:pt x="163" y="98"/>
                      <a:pt x="148" y="127"/>
                    </a:cubicBezTo>
                    <a:cubicBezTo>
                      <a:pt x="132" y="156"/>
                      <a:pt x="143" y="194"/>
                      <a:pt x="172" y="209"/>
                    </a:cubicBezTo>
                    <a:cubicBezTo>
                      <a:pt x="202" y="225"/>
                      <a:pt x="239" y="213"/>
                      <a:pt x="255" y="184"/>
                    </a:cubicBezTo>
                    <a:close/>
                    <a:moveTo>
                      <a:pt x="158" y="149"/>
                    </a:moveTo>
                    <a:cubicBezTo>
                      <a:pt x="158" y="149"/>
                      <a:pt x="158" y="149"/>
                      <a:pt x="158" y="149"/>
                    </a:cubicBezTo>
                    <a:cubicBezTo>
                      <a:pt x="157" y="151"/>
                      <a:pt x="155" y="153"/>
                      <a:pt x="153" y="153"/>
                    </a:cubicBezTo>
                    <a:cubicBezTo>
                      <a:pt x="150" y="152"/>
                      <a:pt x="149" y="149"/>
                      <a:pt x="149" y="147"/>
                    </a:cubicBezTo>
                    <a:cubicBezTo>
                      <a:pt x="158" y="119"/>
                      <a:pt x="187" y="100"/>
                      <a:pt x="217" y="106"/>
                    </a:cubicBezTo>
                    <a:cubicBezTo>
                      <a:pt x="220" y="106"/>
                      <a:pt x="221" y="109"/>
                      <a:pt x="220" y="111"/>
                    </a:cubicBezTo>
                    <a:cubicBezTo>
                      <a:pt x="220" y="114"/>
                      <a:pt x="218" y="115"/>
                      <a:pt x="216" y="114"/>
                    </a:cubicBezTo>
                    <a:cubicBezTo>
                      <a:pt x="190" y="111"/>
                      <a:pt x="166" y="125"/>
                      <a:pt x="158" y="149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0096D6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224" name="Freeform 14"/>
              <p:cNvSpPr>
                <a:spLocks noChangeAspect="1" noEditPoints="1"/>
              </p:cNvSpPr>
              <p:nvPr/>
            </p:nvSpPr>
            <p:spPr bwMode="auto">
              <a:xfrm>
                <a:off x="4671822" y="3201387"/>
                <a:ext cx="240140" cy="285637"/>
              </a:xfrm>
              <a:custGeom>
                <a:avLst/>
                <a:gdLst/>
                <a:ahLst/>
                <a:cxnLst>
                  <a:cxn ang="0">
                    <a:pos x="428" y="77"/>
                  </a:cxn>
                  <a:cxn ang="0">
                    <a:pos x="385" y="79"/>
                  </a:cxn>
                  <a:cxn ang="0">
                    <a:pos x="264" y="47"/>
                  </a:cxn>
                  <a:cxn ang="0">
                    <a:pos x="239" y="25"/>
                  </a:cxn>
                  <a:cxn ang="0">
                    <a:pos x="231" y="18"/>
                  </a:cxn>
                  <a:cxn ang="0">
                    <a:pos x="231" y="15"/>
                  </a:cxn>
                  <a:cxn ang="0">
                    <a:pos x="221" y="0"/>
                  </a:cxn>
                  <a:cxn ang="0">
                    <a:pos x="212" y="15"/>
                  </a:cxn>
                  <a:cxn ang="0">
                    <a:pos x="209" y="18"/>
                  </a:cxn>
                  <a:cxn ang="0">
                    <a:pos x="57" y="79"/>
                  </a:cxn>
                  <a:cxn ang="0">
                    <a:pos x="13" y="77"/>
                  </a:cxn>
                  <a:cxn ang="0">
                    <a:pos x="0" y="77"/>
                  </a:cxn>
                  <a:cxn ang="0">
                    <a:pos x="0" y="89"/>
                  </a:cxn>
                  <a:cxn ang="0">
                    <a:pos x="28" y="269"/>
                  </a:cxn>
                  <a:cxn ang="0">
                    <a:pos x="217" y="524"/>
                  </a:cxn>
                  <a:cxn ang="0">
                    <a:pos x="221" y="524"/>
                  </a:cxn>
                  <a:cxn ang="0">
                    <a:pos x="226" y="524"/>
                  </a:cxn>
                  <a:cxn ang="0">
                    <a:pos x="415" y="269"/>
                  </a:cxn>
                  <a:cxn ang="0">
                    <a:pos x="440" y="89"/>
                  </a:cxn>
                  <a:cxn ang="0">
                    <a:pos x="440" y="77"/>
                  </a:cxn>
                  <a:cxn ang="0">
                    <a:pos x="428" y="77"/>
                  </a:cxn>
                  <a:cxn ang="0">
                    <a:pos x="415" y="141"/>
                  </a:cxn>
                  <a:cxn ang="0">
                    <a:pos x="221" y="499"/>
                  </a:cxn>
                  <a:cxn ang="0">
                    <a:pos x="50" y="262"/>
                  </a:cxn>
                  <a:cxn ang="0">
                    <a:pos x="28" y="141"/>
                  </a:cxn>
                  <a:cxn ang="0">
                    <a:pos x="23" y="101"/>
                  </a:cxn>
                  <a:cxn ang="0">
                    <a:pos x="57" y="104"/>
                  </a:cxn>
                  <a:cxn ang="0">
                    <a:pos x="221" y="37"/>
                  </a:cxn>
                  <a:cxn ang="0">
                    <a:pos x="385" y="104"/>
                  </a:cxn>
                  <a:cxn ang="0">
                    <a:pos x="418" y="101"/>
                  </a:cxn>
                  <a:cxn ang="0">
                    <a:pos x="415" y="141"/>
                  </a:cxn>
                </a:cxnLst>
                <a:rect l="0" t="0" r="r" b="b"/>
                <a:pathLst>
                  <a:path w="440" h="524">
                    <a:moveTo>
                      <a:pt x="428" y="77"/>
                    </a:moveTo>
                    <a:cubicBezTo>
                      <a:pt x="413" y="79"/>
                      <a:pt x="398" y="79"/>
                      <a:pt x="385" y="79"/>
                    </a:cubicBezTo>
                    <a:cubicBezTo>
                      <a:pt x="328" y="79"/>
                      <a:pt x="289" y="65"/>
                      <a:pt x="264" y="47"/>
                    </a:cubicBezTo>
                    <a:cubicBezTo>
                      <a:pt x="251" y="37"/>
                      <a:pt x="244" y="30"/>
                      <a:pt x="239" y="25"/>
                    </a:cubicBezTo>
                    <a:cubicBezTo>
                      <a:pt x="236" y="20"/>
                      <a:pt x="234" y="18"/>
                      <a:pt x="231" y="18"/>
                    </a:cubicBezTo>
                    <a:cubicBezTo>
                      <a:pt x="231" y="15"/>
                      <a:pt x="231" y="15"/>
                      <a:pt x="231" y="15"/>
                    </a:cubicBezTo>
                    <a:cubicBezTo>
                      <a:pt x="221" y="0"/>
                      <a:pt x="221" y="0"/>
                      <a:pt x="221" y="0"/>
                    </a:cubicBezTo>
                    <a:cubicBezTo>
                      <a:pt x="212" y="15"/>
                      <a:pt x="212" y="15"/>
                      <a:pt x="212" y="15"/>
                    </a:cubicBezTo>
                    <a:cubicBezTo>
                      <a:pt x="212" y="15"/>
                      <a:pt x="212" y="15"/>
                      <a:pt x="209" y="18"/>
                    </a:cubicBezTo>
                    <a:cubicBezTo>
                      <a:pt x="199" y="27"/>
                      <a:pt x="157" y="79"/>
                      <a:pt x="57" y="79"/>
                    </a:cubicBezTo>
                    <a:cubicBezTo>
                      <a:pt x="43" y="79"/>
                      <a:pt x="28" y="79"/>
                      <a:pt x="13" y="77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0" y="89"/>
                      <a:pt x="0" y="173"/>
                      <a:pt x="28" y="269"/>
                    </a:cubicBezTo>
                    <a:cubicBezTo>
                      <a:pt x="52" y="366"/>
                      <a:pt x="107" y="474"/>
                      <a:pt x="217" y="524"/>
                    </a:cubicBezTo>
                    <a:cubicBezTo>
                      <a:pt x="221" y="524"/>
                      <a:pt x="221" y="524"/>
                      <a:pt x="221" y="524"/>
                    </a:cubicBezTo>
                    <a:cubicBezTo>
                      <a:pt x="226" y="524"/>
                      <a:pt x="226" y="524"/>
                      <a:pt x="226" y="524"/>
                    </a:cubicBezTo>
                    <a:cubicBezTo>
                      <a:pt x="336" y="474"/>
                      <a:pt x="388" y="366"/>
                      <a:pt x="415" y="269"/>
                    </a:cubicBezTo>
                    <a:cubicBezTo>
                      <a:pt x="440" y="173"/>
                      <a:pt x="440" y="89"/>
                      <a:pt x="440" y="89"/>
                    </a:cubicBezTo>
                    <a:cubicBezTo>
                      <a:pt x="440" y="77"/>
                      <a:pt x="440" y="77"/>
                      <a:pt x="440" y="77"/>
                    </a:cubicBezTo>
                    <a:lnTo>
                      <a:pt x="428" y="77"/>
                    </a:lnTo>
                    <a:close/>
                    <a:moveTo>
                      <a:pt x="415" y="141"/>
                    </a:moveTo>
                    <a:cubicBezTo>
                      <a:pt x="405" y="237"/>
                      <a:pt x="365" y="432"/>
                      <a:pt x="221" y="499"/>
                    </a:cubicBezTo>
                    <a:cubicBezTo>
                      <a:pt x="125" y="455"/>
                      <a:pt x="75" y="356"/>
                      <a:pt x="50" y="262"/>
                    </a:cubicBezTo>
                    <a:cubicBezTo>
                      <a:pt x="35" y="218"/>
                      <a:pt x="30" y="173"/>
                      <a:pt x="28" y="141"/>
                    </a:cubicBezTo>
                    <a:cubicBezTo>
                      <a:pt x="25" y="124"/>
                      <a:pt x="25" y="111"/>
                      <a:pt x="23" y="101"/>
                    </a:cubicBezTo>
                    <a:cubicBezTo>
                      <a:pt x="35" y="101"/>
                      <a:pt x="45" y="104"/>
                      <a:pt x="57" y="104"/>
                    </a:cubicBezTo>
                    <a:cubicBezTo>
                      <a:pt x="149" y="104"/>
                      <a:pt x="202" y="60"/>
                      <a:pt x="221" y="37"/>
                    </a:cubicBezTo>
                    <a:cubicBezTo>
                      <a:pt x="241" y="60"/>
                      <a:pt x="291" y="104"/>
                      <a:pt x="385" y="104"/>
                    </a:cubicBezTo>
                    <a:cubicBezTo>
                      <a:pt x="395" y="104"/>
                      <a:pt x="405" y="101"/>
                      <a:pt x="418" y="101"/>
                    </a:cubicBezTo>
                    <a:cubicBezTo>
                      <a:pt x="418" y="111"/>
                      <a:pt x="418" y="124"/>
                      <a:pt x="415" y="14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0096D6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25" name="Group 224"/>
            <p:cNvGrpSpPr>
              <a:grpSpLocks noChangeAspect="1"/>
            </p:cNvGrpSpPr>
            <p:nvPr userDrawn="1"/>
          </p:nvGrpSpPr>
          <p:grpSpPr>
            <a:xfrm>
              <a:off x="8175712" y="3625864"/>
              <a:ext cx="118872" cy="118973"/>
              <a:chOff x="4625056" y="2061397"/>
              <a:chExt cx="269544" cy="269774"/>
            </a:xfrm>
            <a:solidFill>
              <a:schemeClr val="bg1">
                <a:lumMod val="85000"/>
                <a:alpha val="30000"/>
              </a:schemeClr>
            </a:solidFill>
          </p:grpSpPr>
          <p:sp>
            <p:nvSpPr>
              <p:cNvPr id="226" name="Freeform 5"/>
              <p:cNvSpPr>
                <a:spLocks noEditPoints="1"/>
              </p:cNvSpPr>
              <p:nvPr/>
            </p:nvSpPr>
            <p:spPr bwMode="auto">
              <a:xfrm>
                <a:off x="4625056" y="2061397"/>
                <a:ext cx="269544" cy="269774"/>
              </a:xfrm>
              <a:custGeom>
                <a:avLst/>
                <a:gdLst>
                  <a:gd name="T0" fmla="*/ 614 w 632"/>
                  <a:gd name="T1" fmla="*/ 299 h 633"/>
                  <a:gd name="T2" fmla="*/ 586 w 632"/>
                  <a:gd name="T3" fmla="*/ 299 h 633"/>
                  <a:gd name="T4" fmla="*/ 334 w 632"/>
                  <a:gd name="T5" fmla="*/ 48 h 633"/>
                  <a:gd name="T6" fmla="*/ 334 w 632"/>
                  <a:gd name="T7" fmla="*/ 18 h 633"/>
                  <a:gd name="T8" fmla="*/ 316 w 632"/>
                  <a:gd name="T9" fmla="*/ 0 h 633"/>
                  <a:gd name="T10" fmla="*/ 298 w 632"/>
                  <a:gd name="T11" fmla="*/ 18 h 633"/>
                  <a:gd name="T12" fmla="*/ 298 w 632"/>
                  <a:gd name="T13" fmla="*/ 48 h 633"/>
                  <a:gd name="T14" fmla="*/ 46 w 632"/>
                  <a:gd name="T15" fmla="*/ 299 h 633"/>
                  <a:gd name="T16" fmla="*/ 18 w 632"/>
                  <a:gd name="T17" fmla="*/ 299 h 633"/>
                  <a:gd name="T18" fmla="*/ 0 w 632"/>
                  <a:gd name="T19" fmla="*/ 317 h 633"/>
                  <a:gd name="T20" fmla="*/ 18 w 632"/>
                  <a:gd name="T21" fmla="*/ 335 h 633"/>
                  <a:gd name="T22" fmla="*/ 46 w 632"/>
                  <a:gd name="T23" fmla="*/ 335 h 633"/>
                  <a:gd name="T24" fmla="*/ 298 w 632"/>
                  <a:gd name="T25" fmla="*/ 587 h 633"/>
                  <a:gd name="T26" fmla="*/ 298 w 632"/>
                  <a:gd name="T27" fmla="*/ 615 h 633"/>
                  <a:gd name="T28" fmla="*/ 316 w 632"/>
                  <a:gd name="T29" fmla="*/ 633 h 633"/>
                  <a:gd name="T30" fmla="*/ 334 w 632"/>
                  <a:gd name="T31" fmla="*/ 615 h 633"/>
                  <a:gd name="T32" fmla="*/ 334 w 632"/>
                  <a:gd name="T33" fmla="*/ 587 h 633"/>
                  <a:gd name="T34" fmla="*/ 586 w 632"/>
                  <a:gd name="T35" fmla="*/ 335 h 633"/>
                  <a:gd name="T36" fmla="*/ 614 w 632"/>
                  <a:gd name="T37" fmla="*/ 335 h 633"/>
                  <a:gd name="T38" fmla="*/ 632 w 632"/>
                  <a:gd name="T39" fmla="*/ 317 h 633"/>
                  <a:gd name="T40" fmla="*/ 614 w 632"/>
                  <a:gd name="T41" fmla="*/ 299 h 633"/>
                  <a:gd name="T42" fmla="*/ 334 w 632"/>
                  <a:gd name="T43" fmla="*/ 559 h 633"/>
                  <a:gd name="T44" fmla="*/ 334 w 632"/>
                  <a:gd name="T45" fmla="*/ 531 h 633"/>
                  <a:gd name="T46" fmla="*/ 316 w 632"/>
                  <a:gd name="T47" fmla="*/ 513 h 633"/>
                  <a:gd name="T48" fmla="*/ 298 w 632"/>
                  <a:gd name="T49" fmla="*/ 531 h 633"/>
                  <a:gd name="T50" fmla="*/ 298 w 632"/>
                  <a:gd name="T51" fmla="*/ 559 h 633"/>
                  <a:gd name="T52" fmla="*/ 74 w 632"/>
                  <a:gd name="T53" fmla="*/ 335 h 633"/>
                  <a:gd name="T54" fmla="*/ 101 w 632"/>
                  <a:gd name="T55" fmla="*/ 335 h 633"/>
                  <a:gd name="T56" fmla="*/ 119 w 632"/>
                  <a:gd name="T57" fmla="*/ 317 h 633"/>
                  <a:gd name="T58" fmla="*/ 101 w 632"/>
                  <a:gd name="T59" fmla="*/ 299 h 633"/>
                  <a:gd name="T60" fmla="*/ 75 w 632"/>
                  <a:gd name="T61" fmla="*/ 299 h 633"/>
                  <a:gd name="T62" fmla="*/ 298 w 632"/>
                  <a:gd name="T63" fmla="*/ 76 h 633"/>
                  <a:gd name="T64" fmla="*/ 298 w 632"/>
                  <a:gd name="T65" fmla="*/ 102 h 633"/>
                  <a:gd name="T66" fmla="*/ 316 w 632"/>
                  <a:gd name="T67" fmla="*/ 120 h 633"/>
                  <a:gd name="T68" fmla="*/ 334 w 632"/>
                  <a:gd name="T69" fmla="*/ 102 h 633"/>
                  <a:gd name="T70" fmla="*/ 334 w 632"/>
                  <a:gd name="T71" fmla="*/ 76 h 633"/>
                  <a:gd name="T72" fmla="*/ 558 w 632"/>
                  <a:gd name="T73" fmla="*/ 299 h 633"/>
                  <a:gd name="T74" fmla="*/ 531 w 632"/>
                  <a:gd name="T75" fmla="*/ 299 h 633"/>
                  <a:gd name="T76" fmla="*/ 513 w 632"/>
                  <a:gd name="T77" fmla="*/ 317 h 633"/>
                  <a:gd name="T78" fmla="*/ 531 w 632"/>
                  <a:gd name="T79" fmla="*/ 335 h 633"/>
                  <a:gd name="T80" fmla="*/ 558 w 632"/>
                  <a:gd name="T81" fmla="*/ 335 h 633"/>
                  <a:gd name="T82" fmla="*/ 334 w 632"/>
                  <a:gd name="T83" fmla="*/ 559 h 6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32" h="633">
                    <a:moveTo>
                      <a:pt x="614" y="299"/>
                    </a:moveTo>
                    <a:cubicBezTo>
                      <a:pt x="586" y="299"/>
                      <a:pt x="586" y="299"/>
                      <a:pt x="586" y="299"/>
                    </a:cubicBezTo>
                    <a:cubicBezTo>
                      <a:pt x="576" y="164"/>
                      <a:pt x="469" y="57"/>
                      <a:pt x="334" y="48"/>
                    </a:cubicBezTo>
                    <a:cubicBezTo>
                      <a:pt x="334" y="18"/>
                      <a:pt x="334" y="18"/>
                      <a:pt x="334" y="18"/>
                    </a:cubicBezTo>
                    <a:cubicBezTo>
                      <a:pt x="334" y="9"/>
                      <a:pt x="326" y="0"/>
                      <a:pt x="316" y="0"/>
                    </a:cubicBezTo>
                    <a:cubicBezTo>
                      <a:pt x="306" y="0"/>
                      <a:pt x="298" y="9"/>
                      <a:pt x="298" y="18"/>
                    </a:cubicBezTo>
                    <a:cubicBezTo>
                      <a:pt x="298" y="48"/>
                      <a:pt x="298" y="48"/>
                      <a:pt x="298" y="48"/>
                    </a:cubicBezTo>
                    <a:cubicBezTo>
                      <a:pt x="164" y="57"/>
                      <a:pt x="56" y="164"/>
                      <a:pt x="46" y="299"/>
                    </a:cubicBezTo>
                    <a:cubicBezTo>
                      <a:pt x="18" y="299"/>
                      <a:pt x="18" y="299"/>
                      <a:pt x="18" y="299"/>
                    </a:cubicBezTo>
                    <a:cubicBezTo>
                      <a:pt x="8" y="299"/>
                      <a:pt x="0" y="307"/>
                      <a:pt x="0" y="317"/>
                    </a:cubicBezTo>
                    <a:cubicBezTo>
                      <a:pt x="0" y="327"/>
                      <a:pt x="8" y="335"/>
                      <a:pt x="18" y="335"/>
                    </a:cubicBezTo>
                    <a:cubicBezTo>
                      <a:pt x="46" y="335"/>
                      <a:pt x="46" y="335"/>
                      <a:pt x="46" y="335"/>
                    </a:cubicBezTo>
                    <a:cubicBezTo>
                      <a:pt x="55" y="470"/>
                      <a:pt x="163" y="578"/>
                      <a:pt x="298" y="587"/>
                    </a:cubicBezTo>
                    <a:cubicBezTo>
                      <a:pt x="298" y="615"/>
                      <a:pt x="298" y="615"/>
                      <a:pt x="298" y="615"/>
                    </a:cubicBezTo>
                    <a:cubicBezTo>
                      <a:pt x="298" y="625"/>
                      <a:pt x="306" y="633"/>
                      <a:pt x="316" y="633"/>
                    </a:cubicBezTo>
                    <a:cubicBezTo>
                      <a:pt x="326" y="633"/>
                      <a:pt x="334" y="625"/>
                      <a:pt x="334" y="615"/>
                    </a:cubicBezTo>
                    <a:cubicBezTo>
                      <a:pt x="334" y="587"/>
                      <a:pt x="334" y="587"/>
                      <a:pt x="334" y="587"/>
                    </a:cubicBezTo>
                    <a:cubicBezTo>
                      <a:pt x="469" y="578"/>
                      <a:pt x="577" y="470"/>
                      <a:pt x="586" y="335"/>
                    </a:cubicBezTo>
                    <a:cubicBezTo>
                      <a:pt x="614" y="335"/>
                      <a:pt x="614" y="335"/>
                      <a:pt x="614" y="335"/>
                    </a:cubicBezTo>
                    <a:cubicBezTo>
                      <a:pt x="624" y="335"/>
                      <a:pt x="632" y="327"/>
                      <a:pt x="632" y="317"/>
                    </a:cubicBezTo>
                    <a:cubicBezTo>
                      <a:pt x="632" y="307"/>
                      <a:pt x="624" y="299"/>
                      <a:pt x="614" y="299"/>
                    </a:cubicBezTo>
                    <a:close/>
                    <a:moveTo>
                      <a:pt x="334" y="559"/>
                    </a:moveTo>
                    <a:cubicBezTo>
                      <a:pt x="334" y="531"/>
                      <a:pt x="334" y="531"/>
                      <a:pt x="334" y="531"/>
                    </a:cubicBezTo>
                    <a:cubicBezTo>
                      <a:pt x="334" y="522"/>
                      <a:pt x="326" y="513"/>
                      <a:pt x="316" y="513"/>
                    </a:cubicBezTo>
                    <a:cubicBezTo>
                      <a:pt x="306" y="513"/>
                      <a:pt x="298" y="522"/>
                      <a:pt x="298" y="531"/>
                    </a:cubicBezTo>
                    <a:cubicBezTo>
                      <a:pt x="298" y="559"/>
                      <a:pt x="298" y="559"/>
                      <a:pt x="298" y="559"/>
                    </a:cubicBezTo>
                    <a:cubicBezTo>
                      <a:pt x="179" y="550"/>
                      <a:pt x="83" y="454"/>
                      <a:pt x="74" y="335"/>
                    </a:cubicBezTo>
                    <a:cubicBezTo>
                      <a:pt x="101" y="335"/>
                      <a:pt x="101" y="335"/>
                      <a:pt x="101" y="335"/>
                    </a:cubicBezTo>
                    <a:cubicBezTo>
                      <a:pt x="111" y="335"/>
                      <a:pt x="119" y="327"/>
                      <a:pt x="119" y="317"/>
                    </a:cubicBezTo>
                    <a:cubicBezTo>
                      <a:pt x="119" y="307"/>
                      <a:pt x="111" y="299"/>
                      <a:pt x="101" y="299"/>
                    </a:cubicBezTo>
                    <a:cubicBezTo>
                      <a:pt x="75" y="299"/>
                      <a:pt x="75" y="299"/>
                      <a:pt x="75" y="299"/>
                    </a:cubicBezTo>
                    <a:cubicBezTo>
                      <a:pt x="84" y="180"/>
                      <a:pt x="179" y="85"/>
                      <a:pt x="298" y="76"/>
                    </a:cubicBezTo>
                    <a:cubicBezTo>
                      <a:pt x="298" y="102"/>
                      <a:pt x="298" y="102"/>
                      <a:pt x="298" y="102"/>
                    </a:cubicBezTo>
                    <a:cubicBezTo>
                      <a:pt x="298" y="112"/>
                      <a:pt x="306" y="120"/>
                      <a:pt x="316" y="120"/>
                    </a:cubicBezTo>
                    <a:cubicBezTo>
                      <a:pt x="326" y="120"/>
                      <a:pt x="334" y="112"/>
                      <a:pt x="334" y="102"/>
                    </a:cubicBezTo>
                    <a:cubicBezTo>
                      <a:pt x="334" y="76"/>
                      <a:pt x="334" y="76"/>
                      <a:pt x="334" y="76"/>
                    </a:cubicBezTo>
                    <a:cubicBezTo>
                      <a:pt x="453" y="85"/>
                      <a:pt x="549" y="180"/>
                      <a:pt x="558" y="299"/>
                    </a:cubicBezTo>
                    <a:cubicBezTo>
                      <a:pt x="531" y="299"/>
                      <a:pt x="531" y="299"/>
                      <a:pt x="531" y="299"/>
                    </a:cubicBezTo>
                    <a:cubicBezTo>
                      <a:pt x="521" y="299"/>
                      <a:pt x="513" y="307"/>
                      <a:pt x="513" y="317"/>
                    </a:cubicBezTo>
                    <a:cubicBezTo>
                      <a:pt x="513" y="327"/>
                      <a:pt x="521" y="335"/>
                      <a:pt x="531" y="335"/>
                    </a:cubicBezTo>
                    <a:cubicBezTo>
                      <a:pt x="558" y="335"/>
                      <a:pt x="558" y="335"/>
                      <a:pt x="558" y="335"/>
                    </a:cubicBezTo>
                    <a:cubicBezTo>
                      <a:pt x="549" y="454"/>
                      <a:pt x="453" y="550"/>
                      <a:pt x="334" y="5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FFFFFF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227" name="Freeform 6"/>
              <p:cNvSpPr>
                <a:spLocks/>
              </p:cNvSpPr>
              <p:nvPr/>
            </p:nvSpPr>
            <p:spPr bwMode="auto">
              <a:xfrm>
                <a:off x="4694682" y="2165722"/>
                <a:ext cx="62503" cy="96053"/>
              </a:xfrm>
              <a:custGeom>
                <a:avLst/>
                <a:gdLst>
                  <a:gd name="T0" fmla="*/ 73 w 147"/>
                  <a:gd name="T1" fmla="*/ 0 h 225"/>
                  <a:gd name="T2" fmla="*/ 62 w 147"/>
                  <a:gd name="T3" fmla="*/ 25 h 225"/>
                  <a:gd name="T4" fmla="*/ 25 w 147"/>
                  <a:gd name="T5" fmla="*/ 9 h 225"/>
                  <a:gd name="T6" fmla="*/ 11 w 147"/>
                  <a:gd name="T7" fmla="*/ 15 h 225"/>
                  <a:gd name="T8" fmla="*/ 18 w 147"/>
                  <a:gd name="T9" fmla="*/ 29 h 225"/>
                  <a:gd name="T10" fmla="*/ 56 w 147"/>
                  <a:gd name="T11" fmla="*/ 46 h 225"/>
                  <a:gd name="T12" fmla="*/ 52 w 147"/>
                  <a:gd name="T13" fmla="*/ 79 h 225"/>
                  <a:gd name="T14" fmla="*/ 11 w 147"/>
                  <a:gd name="T15" fmla="*/ 79 h 225"/>
                  <a:gd name="T16" fmla="*/ 0 w 147"/>
                  <a:gd name="T17" fmla="*/ 90 h 225"/>
                  <a:gd name="T18" fmla="*/ 11 w 147"/>
                  <a:gd name="T19" fmla="*/ 101 h 225"/>
                  <a:gd name="T20" fmla="*/ 52 w 147"/>
                  <a:gd name="T21" fmla="*/ 101 h 225"/>
                  <a:gd name="T22" fmla="*/ 56 w 147"/>
                  <a:gd name="T23" fmla="*/ 134 h 225"/>
                  <a:gd name="T24" fmla="*/ 18 w 147"/>
                  <a:gd name="T25" fmla="*/ 151 h 225"/>
                  <a:gd name="T26" fmla="*/ 11 w 147"/>
                  <a:gd name="T27" fmla="*/ 166 h 225"/>
                  <a:gd name="T28" fmla="*/ 22 w 147"/>
                  <a:gd name="T29" fmla="*/ 173 h 225"/>
                  <a:gd name="T30" fmla="*/ 25 w 147"/>
                  <a:gd name="T31" fmla="*/ 172 h 225"/>
                  <a:gd name="T32" fmla="*/ 64 w 147"/>
                  <a:gd name="T33" fmla="*/ 155 h 225"/>
                  <a:gd name="T34" fmla="*/ 147 w 147"/>
                  <a:gd name="T35" fmla="*/ 225 h 225"/>
                  <a:gd name="T36" fmla="*/ 147 w 147"/>
                  <a:gd name="T37" fmla="*/ 20 h 225"/>
                  <a:gd name="T38" fmla="*/ 78 w 147"/>
                  <a:gd name="T39" fmla="*/ 4 h 225"/>
                  <a:gd name="T40" fmla="*/ 73 w 147"/>
                  <a:gd name="T41" fmla="*/ 0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47" h="225">
                    <a:moveTo>
                      <a:pt x="73" y="0"/>
                    </a:moveTo>
                    <a:cubicBezTo>
                      <a:pt x="68" y="8"/>
                      <a:pt x="65" y="16"/>
                      <a:pt x="62" y="25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0" y="7"/>
                      <a:pt x="13" y="9"/>
                      <a:pt x="11" y="15"/>
                    </a:cubicBezTo>
                    <a:cubicBezTo>
                      <a:pt x="9" y="20"/>
                      <a:pt x="12" y="27"/>
                      <a:pt x="18" y="29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4" y="57"/>
                      <a:pt x="52" y="68"/>
                      <a:pt x="52" y="79"/>
                    </a:cubicBezTo>
                    <a:cubicBezTo>
                      <a:pt x="11" y="79"/>
                      <a:pt x="11" y="79"/>
                      <a:pt x="11" y="79"/>
                    </a:cubicBezTo>
                    <a:cubicBezTo>
                      <a:pt x="4" y="79"/>
                      <a:pt x="0" y="83"/>
                      <a:pt x="0" y="90"/>
                    </a:cubicBezTo>
                    <a:cubicBezTo>
                      <a:pt x="0" y="95"/>
                      <a:pt x="4" y="101"/>
                      <a:pt x="11" y="101"/>
                    </a:cubicBezTo>
                    <a:cubicBezTo>
                      <a:pt x="52" y="101"/>
                      <a:pt x="52" y="101"/>
                      <a:pt x="52" y="101"/>
                    </a:cubicBezTo>
                    <a:cubicBezTo>
                      <a:pt x="52" y="113"/>
                      <a:pt x="54" y="124"/>
                      <a:pt x="56" y="134"/>
                    </a:cubicBezTo>
                    <a:cubicBezTo>
                      <a:pt x="18" y="151"/>
                      <a:pt x="18" y="151"/>
                      <a:pt x="18" y="151"/>
                    </a:cubicBezTo>
                    <a:cubicBezTo>
                      <a:pt x="11" y="154"/>
                      <a:pt x="9" y="161"/>
                      <a:pt x="11" y="166"/>
                    </a:cubicBezTo>
                    <a:cubicBezTo>
                      <a:pt x="13" y="169"/>
                      <a:pt x="18" y="173"/>
                      <a:pt x="22" y="173"/>
                    </a:cubicBezTo>
                    <a:cubicBezTo>
                      <a:pt x="23" y="173"/>
                      <a:pt x="24" y="172"/>
                      <a:pt x="25" y="172"/>
                    </a:cubicBezTo>
                    <a:cubicBezTo>
                      <a:pt x="64" y="155"/>
                      <a:pt x="64" y="155"/>
                      <a:pt x="64" y="155"/>
                    </a:cubicBezTo>
                    <a:cubicBezTo>
                      <a:pt x="79" y="190"/>
                      <a:pt x="109" y="211"/>
                      <a:pt x="147" y="225"/>
                    </a:cubicBezTo>
                    <a:cubicBezTo>
                      <a:pt x="147" y="20"/>
                      <a:pt x="147" y="20"/>
                      <a:pt x="147" y="20"/>
                    </a:cubicBezTo>
                    <a:cubicBezTo>
                      <a:pt x="120" y="20"/>
                      <a:pt x="97" y="13"/>
                      <a:pt x="78" y="4"/>
                    </a:cubicBezTo>
                    <a:cubicBezTo>
                      <a:pt x="77" y="2"/>
                      <a:pt x="75" y="1"/>
                      <a:pt x="7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FFFFFF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228" name="Freeform 7"/>
              <p:cNvSpPr>
                <a:spLocks/>
              </p:cNvSpPr>
              <p:nvPr/>
            </p:nvSpPr>
            <p:spPr bwMode="auto">
              <a:xfrm>
                <a:off x="4762700" y="2165722"/>
                <a:ext cx="62273" cy="96053"/>
              </a:xfrm>
              <a:custGeom>
                <a:avLst/>
                <a:gdLst>
                  <a:gd name="T0" fmla="*/ 134 w 146"/>
                  <a:gd name="T1" fmla="*/ 101 h 225"/>
                  <a:gd name="T2" fmla="*/ 146 w 146"/>
                  <a:gd name="T3" fmla="*/ 90 h 225"/>
                  <a:gd name="T4" fmla="*/ 135 w 146"/>
                  <a:gd name="T5" fmla="*/ 79 h 225"/>
                  <a:gd name="T6" fmla="*/ 95 w 146"/>
                  <a:gd name="T7" fmla="*/ 79 h 225"/>
                  <a:gd name="T8" fmla="*/ 91 w 146"/>
                  <a:gd name="T9" fmla="*/ 46 h 225"/>
                  <a:gd name="T10" fmla="*/ 129 w 146"/>
                  <a:gd name="T11" fmla="*/ 29 h 225"/>
                  <a:gd name="T12" fmla="*/ 134 w 146"/>
                  <a:gd name="T13" fmla="*/ 15 h 225"/>
                  <a:gd name="T14" fmla="*/ 120 w 146"/>
                  <a:gd name="T15" fmla="*/ 9 h 225"/>
                  <a:gd name="T16" fmla="*/ 84 w 146"/>
                  <a:gd name="T17" fmla="*/ 23 h 225"/>
                  <a:gd name="T18" fmla="*/ 74 w 146"/>
                  <a:gd name="T19" fmla="*/ 0 h 225"/>
                  <a:gd name="T20" fmla="*/ 69 w 146"/>
                  <a:gd name="T21" fmla="*/ 4 h 225"/>
                  <a:gd name="T22" fmla="*/ 0 w 146"/>
                  <a:gd name="T23" fmla="*/ 20 h 225"/>
                  <a:gd name="T24" fmla="*/ 0 w 146"/>
                  <a:gd name="T25" fmla="*/ 225 h 225"/>
                  <a:gd name="T26" fmla="*/ 83 w 146"/>
                  <a:gd name="T27" fmla="*/ 156 h 225"/>
                  <a:gd name="T28" fmla="*/ 120 w 146"/>
                  <a:gd name="T29" fmla="*/ 172 h 225"/>
                  <a:gd name="T30" fmla="*/ 124 w 146"/>
                  <a:gd name="T31" fmla="*/ 173 h 225"/>
                  <a:gd name="T32" fmla="*/ 134 w 146"/>
                  <a:gd name="T33" fmla="*/ 166 h 225"/>
                  <a:gd name="T34" fmla="*/ 129 w 146"/>
                  <a:gd name="T35" fmla="*/ 151 h 225"/>
                  <a:gd name="T36" fmla="*/ 90 w 146"/>
                  <a:gd name="T37" fmla="*/ 135 h 225"/>
                  <a:gd name="T38" fmla="*/ 95 w 146"/>
                  <a:gd name="T39" fmla="*/ 101 h 225"/>
                  <a:gd name="T40" fmla="*/ 134 w 146"/>
                  <a:gd name="T41" fmla="*/ 101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46" h="225">
                    <a:moveTo>
                      <a:pt x="134" y="101"/>
                    </a:moveTo>
                    <a:cubicBezTo>
                      <a:pt x="141" y="101"/>
                      <a:pt x="145" y="95"/>
                      <a:pt x="146" y="90"/>
                    </a:cubicBezTo>
                    <a:cubicBezTo>
                      <a:pt x="146" y="83"/>
                      <a:pt x="141" y="79"/>
                      <a:pt x="135" y="79"/>
                    </a:cubicBezTo>
                    <a:cubicBezTo>
                      <a:pt x="95" y="79"/>
                      <a:pt x="95" y="79"/>
                      <a:pt x="95" y="79"/>
                    </a:cubicBezTo>
                    <a:cubicBezTo>
                      <a:pt x="95" y="67"/>
                      <a:pt x="93" y="56"/>
                      <a:pt x="91" y="46"/>
                    </a:cubicBezTo>
                    <a:cubicBezTo>
                      <a:pt x="129" y="29"/>
                      <a:pt x="129" y="29"/>
                      <a:pt x="129" y="29"/>
                    </a:cubicBezTo>
                    <a:cubicBezTo>
                      <a:pt x="134" y="27"/>
                      <a:pt x="136" y="20"/>
                      <a:pt x="134" y="15"/>
                    </a:cubicBezTo>
                    <a:cubicBezTo>
                      <a:pt x="132" y="9"/>
                      <a:pt x="125" y="7"/>
                      <a:pt x="120" y="9"/>
                    </a:cubicBezTo>
                    <a:cubicBezTo>
                      <a:pt x="84" y="23"/>
                      <a:pt x="84" y="23"/>
                      <a:pt x="84" y="23"/>
                    </a:cubicBezTo>
                    <a:cubicBezTo>
                      <a:pt x="82" y="16"/>
                      <a:pt x="79" y="8"/>
                      <a:pt x="74" y="0"/>
                    </a:cubicBezTo>
                    <a:cubicBezTo>
                      <a:pt x="72" y="1"/>
                      <a:pt x="70" y="2"/>
                      <a:pt x="69" y="4"/>
                    </a:cubicBezTo>
                    <a:cubicBezTo>
                      <a:pt x="50" y="13"/>
                      <a:pt x="27" y="20"/>
                      <a:pt x="0" y="20"/>
                    </a:cubicBezTo>
                    <a:cubicBezTo>
                      <a:pt x="0" y="225"/>
                      <a:pt x="0" y="225"/>
                      <a:pt x="0" y="225"/>
                    </a:cubicBezTo>
                    <a:cubicBezTo>
                      <a:pt x="37" y="213"/>
                      <a:pt x="67" y="190"/>
                      <a:pt x="83" y="156"/>
                    </a:cubicBezTo>
                    <a:cubicBezTo>
                      <a:pt x="120" y="172"/>
                      <a:pt x="120" y="172"/>
                      <a:pt x="120" y="172"/>
                    </a:cubicBezTo>
                    <a:cubicBezTo>
                      <a:pt x="121" y="172"/>
                      <a:pt x="123" y="173"/>
                      <a:pt x="124" y="173"/>
                    </a:cubicBezTo>
                    <a:cubicBezTo>
                      <a:pt x="129" y="173"/>
                      <a:pt x="133" y="169"/>
                      <a:pt x="134" y="166"/>
                    </a:cubicBezTo>
                    <a:cubicBezTo>
                      <a:pt x="136" y="161"/>
                      <a:pt x="134" y="154"/>
                      <a:pt x="129" y="151"/>
                    </a:cubicBezTo>
                    <a:cubicBezTo>
                      <a:pt x="90" y="135"/>
                      <a:pt x="90" y="135"/>
                      <a:pt x="90" y="135"/>
                    </a:cubicBezTo>
                    <a:cubicBezTo>
                      <a:pt x="93" y="124"/>
                      <a:pt x="95" y="113"/>
                      <a:pt x="95" y="101"/>
                    </a:cubicBezTo>
                    <a:lnTo>
                      <a:pt x="134" y="10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FFFFFF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229" name="Freeform 8"/>
              <p:cNvSpPr>
                <a:spLocks/>
              </p:cNvSpPr>
              <p:nvPr/>
            </p:nvSpPr>
            <p:spPr bwMode="auto">
              <a:xfrm>
                <a:off x="4715134" y="2120223"/>
                <a:ext cx="88929" cy="48946"/>
              </a:xfrm>
              <a:custGeom>
                <a:avLst/>
                <a:gdLst>
                  <a:gd name="T0" fmla="*/ 179 w 209"/>
                  <a:gd name="T1" fmla="*/ 96 h 115"/>
                  <a:gd name="T2" fmla="*/ 156 w 209"/>
                  <a:gd name="T3" fmla="*/ 72 h 115"/>
                  <a:gd name="T4" fmla="*/ 185 w 209"/>
                  <a:gd name="T5" fmla="*/ 39 h 115"/>
                  <a:gd name="T6" fmla="*/ 189 w 209"/>
                  <a:gd name="T7" fmla="*/ 39 h 115"/>
                  <a:gd name="T8" fmla="*/ 209 w 209"/>
                  <a:gd name="T9" fmla="*/ 19 h 115"/>
                  <a:gd name="T10" fmla="*/ 189 w 209"/>
                  <a:gd name="T11" fmla="*/ 0 h 115"/>
                  <a:gd name="T12" fmla="*/ 170 w 209"/>
                  <a:gd name="T13" fmla="*/ 19 h 115"/>
                  <a:gd name="T14" fmla="*/ 172 w 209"/>
                  <a:gd name="T15" fmla="*/ 28 h 115"/>
                  <a:gd name="T16" fmla="*/ 142 w 209"/>
                  <a:gd name="T17" fmla="*/ 62 h 115"/>
                  <a:gd name="T18" fmla="*/ 106 w 209"/>
                  <a:gd name="T19" fmla="*/ 53 h 115"/>
                  <a:gd name="T20" fmla="*/ 67 w 209"/>
                  <a:gd name="T21" fmla="*/ 63 h 115"/>
                  <a:gd name="T22" fmla="*/ 37 w 209"/>
                  <a:gd name="T23" fmla="*/ 28 h 115"/>
                  <a:gd name="T24" fmla="*/ 39 w 209"/>
                  <a:gd name="T25" fmla="*/ 19 h 115"/>
                  <a:gd name="T26" fmla="*/ 19 w 209"/>
                  <a:gd name="T27" fmla="*/ 0 h 115"/>
                  <a:gd name="T28" fmla="*/ 0 w 209"/>
                  <a:gd name="T29" fmla="*/ 19 h 115"/>
                  <a:gd name="T30" fmla="*/ 19 w 209"/>
                  <a:gd name="T31" fmla="*/ 39 h 115"/>
                  <a:gd name="T32" fmla="*/ 24 w 209"/>
                  <a:gd name="T33" fmla="*/ 39 h 115"/>
                  <a:gd name="T34" fmla="*/ 52 w 209"/>
                  <a:gd name="T35" fmla="*/ 73 h 115"/>
                  <a:gd name="T36" fmla="*/ 33 w 209"/>
                  <a:gd name="T37" fmla="*/ 96 h 115"/>
                  <a:gd name="T38" fmla="*/ 37 w 209"/>
                  <a:gd name="T39" fmla="*/ 99 h 115"/>
                  <a:gd name="T40" fmla="*/ 106 w 209"/>
                  <a:gd name="T41" fmla="*/ 115 h 115"/>
                  <a:gd name="T42" fmla="*/ 174 w 209"/>
                  <a:gd name="T43" fmla="*/ 99 h 115"/>
                  <a:gd name="T44" fmla="*/ 179 w 209"/>
                  <a:gd name="T45" fmla="*/ 96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09" h="115">
                    <a:moveTo>
                      <a:pt x="179" y="96"/>
                    </a:moveTo>
                    <a:cubicBezTo>
                      <a:pt x="173" y="86"/>
                      <a:pt x="165" y="78"/>
                      <a:pt x="156" y="72"/>
                    </a:cubicBezTo>
                    <a:cubicBezTo>
                      <a:pt x="177" y="49"/>
                      <a:pt x="183" y="41"/>
                      <a:pt x="185" y="39"/>
                    </a:cubicBezTo>
                    <a:cubicBezTo>
                      <a:pt x="187" y="39"/>
                      <a:pt x="188" y="39"/>
                      <a:pt x="189" y="39"/>
                    </a:cubicBezTo>
                    <a:cubicBezTo>
                      <a:pt x="200" y="39"/>
                      <a:pt x="209" y="30"/>
                      <a:pt x="209" y="19"/>
                    </a:cubicBezTo>
                    <a:cubicBezTo>
                      <a:pt x="209" y="9"/>
                      <a:pt x="200" y="0"/>
                      <a:pt x="189" y="0"/>
                    </a:cubicBezTo>
                    <a:cubicBezTo>
                      <a:pt x="178" y="0"/>
                      <a:pt x="170" y="9"/>
                      <a:pt x="170" y="19"/>
                    </a:cubicBezTo>
                    <a:cubicBezTo>
                      <a:pt x="170" y="23"/>
                      <a:pt x="170" y="25"/>
                      <a:pt x="172" y="28"/>
                    </a:cubicBezTo>
                    <a:cubicBezTo>
                      <a:pt x="142" y="62"/>
                      <a:pt x="142" y="62"/>
                      <a:pt x="142" y="62"/>
                    </a:cubicBezTo>
                    <a:cubicBezTo>
                      <a:pt x="131" y="56"/>
                      <a:pt x="119" y="53"/>
                      <a:pt x="106" y="53"/>
                    </a:cubicBezTo>
                    <a:cubicBezTo>
                      <a:pt x="92" y="53"/>
                      <a:pt x="79" y="56"/>
                      <a:pt x="67" y="63"/>
                    </a:cubicBezTo>
                    <a:cubicBezTo>
                      <a:pt x="45" y="38"/>
                      <a:pt x="38" y="30"/>
                      <a:pt x="37" y="28"/>
                    </a:cubicBezTo>
                    <a:cubicBezTo>
                      <a:pt x="38" y="26"/>
                      <a:pt x="39" y="23"/>
                      <a:pt x="39" y="19"/>
                    </a:cubicBezTo>
                    <a:cubicBezTo>
                      <a:pt x="39" y="9"/>
                      <a:pt x="30" y="0"/>
                      <a:pt x="19" y="0"/>
                    </a:cubicBezTo>
                    <a:cubicBezTo>
                      <a:pt x="8" y="0"/>
                      <a:pt x="0" y="9"/>
                      <a:pt x="0" y="19"/>
                    </a:cubicBezTo>
                    <a:cubicBezTo>
                      <a:pt x="0" y="30"/>
                      <a:pt x="8" y="39"/>
                      <a:pt x="19" y="39"/>
                    </a:cubicBezTo>
                    <a:cubicBezTo>
                      <a:pt x="21" y="39"/>
                      <a:pt x="22" y="39"/>
                      <a:pt x="24" y="39"/>
                    </a:cubicBezTo>
                    <a:cubicBezTo>
                      <a:pt x="52" y="73"/>
                      <a:pt x="52" y="73"/>
                      <a:pt x="52" y="73"/>
                    </a:cubicBezTo>
                    <a:cubicBezTo>
                      <a:pt x="45" y="80"/>
                      <a:pt x="38" y="87"/>
                      <a:pt x="33" y="96"/>
                    </a:cubicBezTo>
                    <a:cubicBezTo>
                      <a:pt x="34" y="97"/>
                      <a:pt x="35" y="98"/>
                      <a:pt x="37" y="99"/>
                    </a:cubicBezTo>
                    <a:cubicBezTo>
                      <a:pt x="55" y="108"/>
                      <a:pt x="79" y="115"/>
                      <a:pt x="106" y="115"/>
                    </a:cubicBezTo>
                    <a:cubicBezTo>
                      <a:pt x="132" y="115"/>
                      <a:pt x="156" y="108"/>
                      <a:pt x="174" y="99"/>
                    </a:cubicBezTo>
                    <a:cubicBezTo>
                      <a:pt x="176" y="98"/>
                      <a:pt x="177" y="97"/>
                      <a:pt x="179" y="9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FFFFFF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30" name="Group 229"/>
            <p:cNvGrpSpPr>
              <a:grpSpLocks noChangeAspect="1"/>
            </p:cNvGrpSpPr>
            <p:nvPr userDrawn="1"/>
          </p:nvGrpSpPr>
          <p:grpSpPr>
            <a:xfrm>
              <a:off x="5412771" y="2100130"/>
              <a:ext cx="91440" cy="64714"/>
              <a:chOff x="4521549" y="2449250"/>
              <a:chExt cx="242113" cy="171347"/>
            </a:xfrm>
            <a:solidFill>
              <a:schemeClr val="bg1">
                <a:lumMod val="85000"/>
                <a:alpha val="30000"/>
              </a:schemeClr>
            </a:solidFill>
          </p:grpSpPr>
          <p:sp>
            <p:nvSpPr>
              <p:cNvPr id="231" name="Freeform 5"/>
              <p:cNvSpPr>
                <a:spLocks noEditPoints="1"/>
              </p:cNvSpPr>
              <p:nvPr/>
            </p:nvSpPr>
            <p:spPr bwMode="auto">
              <a:xfrm>
                <a:off x="4521549" y="2493341"/>
                <a:ext cx="242113" cy="127256"/>
              </a:xfrm>
              <a:custGeom>
                <a:avLst/>
                <a:gdLst>
                  <a:gd name="T0" fmla="*/ 242 w 280"/>
                  <a:gd name="T1" fmla="*/ 51 h 147"/>
                  <a:gd name="T2" fmla="*/ 246 w 280"/>
                  <a:gd name="T3" fmla="*/ 51 h 147"/>
                  <a:gd name="T4" fmla="*/ 261 w 280"/>
                  <a:gd name="T5" fmla="*/ 51 h 147"/>
                  <a:gd name="T6" fmla="*/ 280 w 280"/>
                  <a:gd name="T7" fmla="*/ 70 h 147"/>
                  <a:gd name="T8" fmla="*/ 280 w 280"/>
                  <a:gd name="T9" fmla="*/ 127 h 147"/>
                  <a:gd name="T10" fmla="*/ 260 w 280"/>
                  <a:gd name="T11" fmla="*/ 147 h 147"/>
                  <a:gd name="T12" fmla="*/ 195 w 280"/>
                  <a:gd name="T13" fmla="*/ 147 h 147"/>
                  <a:gd name="T14" fmla="*/ 21 w 280"/>
                  <a:gd name="T15" fmla="*/ 147 h 147"/>
                  <a:gd name="T16" fmla="*/ 1 w 280"/>
                  <a:gd name="T17" fmla="*/ 132 h 147"/>
                  <a:gd name="T18" fmla="*/ 0 w 280"/>
                  <a:gd name="T19" fmla="*/ 126 h 147"/>
                  <a:gd name="T20" fmla="*/ 0 w 280"/>
                  <a:gd name="T21" fmla="*/ 72 h 147"/>
                  <a:gd name="T22" fmla="*/ 21 w 280"/>
                  <a:gd name="T23" fmla="*/ 51 h 147"/>
                  <a:gd name="T24" fmla="*/ 116 w 280"/>
                  <a:gd name="T25" fmla="*/ 51 h 147"/>
                  <a:gd name="T26" fmla="*/ 221 w 280"/>
                  <a:gd name="T27" fmla="*/ 51 h 147"/>
                  <a:gd name="T28" fmla="*/ 224 w 280"/>
                  <a:gd name="T29" fmla="*/ 48 h 147"/>
                  <a:gd name="T30" fmla="*/ 224 w 280"/>
                  <a:gd name="T31" fmla="*/ 13 h 147"/>
                  <a:gd name="T32" fmla="*/ 225 w 280"/>
                  <a:gd name="T33" fmla="*/ 5 h 147"/>
                  <a:gd name="T34" fmla="*/ 233 w 280"/>
                  <a:gd name="T35" fmla="*/ 0 h 147"/>
                  <a:gd name="T36" fmla="*/ 241 w 280"/>
                  <a:gd name="T37" fmla="*/ 5 h 147"/>
                  <a:gd name="T38" fmla="*/ 242 w 280"/>
                  <a:gd name="T39" fmla="*/ 13 h 147"/>
                  <a:gd name="T40" fmla="*/ 242 w 280"/>
                  <a:gd name="T41" fmla="*/ 47 h 147"/>
                  <a:gd name="T42" fmla="*/ 242 w 280"/>
                  <a:gd name="T43" fmla="*/ 51 h 147"/>
                  <a:gd name="T44" fmla="*/ 63 w 280"/>
                  <a:gd name="T45" fmla="*/ 119 h 147"/>
                  <a:gd name="T46" fmla="*/ 63 w 280"/>
                  <a:gd name="T47" fmla="*/ 119 h 147"/>
                  <a:gd name="T48" fmla="*/ 63 w 280"/>
                  <a:gd name="T49" fmla="*/ 126 h 147"/>
                  <a:gd name="T50" fmla="*/ 67 w 280"/>
                  <a:gd name="T51" fmla="*/ 129 h 147"/>
                  <a:gd name="T52" fmla="*/ 81 w 280"/>
                  <a:gd name="T53" fmla="*/ 129 h 147"/>
                  <a:gd name="T54" fmla="*/ 85 w 280"/>
                  <a:gd name="T55" fmla="*/ 126 h 147"/>
                  <a:gd name="T56" fmla="*/ 85 w 280"/>
                  <a:gd name="T57" fmla="*/ 112 h 147"/>
                  <a:gd name="T58" fmla="*/ 81 w 280"/>
                  <a:gd name="T59" fmla="*/ 108 h 147"/>
                  <a:gd name="T60" fmla="*/ 67 w 280"/>
                  <a:gd name="T61" fmla="*/ 108 h 147"/>
                  <a:gd name="T62" fmla="*/ 63 w 280"/>
                  <a:gd name="T63" fmla="*/ 112 h 147"/>
                  <a:gd name="T64" fmla="*/ 63 w 280"/>
                  <a:gd name="T65" fmla="*/ 119 h 147"/>
                  <a:gd name="T66" fmla="*/ 110 w 280"/>
                  <a:gd name="T67" fmla="*/ 129 h 147"/>
                  <a:gd name="T68" fmla="*/ 110 w 280"/>
                  <a:gd name="T69" fmla="*/ 129 h 147"/>
                  <a:gd name="T70" fmla="*/ 117 w 280"/>
                  <a:gd name="T71" fmla="*/ 129 h 147"/>
                  <a:gd name="T72" fmla="*/ 121 w 280"/>
                  <a:gd name="T73" fmla="*/ 126 h 147"/>
                  <a:gd name="T74" fmla="*/ 121 w 280"/>
                  <a:gd name="T75" fmla="*/ 112 h 147"/>
                  <a:gd name="T76" fmla="*/ 117 w 280"/>
                  <a:gd name="T77" fmla="*/ 108 h 147"/>
                  <a:gd name="T78" fmla="*/ 104 w 280"/>
                  <a:gd name="T79" fmla="*/ 108 h 147"/>
                  <a:gd name="T80" fmla="*/ 100 w 280"/>
                  <a:gd name="T81" fmla="*/ 112 h 147"/>
                  <a:gd name="T82" fmla="*/ 100 w 280"/>
                  <a:gd name="T83" fmla="*/ 125 h 147"/>
                  <a:gd name="T84" fmla="*/ 103 w 280"/>
                  <a:gd name="T85" fmla="*/ 129 h 147"/>
                  <a:gd name="T86" fmla="*/ 110 w 280"/>
                  <a:gd name="T87" fmla="*/ 129 h 147"/>
                  <a:gd name="T88" fmla="*/ 27 w 280"/>
                  <a:gd name="T89" fmla="*/ 118 h 147"/>
                  <a:gd name="T90" fmla="*/ 27 w 280"/>
                  <a:gd name="T91" fmla="*/ 118 h 147"/>
                  <a:gd name="T92" fmla="*/ 27 w 280"/>
                  <a:gd name="T93" fmla="*/ 126 h 147"/>
                  <a:gd name="T94" fmla="*/ 31 w 280"/>
                  <a:gd name="T95" fmla="*/ 129 h 147"/>
                  <a:gd name="T96" fmla="*/ 45 w 280"/>
                  <a:gd name="T97" fmla="*/ 129 h 147"/>
                  <a:gd name="T98" fmla="*/ 48 w 280"/>
                  <a:gd name="T99" fmla="*/ 125 h 147"/>
                  <a:gd name="T100" fmla="*/ 48 w 280"/>
                  <a:gd name="T101" fmla="*/ 112 h 147"/>
                  <a:gd name="T102" fmla="*/ 45 w 280"/>
                  <a:gd name="T103" fmla="*/ 108 h 147"/>
                  <a:gd name="T104" fmla="*/ 31 w 280"/>
                  <a:gd name="T105" fmla="*/ 108 h 147"/>
                  <a:gd name="T106" fmla="*/ 27 w 280"/>
                  <a:gd name="T107" fmla="*/ 112 h 147"/>
                  <a:gd name="T108" fmla="*/ 27 w 280"/>
                  <a:gd name="T109" fmla="*/ 118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80" h="147">
                    <a:moveTo>
                      <a:pt x="242" y="51"/>
                    </a:moveTo>
                    <a:cubicBezTo>
                      <a:pt x="244" y="51"/>
                      <a:pt x="245" y="51"/>
                      <a:pt x="246" y="51"/>
                    </a:cubicBezTo>
                    <a:cubicBezTo>
                      <a:pt x="251" y="51"/>
                      <a:pt x="256" y="51"/>
                      <a:pt x="261" y="51"/>
                    </a:cubicBezTo>
                    <a:cubicBezTo>
                      <a:pt x="272" y="52"/>
                      <a:pt x="280" y="60"/>
                      <a:pt x="280" y="70"/>
                    </a:cubicBezTo>
                    <a:cubicBezTo>
                      <a:pt x="280" y="89"/>
                      <a:pt x="280" y="108"/>
                      <a:pt x="280" y="127"/>
                    </a:cubicBezTo>
                    <a:cubicBezTo>
                      <a:pt x="280" y="138"/>
                      <a:pt x="271" y="147"/>
                      <a:pt x="260" y="147"/>
                    </a:cubicBezTo>
                    <a:cubicBezTo>
                      <a:pt x="238" y="147"/>
                      <a:pt x="217" y="147"/>
                      <a:pt x="195" y="147"/>
                    </a:cubicBezTo>
                    <a:cubicBezTo>
                      <a:pt x="137" y="147"/>
                      <a:pt x="79" y="147"/>
                      <a:pt x="21" y="147"/>
                    </a:cubicBezTo>
                    <a:cubicBezTo>
                      <a:pt x="11" y="147"/>
                      <a:pt x="3" y="141"/>
                      <a:pt x="1" y="132"/>
                    </a:cubicBezTo>
                    <a:cubicBezTo>
                      <a:pt x="0" y="130"/>
                      <a:pt x="0" y="128"/>
                      <a:pt x="0" y="126"/>
                    </a:cubicBezTo>
                    <a:cubicBezTo>
                      <a:pt x="0" y="108"/>
                      <a:pt x="0" y="90"/>
                      <a:pt x="0" y="72"/>
                    </a:cubicBezTo>
                    <a:cubicBezTo>
                      <a:pt x="0" y="60"/>
                      <a:pt x="8" y="51"/>
                      <a:pt x="21" y="51"/>
                    </a:cubicBezTo>
                    <a:cubicBezTo>
                      <a:pt x="52" y="51"/>
                      <a:pt x="84" y="51"/>
                      <a:pt x="116" y="51"/>
                    </a:cubicBezTo>
                    <a:cubicBezTo>
                      <a:pt x="151" y="51"/>
                      <a:pt x="186" y="51"/>
                      <a:pt x="221" y="51"/>
                    </a:cubicBezTo>
                    <a:cubicBezTo>
                      <a:pt x="224" y="51"/>
                      <a:pt x="224" y="50"/>
                      <a:pt x="224" y="48"/>
                    </a:cubicBezTo>
                    <a:cubicBezTo>
                      <a:pt x="224" y="36"/>
                      <a:pt x="224" y="25"/>
                      <a:pt x="224" y="13"/>
                    </a:cubicBezTo>
                    <a:cubicBezTo>
                      <a:pt x="224" y="11"/>
                      <a:pt x="224" y="8"/>
                      <a:pt x="225" y="5"/>
                    </a:cubicBezTo>
                    <a:cubicBezTo>
                      <a:pt x="226" y="2"/>
                      <a:pt x="229" y="0"/>
                      <a:pt x="233" y="0"/>
                    </a:cubicBezTo>
                    <a:cubicBezTo>
                      <a:pt x="237" y="0"/>
                      <a:pt x="240" y="2"/>
                      <a:pt x="241" y="5"/>
                    </a:cubicBezTo>
                    <a:cubicBezTo>
                      <a:pt x="242" y="8"/>
                      <a:pt x="242" y="10"/>
                      <a:pt x="242" y="13"/>
                    </a:cubicBezTo>
                    <a:cubicBezTo>
                      <a:pt x="242" y="24"/>
                      <a:pt x="242" y="36"/>
                      <a:pt x="242" y="47"/>
                    </a:cubicBezTo>
                    <a:cubicBezTo>
                      <a:pt x="242" y="48"/>
                      <a:pt x="242" y="49"/>
                      <a:pt x="242" y="51"/>
                    </a:cubicBezTo>
                    <a:close/>
                    <a:moveTo>
                      <a:pt x="63" y="119"/>
                    </a:moveTo>
                    <a:cubicBezTo>
                      <a:pt x="63" y="119"/>
                      <a:pt x="63" y="119"/>
                      <a:pt x="63" y="119"/>
                    </a:cubicBezTo>
                    <a:cubicBezTo>
                      <a:pt x="63" y="121"/>
                      <a:pt x="63" y="123"/>
                      <a:pt x="63" y="126"/>
                    </a:cubicBezTo>
                    <a:cubicBezTo>
                      <a:pt x="64" y="128"/>
                      <a:pt x="65" y="129"/>
                      <a:pt x="67" y="129"/>
                    </a:cubicBezTo>
                    <a:cubicBezTo>
                      <a:pt x="72" y="129"/>
                      <a:pt x="76" y="129"/>
                      <a:pt x="81" y="129"/>
                    </a:cubicBezTo>
                    <a:cubicBezTo>
                      <a:pt x="83" y="129"/>
                      <a:pt x="85" y="128"/>
                      <a:pt x="85" y="126"/>
                    </a:cubicBezTo>
                    <a:cubicBezTo>
                      <a:pt x="85" y="121"/>
                      <a:pt x="85" y="116"/>
                      <a:pt x="85" y="112"/>
                    </a:cubicBezTo>
                    <a:cubicBezTo>
                      <a:pt x="85" y="109"/>
                      <a:pt x="83" y="108"/>
                      <a:pt x="81" y="108"/>
                    </a:cubicBezTo>
                    <a:cubicBezTo>
                      <a:pt x="76" y="108"/>
                      <a:pt x="72" y="108"/>
                      <a:pt x="67" y="108"/>
                    </a:cubicBezTo>
                    <a:cubicBezTo>
                      <a:pt x="65" y="108"/>
                      <a:pt x="64" y="109"/>
                      <a:pt x="63" y="112"/>
                    </a:cubicBezTo>
                    <a:cubicBezTo>
                      <a:pt x="63" y="114"/>
                      <a:pt x="63" y="116"/>
                      <a:pt x="63" y="119"/>
                    </a:cubicBezTo>
                    <a:close/>
                    <a:moveTo>
                      <a:pt x="110" y="129"/>
                    </a:moveTo>
                    <a:cubicBezTo>
                      <a:pt x="110" y="129"/>
                      <a:pt x="110" y="129"/>
                      <a:pt x="110" y="129"/>
                    </a:cubicBezTo>
                    <a:cubicBezTo>
                      <a:pt x="113" y="129"/>
                      <a:pt x="115" y="129"/>
                      <a:pt x="117" y="129"/>
                    </a:cubicBezTo>
                    <a:cubicBezTo>
                      <a:pt x="120" y="129"/>
                      <a:pt x="121" y="128"/>
                      <a:pt x="121" y="126"/>
                    </a:cubicBezTo>
                    <a:cubicBezTo>
                      <a:pt x="121" y="121"/>
                      <a:pt x="121" y="116"/>
                      <a:pt x="121" y="112"/>
                    </a:cubicBezTo>
                    <a:cubicBezTo>
                      <a:pt x="121" y="109"/>
                      <a:pt x="120" y="108"/>
                      <a:pt x="117" y="108"/>
                    </a:cubicBezTo>
                    <a:cubicBezTo>
                      <a:pt x="113" y="108"/>
                      <a:pt x="108" y="108"/>
                      <a:pt x="104" y="108"/>
                    </a:cubicBezTo>
                    <a:cubicBezTo>
                      <a:pt x="101" y="108"/>
                      <a:pt x="100" y="109"/>
                      <a:pt x="100" y="112"/>
                    </a:cubicBezTo>
                    <a:cubicBezTo>
                      <a:pt x="100" y="116"/>
                      <a:pt x="100" y="121"/>
                      <a:pt x="100" y="125"/>
                    </a:cubicBezTo>
                    <a:cubicBezTo>
                      <a:pt x="100" y="128"/>
                      <a:pt x="101" y="129"/>
                      <a:pt x="103" y="129"/>
                    </a:cubicBezTo>
                    <a:cubicBezTo>
                      <a:pt x="106" y="129"/>
                      <a:pt x="108" y="129"/>
                      <a:pt x="110" y="129"/>
                    </a:cubicBezTo>
                    <a:close/>
                    <a:moveTo>
                      <a:pt x="27" y="118"/>
                    </a:moveTo>
                    <a:cubicBezTo>
                      <a:pt x="27" y="118"/>
                      <a:pt x="27" y="118"/>
                      <a:pt x="27" y="118"/>
                    </a:cubicBezTo>
                    <a:cubicBezTo>
                      <a:pt x="27" y="121"/>
                      <a:pt x="27" y="123"/>
                      <a:pt x="27" y="126"/>
                    </a:cubicBezTo>
                    <a:cubicBezTo>
                      <a:pt x="27" y="128"/>
                      <a:pt x="28" y="129"/>
                      <a:pt x="31" y="129"/>
                    </a:cubicBezTo>
                    <a:cubicBezTo>
                      <a:pt x="35" y="129"/>
                      <a:pt x="40" y="129"/>
                      <a:pt x="45" y="129"/>
                    </a:cubicBezTo>
                    <a:cubicBezTo>
                      <a:pt x="47" y="129"/>
                      <a:pt x="48" y="128"/>
                      <a:pt x="48" y="125"/>
                    </a:cubicBezTo>
                    <a:cubicBezTo>
                      <a:pt x="48" y="121"/>
                      <a:pt x="48" y="116"/>
                      <a:pt x="48" y="112"/>
                    </a:cubicBezTo>
                    <a:cubicBezTo>
                      <a:pt x="48" y="109"/>
                      <a:pt x="47" y="108"/>
                      <a:pt x="45" y="108"/>
                    </a:cubicBezTo>
                    <a:cubicBezTo>
                      <a:pt x="40" y="108"/>
                      <a:pt x="35" y="108"/>
                      <a:pt x="31" y="108"/>
                    </a:cubicBezTo>
                    <a:cubicBezTo>
                      <a:pt x="28" y="108"/>
                      <a:pt x="27" y="109"/>
                      <a:pt x="27" y="112"/>
                    </a:cubicBezTo>
                    <a:cubicBezTo>
                      <a:pt x="27" y="114"/>
                      <a:pt x="27" y="116"/>
                      <a:pt x="27" y="1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CA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232" name="Freeform 6"/>
              <p:cNvSpPr>
                <a:spLocks/>
              </p:cNvSpPr>
              <p:nvPr/>
            </p:nvSpPr>
            <p:spPr bwMode="auto">
              <a:xfrm>
                <a:off x="4683441" y="2449250"/>
                <a:ext cx="74384" cy="27712"/>
              </a:xfrm>
              <a:custGeom>
                <a:avLst/>
                <a:gdLst>
                  <a:gd name="T0" fmla="*/ 43 w 86"/>
                  <a:gd name="T1" fmla="*/ 0 h 32"/>
                  <a:gd name="T2" fmla="*/ 83 w 86"/>
                  <a:gd name="T3" fmla="*/ 20 h 32"/>
                  <a:gd name="T4" fmla="*/ 81 w 86"/>
                  <a:gd name="T5" fmla="*/ 30 h 32"/>
                  <a:gd name="T6" fmla="*/ 72 w 86"/>
                  <a:gd name="T7" fmla="*/ 29 h 32"/>
                  <a:gd name="T8" fmla="*/ 14 w 86"/>
                  <a:gd name="T9" fmla="*/ 28 h 32"/>
                  <a:gd name="T10" fmla="*/ 5 w 86"/>
                  <a:gd name="T11" fmla="*/ 30 h 32"/>
                  <a:gd name="T12" fmla="*/ 3 w 86"/>
                  <a:gd name="T13" fmla="*/ 20 h 32"/>
                  <a:gd name="T14" fmla="*/ 43 w 86"/>
                  <a:gd name="T1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6" h="32">
                    <a:moveTo>
                      <a:pt x="43" y="0"/>
                    </a:moveTo>
                    <a:cubicBezTo>
                      <a:pt x="60" y="0"/>
                      <a:pt x="73" y="7"/>
                      <a:pt x="83" y="20"/>
                    </a:cubicBezTo>
                    <a:cubicBezTo>
                      <a:pt x="86" y="24"/>
                      <a:pt x="85" y="26"/>
                      <a:pt x="81" y="30"/>
                    </a:cubicBezTo>
                    <a:cubicBezTo>
                      <a:pt x="77" y="32"/>
                      <a:pt x="75" y="32"/>
                      <a:pt x="72" y="29"/>
                    </a:cubicBezTo>
                    <a:cubicBezTo>
                      <a:pt x="57" y="9"/>
                      <a:pt x="30" y="9"/>
                      <a:pt x="14" y="28"/>
                    </a:cubicBezTo>
                    <a:cubicBezTo>
                      <a:pt x="11" y="32"/>
                      <a:pt x="9" y="32"/>
                      <a:pt x="5" y="30"/>
                    </a:cubicBezTo>
                    <a:cubicBezTo>
                      <a:pt x="1" y="26"/>
                      <a:pt x="0" y="24"/>
                      <a:pt x="3" y="20"/>
                    </a:cubicBezTo>
                    <a:cubicBezTo>
                      <a:pt x="13" y="7"/>
                      <a:pt x="26" y="0"/>
                      <a:pt x="4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CA" sz="700" dirty="0" smtClean="0">
                    <a:solidFill>
                      <a:srgbClr val="676767"/>
                    </a:solidFill>
                    <a:latin typeface="Arial"/>
                    <a:cs typeface="Arial" panose="020B0604020202020204" pitchFamily="34" charset="0"/>
                  </a:rPr>
                  <a:t> </a:t>
                </a:r>
                <a:endParaRPr lang="en-CA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233" name="Freeform 7"/>
              <p:cNvSpPr>
                <a:spLocks/>
              </p:cNvSpPr>
              <p:nvPr/>
            </p:nvSpPr>
            <p:spPr bwMode="auto">
              <a:xfrm>
                <a:off x="4700478" y="2463835"/>
                <a:ext cx="42297" cy="23336"/>
              </a:xfrm>
              <a:custGeom>
                <a:avLst/>
                <a:gdLst>
                  <a:gd name="T0" fmla="*/ 49 w 49"/>
                  <a:gd name="T1" fmla="*/ 18 h 27"/>
                  <a:gd name="T2" fmla="*/ 43 w 49"/>
                  <a:gd name="T3" fmla="*/ 26 h 27"/>
                  <a:gd name="T4" fmla="*/ 37 w 49"/>
                  <a:gd name="T5" fmla="*/ 23 h 27"/>
                  <a:gd name="T6" fmla="*/ 13 w 49"/>
                  <a:gd name="T7" fmla="*/ 23 h 27"/>
                  <a:gd name="T8" fmla="*/ 4 w 49"/>
                  <a:gd name="T9" fmla="*/ 24 h 27"/>
                  <a:gd name="T10" fmla="*/ 2 w 49"/>
                  <a:gd name="T11" fmla="*/ 15 h 27"/>
                  <a:gd name="T12" fmla="*/ 47 w 49"/>
                  <a:gd name="T13" fmla="*/ 15 h 27"/>
                  <a:gd name="T14" fmla="*/ 49 w 49"/>
                  <a:gd name="T15" fmla="*/ 18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9" h="27">
                    <a:moveTo>
                      <a:pt x="49" y="18"/>
                    </a:moveTo>
                    <a:cubicBezTo>
                      <a:pt x="49" y="22"/>
                      <a:pt x="46" y="25"/>
                      <a:pt x="43" y="26"/>
                    </a:cubicBezTo>
                    <a:cubicBezTo>
                      <a:pt x="40" y="27"/>
                      <a:pt x="38" y="26"/>
                      <a:pt x="37" y="23"/>
                    </a:cubicBezTo>
                    <a:cubicBezTo>
                      <a:pt x="30" y="15"/>
                      <a:pt x="20" y="15"/>
                      <a:pt x="13" y="23"/>
                    </a:cubicBezTo>
                    <a:cubicBezTo>
                      <a:pt x="10" y="27"/>
                      <a:pt x="8" y="27"/>
                      <a:pt x="4" y="24"/>
                    </a:cubicBezTo>
                    <a:cubicBezTo>
                      <a:pt x="0" y="21"/>
                      <a:pt x="0" y="18"/>
                      <a:pt x="2" y="15"/>
                    </a:cubicBezTo>
                    <a:cubicBezTo>
                      <a:pt x="14" y="0"/>
                      <a:pt x="36" y="0"/>
                      <a:pt x="47" y="15"/>
                    </a:cubicBezTo>
                    <a:cubicBezTo>
                      <a:pt x="48" y="16"/>
                      <a:pt x="49" y="18"/>
                      <a:pt x="49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CA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34" name="Group 233"/>
            <p:cNvGrpSpPr>
              <a:grpSpLocks noChangeAspect="1"/>
            </p:cNvGrpSpPr>
            <p:nvPr userDrawn="1"/>
          </p:nvGrpSpPr>
          <p:grpSpPr>
            <a:xfrm>
              <a:off x="2234689" y="4066778"/>
              <a:ext cx="91440" cy="90432"/>
              <a:chOff x="4691826" y="941215"/>
              <a:chExt cx="232883" cy="230314"/>
            </a:xfrm>
          </p:grpSpPr>
          <p:sp>
            <p:nvSpPr>
              <p:cNvPr id="235" name="Freeform 31"/>
              <p:cNvSpPr>
                <a:spLocks noEditPoints="1"/>
              </p:cNvSpPr>
              <p:nvPr/>
            </p:nvSpPr>
            <p:spPr bwMode="auto">
              <a:xfrm>
                <a:off x="4691826" y="941215"/>
                <a:ext cx="101751" cy="230314"/>
              </a:xfrm>
              <a:custGeom>
                <a:avLst/>
                <a:gdLst>
                  <a:gd name="T0" fmla="*/ 145 w 156"/>
                  <a:gd name="T1" fmla="*/ 0 h 228"/>
                  <a:gd name="T2" fmla="*/ 11 w 156"/>
                  <a:gd name="T3" fmla="*/ 0 h 228"/>
                  <a:gd name="T4" fmla="*/ 0 w 156"/>
                  <a:gd name="T5" fmla="*/ 11 h 228"/>
                  <a:gd name="T6" fmla="*/ 0 w 156"/>
                  <a:gd name="T7" fmla="*/ 218 h 228"/>
                  <a:gd name="T8" fmla="*/ 11 w 156"/>
                  <a:gd name="T9" fmla="*/ 228 h 228"/>
                  <a:gd name="T10" fmla="*/ 145 w 156"/>
                  <a:gd name="T11" fmla="*/ 228 h 228"/>
                  <a:gd name="T12" fmla="*/ 156 w 156"/>
                  <a:gd name="T13" fmla="*/ 218 h 228"/>
                  <a:gd name="T14" fmla="*/ 156 w 156"/>
                  <a:gd name="T15" fmla="*/ 11 h 228"/>
                  <a:gd name="T16" fmla="*/ 145 w 156"/>
                  <a:gd name="T17" fmla="*/ 0 h 228"/>
                  <a:gd name="T18" fmla="*/ 146 w 156"/>
                  <a:gd name="T19" fmla="*/ 135 h 228"/>
                  <a:gd name="T20" fmla="*/ 146 w 156"/>
                  <a:gd name="T21" fmla="*/ 137 h 228"/>
                  <a:gd name="T22" fmla="*/ 10 w 156"/>
                  <a:gd name="T23" fmla="*/ 137 h 228"/>
                  <a:gd name="T24" fmla="*/ 10 w 156"/>
                  <a:gd name="T25" fmla="*/ 135 h 228"/>
                  <a:gd name="T26" fmla="*/ 95 w 156"/>
                  <a:gd name="T27" fmla="*/ 135 h 228"/>
                  <a:gd name="T28" fmla="*/ 95 w 156"/>
                  <a:gd name="T29" fmla="*/ 130 h 228"/>
                  <a:gd name="T30" fmla="*/ 146 w 156"/>
                  <a:gd name="T31" fmla="*/ 130 h 228"/>
                  <a:gd name="T32" fmla="*/ 146 w 156"/>
                  <a:gd name="T33" fmla="*/ 135 h 228"/>
                  <a:gd name="T34" fmla="*/ 146 w 156"/>
                  <a:gd name="T35" fmla="*/ 103 h 228"/>
                  <a:gd name="T36" fmla="*/ 146 w 156"/>
                  <a:gd name="T37" fmla="*/ 105 h 228"/>
                  <a:gd name="T38" fmla="*/ 10 w 156"/>
                  <a:gd name="T39" fmla="*/ 105 h 228"/>
                  <a:gd name="T40" fmla="*/ 10 w 156"/>
                  <a:gd name="T41" fmla="*/ 103 h 228"/>
                  <a:gd name="T42" fmla="*/ 95 w 156"/>
                  <a:gd name="T43" fmla="*/ 103 h 228"/>
                  <a:gd name="T44" fmla="*/ 95 w 156"/>
                  <a:gd name="T45" fmla="*/ 98 h 228"/>
                  <a:gd name="T46" fmla="*/ 146 w 156"/>
                  <a:gd name="T47" fmla="*/ 98 h 228"/>
                  <a:gd name="T48" fmla="*/ 146 w 156"/>
                  <a:gd name="T49" fmla="*/ 103 h 228"/>
                  <a:gd name="T50" fmla="*/ 146 w 156"/>
                  <a:gd name="T51" fmla="*/ 72 h 228"/>
                  <a:gd name="T52" fmla="*/ 146 w 156"/>
                  <a:gd name="T53" fmla="*/ 73 h 228"/>
                  <a:gd name="T54" fmla="*/ 10 w 156"/>
                  <a:gd name="T55" fmla="*/ 73 h 228"/>
                  <a:gd name="T56" fmla="*/ 10 w 156"/>
                  <a:gd name="T57" fmla="*/ 72 h 228"/>
                  <a:gd name="T58" fmla="*/ 95 w 156"/>
                  <a:gd name="T59" fmla="*/ 72 h 228"/>
                  <a:gd name="T60" fmla="*/ 95 w 156"/>
                  <a:gd name="T61" fmla="*/ 67 h 228"/>
                  <a:gd name="T62" fmla="*/ 146 w 156"/>
                  <a:gd name="T63" fmla="*/ 67 h 228"/>
                  <a:gd name="T64" fmla="*/ 146 w 156"/>
                  <a:gd name="T65" fmla="*/ 72 h 228"/>
                  <a:gd name="T66" fmla="*/ 146 w 156"/>
                  <a:gd name="T67" fmla="*/ 40 h 228"/>
                  <a:gd name="T68" fmla="*/ 146 w 156"/>
                  <a:gd name="T69" fmla="*/ 42 h 228"/>
                  <a:gd name="T70" fmla="*/ 10 w 156"/>
                  <a:gd name="T71" fmla="*/ 42 h 228"/>
                  <a:gd name="T72" fmla="*/ 10 w 156"/>
                  <a:gd name="T73" fmla="*/ 40 h 228"/>
                  <a:gd name="T74" fmla="*/ 95 w 156"/>
                  <a:gd name="T75" fmla="*/ 40 h 228"/>
                  <a:gd name="T76" fmla="*/ 95 w 156"/>
                  <a:gd name="T77" fmla="*/ 35 h 228"/>
                  <a:gd name="T78" fmla="*/ 146 w 156"/>
                  <a:gd name="T79" fmla="*/ 35 h 228"/>
                  <a:gd name="T80" fmla="*/ 146 w 156"/>
                  <a:gd name="T81" fmla="*/ 40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56" h="228">
                    <a:moveTo>
                      <a:pt x="145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218"/>
                      <a:pt x="0" y="218"/>
                      <a:pt x="0" y="218"/>
                    </a:cubicBezTo>
                    <a:cubicBezTo>
                      <a:pt x="0" y="224"/>
                      <a:pt x="5" y="228"/>
                      <a:pt x="11" y="228"/>
                    </a:cubicBezTo>
                    <a:cubicBezTo>
                      <a:pt x="145" y="228"/>
                      <a:pt x="145" y="228"/>
                      <a:pt x="145" y="228"/>
                    </a:cubicBezTo>
                    <a:cubicBezTo>
                      <a:pt x="151" y="228"/>
                      <a:pt x="156" y="224"/>
                      <a:pt x="156" y="218"/>
                    </a:cubicBezTo>
                    <a:cubicBezTo>
                      <a:pt x="156" y="11"/>
                      <a:pt x="156" y="11"/>
                      <a:pt x="156" y="11"/>
                    </a:cubicBezTo>
                    <a:cubicBezTo>
                      <a:pt x="156" y="5"/>
                      <a:pt x="151" y="0"/>
                      <a:pt x="145" y="0"/>
                    </a:cubicBezTo>
                    <a:close/>
                    <a:moveTo>
                      <a:pt x="146" y="135"/>
                    </a:moveTo>
                    <a:cubicBezTo>
                      <a:pt x="146" y="137"/>
                      <a:pt x="146" y="137"/>
                      <a:pt x="146" y="137"/>
                    </a:cubicBezTo>
                    <a:cubicBezTo>
                      <a:pt x="10" y="137"/>
                      <a:pt x="10" y="137"/>
                      <a:pt x="10" y="137"/>
                    </a:cubicBezTo>
                    <a:cubicBezTo>
                      <a:pt x="10" y="135"/>
                      <a:pt x="10" y="135"/>
                      <a:pt x="10" y="135"/>
                    </a:cubicBezTo>
                    <a:cubicBezTo>
                      <a:pt x="95" y="135"/>
                      <a:pt x="95" y="135"/>
                      <a:pt x="95" y="135"/>
                    </a:cubicBezTo>
                    <a:cubicBezTo>
                      <a:pt x="95" y="130"/>
                      <a:pt x="95" y="130"/>
                      <a:pt x="95" y="130"/>
                    </a:cubicBezTo>
                    <a:cubicBezTo>
                      <a:pt x="146" y="130"/>
                      <a:pt x="146" y="130"/>
                      <a:pt x="146" y="130"/>
                    </a:cubicBezTo>
                    <a:lnTo>
                      <a:pt x="146" y="135"/>
                    </a:lnTo>
                    <a:close/>
                    <a:moveTo>
                      <a:pt x="146" y="103"/>
                    </a:moveTo>
                    <a:cubicBezTo>
                      <a:pt x="146" y="105"/>
                      <a:pt x="146" y="105"/>
                      <a:pt x="146" y="105"/>
                    </a:cubicBezTo>
                    <a:cubicBezTo>
                      <a:pt x="10" y="105"/>
                      <a:pt x="10" y="105"/>
                      <a:pt x="10" y="105"/>
                    </a:cubicBezTo>
                    <a:cubicBezTo>
                      <a:pt x="10" y="103"/>
                      <a:pt x="10" y="103"/>
                      <a:pt x="10" y="103"/>
                    </a:cubicBezTo>
                    <a:cubicBezTo>
                      <a:pt x="95" y="103"/>
                      <a:pt x="95" y="103"/>
                      <a:pt x="95" y="103"/>
                    </a:cubicBezTo>
                    <a:cubicBezTo>
                      <a:pt x="95" y="98"/>
                      <a:pt x="95" y="98"/>
                      <a:pt x="95" y="98"/>
                    </a:cubicBezTo>
                    <a:cubicBezTo>
                      <a:pt x="146" y="98"/>
                      <a:pt x="146" y="98"/>
                      <a:pt x="146" y="98"/>
                    </a:cubicBezTo>
                    <a:lnTo>
                      <a:pt x="146" y="103"/>
                    </a:lnTo>
                    <a:close/>
                    <a:moveTo>
                      <a:pt x="146" y="72"/>
                    </a:moveTo>
                    <a:cubicBezTo>
                      <a:pt x="146" y="73"/>
                      <a:pt x="146" y="73"/>
                      <a:pt x="146" y="73"/>
                    </a:cubicBezTo>
                    <a:cubicBezTo>
                      <a:pt x="10" y="73"/>
                      <a:pt x="10" y="73"/>
                      <a:pt x="10" y="73"/>
                    </a:cubicBezTo>
                    <a:cubicBezTo>
                      <a:pt x="10" y="72"/>
                      <a:pt x="10" y="72"/>
                      <a:pt x="10" y="72"/>
                    </a:cubicBezTo>
                    <a:cubicBezTo>
                      <a:pt x="95" y="72"/>
                      <a:pt x="95" y="72"/>
                      <a:pt x="95" y="72"/>
                    </a:cubicBezTo>
                    <a:cubicBezTo>
                      <a:pt x="95" y="67"/>
                      <a:pt x="95" y="67"/>
                      <a:pt x="95" y="67"/>
                    </a:cubicBezTo>
                    <a:cubicBezTo>
                      <a:pt x="146" y="67"/>
                      <a:pt x="146" y="67"/>
                      <a:pt x="146" y="67"/>
                    </a:cubicBezTo>
                    <a:lnTo>
                      <a:pt x="146" y="72"/>
                    </a:lnTo>
                    <a:close/>
                    <a:moveTo>
                      <a:pt x="146" y="40"/>
                    </a:moveTo>
                    <a:cubicBezTo>
                      <a:pt x="146" y="42"/>
                      <a:pt x="146" y="42"/>
                      <a:pt x="146" y="42"/>
                    </a:cubicBezTo>
                    <a:cubicBezTo>
                      <a:pt x="10" y="42"/>
                      <a:pt x="10" y="42"/>
                      <a:pt x="10" y="42"/>
                    </a:cubicBezTo>
                    <a:cubicBezTo>
                      <a:pt x="10" y="40"/>
                      <a:pt x="10" y="40"/>
                      <a:pt x="10" y="40"/>
                    </a:cubicBezTo>
                    <a:cubicBezTo>
                      <a:pt x="95" y="40"/>
                      <a:pt x="95" y="40"/>
                      <a:pt x="95" y="40"/>
                    </a:cubicBezTo>
                    <a:cubicBezTo>
                      <a:pt x="95" y="35"/>
                      <a:pt x="95" y="35"/>
                      <a:pt x="95" y="35"/>
                    </a:cubicBezTo>
                    <a:cubicBezTo>
                      <a:pt x="146" y="35"/>
                      <a:pt x="146" y="35"/>
                      <a:pt x="146" y="35"/>
                    </a:cubicBezTo>
                    <a:lnTo>
                      <a:pt x="146" y="4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30000"/>
                </a:schemeClr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defTabSz="45677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236" name="Freeform 31"/>
              <p:cNvSpPr>
                <a:spLocks noEditPoints="1"/>
              </p:cNvSpPr>
              <p:nvPr/>
            </p:nvSpPr>
            <p:spPr bwMode="auto">
              <a:xfrm>
                <a:off x="4822958" y="941215"/>
                <a:ext cx="101751" cy="230314"/>
              </a:xfrm>
              <a:custGeom>
                <a:avLst/>
                <a:gdLst>
                  <a:gd name="T0" fmla="*/ 145 w 156"/>
                  <a:gd name="T1" fmla="*/ 0 h 228"/>
                  <a:gd name="T2" fmla="*/ 11 w 156"/>
                  <a:gd name="T3" fmla="*/ 0 h 228"/>
                  <a:gd name="T4" fmla="*/ 0 w 156"/>
                  <a:gd name="T5" fmla="*/ 11 h 228"/>
                  <a:gd name="T6" fmla="*/ 0 w 156"/>
                  <a:gd name="T7" fmla="*/ 218 h 228"/>
                  <a:gd name="T8" fmla="*/ 11 w 156"/>
                  <a:gd name="T9" fmla="*/ 228 h 228"/>
                  <a:gd name="T10" fmla="*/ 145 w 156"/>
                  <a:gd name="T11" fmla="*/ 228 h 228"/>
                  <a:gd name="T12" fmla="*/ 156 w 156"/>
                  <a:gd name="T13" fmla="*/ 218 h 228"/>
                  <a:gd name="T14" fmla="*/ 156 w 156"/>
                  <a:gd name="T15" fmla="*/ 11 h 228"/>
                  <a:gd name="T16" fmla="*/ 145 w 156"/>
                  <a:gd name="T17" fmla="*/ 0 h 228"/>
                  <a:gd name="T18" fmla="*/ 146 w 156"/>
                  <a:gd name="T19" fmla="*/ 135 h 228"/>
                  <a:gd name="T20" fmla="*/ 146 w 156"/>
                  <a:gd name="T21" fmla="*/ 137 h 228"/>
                  <a:gd name="T22" fmla="*/ 10 w 156"/>
                  <a:gd name="T23" fmla="*/ 137 h 228"/>
                  <a:gd name="T24" fmla="*/ 10 w 156"/>
                  <a:gd name="T25" fmla="*/ 135 h 228"/>
                  <a:gd name="T26" fmla="*/ 95 w 156"/>
                  <a:gd name="T27" fmla="*/ 135 h 228"/>
                  <a:gd name="T28" fmla="*/ 95 w 156"/>
                  <a:gd name="T29" fmla="*/ 130 h 228"/>
                  <a:gd name="T30" fmla="*/ 146 w 156"/>
                  <a:gd name="T31" fmla="*/ 130 h 228"/>
                  <a:gd name="T32" fmla="*/ 146 w 156"/>
                  <a:gd name="T33" fmla="*/ 135 h 228"/>
                  <a:gd name="T34" fmla="*/ 146 w 156"/>
                  <a:gd name="T35" fmla="*/ 103 h 228"/>
                  <a:gd name="T36" fmla="*/ 146 w 156"/>
                  <a:gd name="T37" fmla="*/ 105 h 228"/>
                  <a:gd name="T38" fmla="*/ 10 w 156"/>
                  <a:gd name="T39" fmla="*/ 105 h 228"/>
                  <a:gd name="T40" fmla="*/ 10 w 156"/>
                  <a:gd name="T41" fmla="*/ 103 h 228"/>
                  <a:gd name="T42" fmla="*/ 95 w 156"/>
                  <a:gd name="T43" fmla="*/ 103 h 228"/>
                  <a:gd name="T44" fmla="*/ 95 w 156"/>
                  <a:gd name="T45" fmla="*/ 98 h 228"/>
                  <a:gd name="T46" fmla="*/ 146 w 156"/>
                  <a:gd name="T47" fmla="*/ 98 h 228"/>
                  <a:gd name="T48" fmla="*/ 146 w 156"/>
                  <a:gd name="T49" fmla="*/ 103 h 228"/>
                  <a:gd name="T50" fmla="*/ 146 w 156"/>
                  <a:gd name="T51" fmla="*/ 72 h 228"/>
                  <a:gd name="T52" fmla="*/ 146 w 156"/>
                  <a:gd name="T53" fmla="*/ 73 h 228"/>
                  <a:gd name="T54" fmla="*/ 10 w 156"/>
                  <a:gd name="T55" fmla="*/ 73 h 228"/>
                  <a:gd name="T56" fmla="*/ 10 w 156"/>
                  <a:gd name="T57" fmla="*/ 72 h 228"/>
                  <a:gd name="T58" fmla="*/ 95 w 156"/>
                  <a:gd name="T59" fmla="*/ 72 h 228"/>
                  <a:gd name="T60" fmla="*/ 95 w 156"/>
                  <a:gd name="T61" fmla="*/ 67 h 228"/>
                  <a:gd name="T62" fmla="*/ 146 w 156"/>
                  <a:gd name="T63" fmla="*/ 67 h 228"/>
                  <a:gd name="T64" fmla="*/ 146 w 156"/>
                  <a:gd name="T65" fmla="*/ 72 h 228"/>
                  <a:gd name="T66" fmla="*/ 146 w 156"/>
                  <a:gd name="T67" fmla="*/ 40 h 228"/>
                  <a:gd name="T68" fmla="*/ 146 w 156"/>
                  <a:gd name="T69" fmla="*/ 42 h 228"/>
                  <a:gd name="T70" fmla="*/ 10 w 156"/>
                  <a:gd name="T71" fmla="*/ 42 h 228"/>
                  <a:gd name="T72" fmla="*/ 10 w 156"/>
                  <a:gd name="T73" fmla="*/ 40 h 228"/>
                  <a:gd name="T74" fmla="*/ 95 w 156"/>
                  <a:gd name="T75" fmla="*/ 40 h 228"/>
                  <a:gd name="T76" fmla="*/ 95 w 156"/>
                  <a:gd name="T77" fmla="*/ 35 h 228"/>
                  <a:gd name="T78" fmla="*/ 146 w 156"/>
                  <a:gd name="T79" fmla="*/ 35 h 228"/>
                  <a:gd name="T80" fmla="*/ 146 w 156"/>
                  <a:gd name="T81" fmla="*/ 40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56" h="228">
                    <a:moveTo>
                      <a:pt x="145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218"/>
                      <a:pt x="0" y="218"/>
                      <a:pt x="0" y="218"/>
                    </a:cubicBezTo>
                    <a:cubicBezTo>
                      <a:pt x="0" y="224"/>
                      <a:pt x="5" y="228"/>
                      <a:pt x="11" y="228"/>
                    </a:cubicBezTo>
                    <a:cubicBezTo>
                      <a:pt x="145" y="228"/>
                      <a:pt x="145" y="228"/>
                      <a:pt x="145" y="228"/>
                    </a:cubicBezTo>
                    <a:cubicBezTo>
                      <a:pt x="151" y="228"/>
                      <a:pt x="156" y="224"/>
                      <a:pt x="156" y="218"/>
                    </a:cubicBezTo>
                    <a:cubicBezTo>
                      <a:pt x="156" y="11"/>
                      <a:pt x="156" y="11"/>
                      <a:pt x="156" y="11"/>
                    </a:cubicBezTo>
                    <a:cubicBezTo>
                      <a:pt x="156" y="5"/>
                      <a:pt x="151" y="0"/>
                      <a:pt x="145" y="0"/>
                    </a:cubicBezTo>
                    <a:close/>
                    <a:moveTo>
                      <a:pt x="146" y="135"/>
                    </a:moveTo>
                    <a:cubicBezTo>
                      <a:pt x="146" y="137"/>
                      <a:pt x="146" y="137"/>
                      <a:pt x="146" y="137"/>
                    </a:cubicBezTo>
                    <a:cubicBezTo>
                      <a:pt x="10" y="137"/>
                      <a:pt x="10" y="137"/>
                      <a:pt x="10" y="137"/>
                    </a:cubicBezTo>
                    <a:cubicBezTo>
                      <a:pt x="10" y="135"/>
                      <a:pt x="10" y="135"/>
                      <a:pt x="10" y="135"/>
                    </a:cubicBezTo>
                    <a:cubicBezTo>
                      <a:pt x="95" y="135"/>
                      <a:pt x="95" y="135"/>
                      <a:pt x="95" y="135"/>
                    </a:cubicBezTo>
                    <a:cubicBezTo>
                      <a:pt x="95" y="130"/>
                      <a:pt x="95" y="130"/>
                      <a:pt x="95" y="130"/>
                    </a:cubicBezTo>
                    <a:cubicBezTo>
                      <a:pt x="146" y="130"/>
                      <a:pt x="146" y="130"/>
                      <a:pt x="146" y="130"/>
                    </a:cubicBezTo>
                    <a:lnTo>
                      <a:pt x="146" y="135"/>
                    </a:lnTo>
                    <a:close/>
                    <a:moveTo>
                      <a:pt x="146" y="103"/>
                    </a:moveTo>
                    <a:cubicBezTo>
                      <a:pt x="146" y="105"/>
                      <a:pt x="146" y="105"/>
                      <a:pt x="146" y="105"/>
                    </a:cubicBezTo>
                    <a:cubicBezTo>
                      <a:pt x="10" y="105"/>
                      <a:pt x="10" y="105"/>
                      <a:pt x="10" y="105"/>
                    </a:cubicBezTo>
                    <a:cubicBezTo>
                      <a:pt x="10" y="103"/>
                      <a:pt x="10" y="103"/>
                      <a:pt x="10" y="103"/>
                    </a:cubicBezTo>
                    <a:cubicBezTo>
                      <a:pt x="95" y="103"/>
                      <a:pt x="95" y="103"/>
                      <a:pt x="95" y="103"/>
                    </a:cubicBezTo>
                    <a:cubicBezTo>
                      <a:pt x="95" y="98"/>
                      <a:pt x="95" y="98"/>
                      <a:pt x="95" y="98"/>
                    </a:cubicBezTo>
                    <a:cubicBezTo>
                      <a:pt x="146" y="98"/>
                      <a:pt x="146" y="98"/>
                      <a:pt x="146" y="98"/>
                    </a:cubicBezTo>
                    <a:lnTo>
                      <a:pt x="146" y="103"/>
                    </a:lnTo>
                    <a:close/>
                    <a:moveTo>
                      <a:pt x="146" y="72"/>
                    </a:moveTo>
                    <a:cubicBezTo>
                      <a:pt x="146" y="73"/>
                      <a:pt x="146" y="73"/>
                      <a:pt x="146" y="73"/>
                    </a:cubicBezTo>
                    <a:cubicBezTo>
                      <a:pt x="10" y="73"/>
                      <a:pt x="10" y="73"/>
                      <a:pt x="10" y="73"/>
                    </a:cubicBezTo>
                    <a:cubicBezTo>
                      <a:pt x="10" y="72"/>
                      <a:pt x="10" y="72"/>
                      <a:pt x="10" y="72"/>
                    </a:cubicBezTo>
                    <a:cubicBezTo>
                      <a:pt x="95" y="72"/>
                      <a:pt x="95" y="72"/>
                      <a:pt x="95" y="72"/>
                    </a:cubicBezTo>
                    <a:cubicBezTo>
                      <a:pt x="95" y="67"/>
                      <a:pt x="95" y="67"/>
                      <a:pt x="95" y="67"/>
                    </a:cubicBezTo>
                    <a:cubicBezTo>
                      <a:pt x="146" y="67"/>
                      <a:pt x="146" y="67"/>
                      <a:pt x="146" y="67"/>
                    </a:cubicBezTo>
                    <a:lnTo>
                      <a:pt x="146" y="72"/>
                    </a:lnTo>
                    <a:close/>
                    <a:moveTo>
                      <a:pt x="146" y="40"/>
                    </a:moveTo>
                    <a:cubicBezTo>
                      <a:pt x="146" y="42"/>
                      <a:pt x="146" y="42"/>
                      <a:pt x="146" y="42"/>
                    </a:cubicBezTo>
                    <a:cubicBezTo>
                      <a:pt x="10" y="42"/>
                      <a:pt x="10" y="42"/>
                      <a:pt x="10" y="42"/>
                    </a:cubicBezTo>
                    <a:cubicBezTo>
                      <a:pt x="10" y="40"/>
                      <a:pt x="10" y="40"/>
                      <a:pt x="10" y="40"/>
                    </a:cubicBezTo>
                    <a:cubicBezTo>
                      <a:pt x="95" y="40"/>
                      <a:pt x="95" y="40"/>
                      <a:pt x="95" y="40"/>
                    </a:cubicBezTo>
                    <a:cubicBezTo>
                      <a:pt x="95" y="35"/>
                      <a:pt x="95" y="35"/>
                      <a:pt x="95" y="35"/>
                    </a:cubicBezTo>
                    <a:cubicBezTo>
                      <a:pt x="146" y="35"/>
                      <a:pt x="146" y="35"/>
                      <a:pt x="146" y="35"/>
                    </a:cubicBezTo>
                    <a:lnTo>
                      <a:pt x="146" y="4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30000"/>
                </a:schemeClr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defTabSz="45677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37" name="Group 236"/>
            <p:cNvGrpSpPr>
              <a:grpSpLocks noChangeAspect="1"/>
            </p:cNvGrpSpPr>
            <p:nvPr userDrawn="1"/>
          </p:nvGrpSpPr>
          <p:grpSpPr>
            <a:xfrm>
              <a:off x="2806424" y="3306515"/>
              <a:ext cx="128016" cy="77910"/>
              <a:chOff x="2938971" y="2976976"/>
              <a:chExt cx="315059" cy="191742"/>
            </a:xfrm>
            <a:solidFill>
              <a:schemeClr val="bg1">
                <a:lumMod val="85000"/>
                <a:alpha val="30000"/>
              </a:schemeClr>
            </a:solidFill>
          </p:grpSpPr>
          <p:sp>
            <p:nvSpPr>
              <p:cNvPr id="238" name="Freeform 237"/>
              <p:cNvSpPr>
                <a:spLocks/>
              </p:cNvSpPr>
              <p:nvPr/>
            </p:nvSpPr>
            <p:spPr bwMode="auto">
              <a:xfrm>
                <a:off x="2966804" y="2992246"/>
                <a:ext cx="129889" cy="106115"/>
              </a:xfrm>
              <a:custGeom>
                <a:avLst/>
                <a:gdLst>
                  <a:gd name="T0" fmla="*/ 276 w 283"/>
                  <a:gd name="T1" fmla="*/ 210 h 231"/>
                  <a:gd name="T2" fmla="*/ 45 w 283"/>
                  <a:gd name="T3" fmla="*/ 210 h 231"/>
                  <a:gd name="T4" fmla="*/ 26 w 283"/>
                  <a:gd name="T5" fmla="*/ 191 h 231"/>
                  <a:gd name="T6" fmla="*/ 26 w 283"/>
                  <a:gd name="T7" fmla="*/ 42 h 231"/>
                  <a:gd name="T8" fmla="*/ 45 w 283"/>
                  <a:gd name="T9" fmla="*/ 22 h 231"/>
                  <a:gd name="T10" fmla="*/ 265 w 283"/>
                  <a:gd name="T11" fmla="*/ 22 h 231"/>
                  <a:gd name="T12" fmla="*/ 265 w 283"/>
                  <a:gd name="T13" fmla="*/ 0 h 231"/>
                  <a:gd name="T14" fmla="*/ 27 w 283"/>
                  <a:gd name="T15" fmla="*/ 0 h 231"/>
                  <a:gd name="T16" fmla="*/ 0 w 283"/>
                  <a:gd name="T17" fmla="*/ 26 h 231"/>
                  <a:gd name="T18" fmla="*/ 0 w 283"/>
                  <a:gd name="T19" fmla="*/ 231 h 231"/>
                  <a:gd name="T20" fmla="*/ 283 w 283"/>
                  <a:gd name="T21" fmla="*/ 231 h 231"/>
                  <a:gd name="T22" fmla="*/ 276 w 283"/>
                  <a:gd name="T23" fmla="*/ 210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3" h="231">
                    <a:moveTo>
                      <a:pt x="276" y="210"/>
                    </a:moveTo>
                    <a:cubicBezTo>
                      <a:pt x="45" y="210"/>
                      <a:pt x="45" y="210"/>
                      <a:pt x="45" y="210"/>
                    </a:cubicBezTo>
                    <a:cubicBezTo>
                      <a:pt x="34" y="210"/>
                      <a:pt x="26" y="201"/>
                      <a:pt x="26" y="191"/>
                    </a:cubicBezTo>
                    <a:cubicBezTo>
                      <a:pt x="26" y="42"/>
                      <a:pt x="26" y="42"/>
                      <a:pt x="26" y="42"/>
                    </a:cubicBezTo>
                    <a:cubicBezTo>
                      <a:pt x="26" y="31"/>
                      <a:pt x="34" y="22"/>
                      <a:pt x="45" y="22"/>
                    </a:cubicBezTo>
                    <a:cubicBezTo>
                      <a:pt x="265" y="22"/>
                      <a:pt x="265" y="22"/>
                      <a:pt x="265" y="22"/>
                    </a:cubicBezTo>
                    <a:cubicBezTo>
                      <a:pt x="265" y="0"/>
                      <a:pt x="265" y="0"/>
                      <a:pt x="265" y="0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12" y="0"/>
                      <a:pt x="0" y="11"/>
                      <a:pt x="0" y="26"/>
                    </a:cubicBezTo>
                    <a:cubicBezTo>
                      <a:pt x="0" y="231"/>
                      <a:pt x="0" y="231"/>
                      <a:pt x="0" y="231"/>
                    </a:cubicBezTo>
                    <a:cubicBezTo>
                      <a:pt x="283" y="231"/>
                      <a:pt x="283" y="231"/>
                      <a:pt x="283" y="231"/>
                    </a:cubicBezTo>
                    <a:cubicBezTo>
                      <a:pt x="280" y="224"/>
                      <a:pt x="278" y="217"/>
                      <a:pt x="276" y="21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239" name="Freeform 238"/>
              <p:cNvSpPr>
                <a:spLocks/>
              </p:cNvSpPr>
              <p:nvPr/>
            </p:nvSpPr>
            <p:spPr bwMode="auto">
              <a:xfrm>
                <a:off x="2938971" y="3105899"/>
                <a:ext cx="191162" cy="43103"/>
              </a:xfrm>
              <a:custGeom>
                <a:avLst/>
                <a:gdLst>
                  <a:gd name="T0" fmla="*/ 351 w 417"/>
                  <a:gd name="T1" fmla="*/ 0 h 94"/>
                  <a:gd name="T2" fmla="*/ 60 w 417"/>
                  <a:gd name="T3" fmla="*/ 0 h 94"/>
                  <a:gd name="T4" fmla="*/ 0 w 417"/>
                  <a:gd name="T5" fmla="*/ 94 h 94"/>
                  <a:gd name="T6" fmla="*/ 417 w 417"/>
                  <a:gd name="T7" fmla="*/ 94 h 94"/>
                  <a:gd name="T8" fmla="*/ 351 w 417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7" h="94">
                    <a:moveTo>
                      <a:pt x="351" y="0"/>
                    </a:moveTo>
                    <a:cubicBezTo>
                      <a:pt x="60" y="0"/>
                      <a:pt x="60" y="0"/>
                      <a:pt x="60" y="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417" y="94"/>
                      <a:pt x="417" y="94"/>
                      <a:pt x="417" y="94"/>
                    </a:cubicBezTo>
                    <a:cubicBezTo>
                      <a:pt x="389" y="67"/>
                      <a:pt x="366" y="35"/>
                      <a:pt x="35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240" name="Freeform 239"/>
              <p:cNvSpPr>
                <a:spLocks noEditPoints="1"/>
              </p:cNvSpPr>
              <p:nvPr/>
            </p:nvSpPr>
            <p:spPr bwMode="auto">
              <a:xfrm>
                <a:off x="3096693" y="2976976"/>
                <a:ext cx="157337" cy="191742"/>
              </a:xfrm>
              <a:custGeom>
                <a:avLst/>
                <a:gdLst>
                  <a:gd name="T0" fmla="*/ 280 w 343"/>
                  <a:gd name="T1" fmla="*/ 25 h 417"/>
                  <a:gd name="T2" fmla="*/ 280 w 343"/>
                  <a:gd name="T3" fmla="*/ 48 h 417"/>
                  <a:gd name="T4" fmla="*/ 211 w 343"/>
                  <a:gd name="T5" fmla="*/ 32 h 417"/>
                  <a:gd name="T6" fmla="*/ 211 w 343"/>
                  <a:gd name="T7" fmla="*/ 9 h 417"/>
                  <a:gd name="T8" fmla="*/ 172 w 343"/>
                  <a:gd name="T9" fmla="*/ 0 h 417"/>
                  <a:gd name="T10" fmla="*/ 132 w 343"/>
                  <a:gd name="T11" fmla="*/ 9 h 417"/>
                  <a:gd name="T12" fmla="*/ 132 w 343"/>
                  <a:gd name="T13" fmla="*/ 32 h 417"/>
                  <a:gd name="T14" fmla="*/ 63 w 343"/>
                  <a:gd name="T15" fmla="*/ 48 h 417"/>
                  <a:gd name="T16" fmla="*/ 63 w 343"/>
                  <a:gd name="T17" fmla="*/ 25 h 417"/>
                  <a:gd name="T18" fmla="*/ 0 w 343"/>
                  <a:gd name="T19" fmla="*/ 39 h 417"/>
                  <a:gd name="T20" fmla="*/ 0 w 343"/>
                  <a:gd name="T21" fmla="*/ 163 h 417"/>
                  <a:gd name="T22" fmla="*/ 172 w 343"/>
                  <a:gd name="T23" fmla="*/ 417 h 417"/>
                  <a:gd name="T24" fmla="*/ 343 w 343"/>
                  <a:gd name="T25" fmla="*/ 163 h 417"/>
                  <a:gd name="T26" fmla="*/ 343 w 343"/>
                  <a:gd name="T27" fmla="*/ 39 h 417"/>
                  <a:gd name="T28" fmla="*/ 280 w 343"/>
                  <a:gd name="T29" fmla="*/ 25 h 417"/>
                  <a:gd name="T30" fmla="*/ 52 w 343"/>
                  <a:gd name="T31" fmla="*/ 209 h 417"/>
                  <a:gd name="T32" fmla="*/ 47 w 343"/>
                  <a:gd name="T33" fmla="*/ 163 h 417"/>
                  <a:gd name="T34" fmla="*/ 47 w 343"/>
                  <a:gd name="T35" fmla="*/ 101 h 417"/>
                  <a:gd name="T36" fmla="*/ 172 w 343"/>
                  <a:gd name="T37" fmla="*/ 72 h 417"/>
                  <a:gd name="T38" fmla="*/ 283 w 343"/>
                  <a:gd name="T39" fmla="*/ 98 h 417"/>
                  <a:gd name="T40" fmla="*/ 89 w 343"/>
                  <a:gd name="T41" fmla="*/ 293 h 417"/>
                  <a:gd name="T42" fmla="*/ 52 w 343"/>
                  <a:gd name="T43" fmla="*/ 209 h 417"/>
                  <a:gd name="T44" fmla="*/ 296 w 343"/>
                  <a:gd name="T45" fmla="*/ 163 h 417"/>
                  <a:gd name="T46" fmla="*/ 291 w 343"/>
                  <a:gd name="T47" fmla="*/ 209 h 417"/>
                  <a:gd name="T48" fmla="*/ 172 w 343"/>
                  <a:gd name="T49" fmla="*/ 365 h 417"/>
                  <a:gd name="T50" fmla="*/ 106 w 343"/>
                  <a:gd name="T51" fmla="*/ 315 h 417"/>
                  <a:gd name="T52" fmla="*/ 296 w 343"/>
                  <a:gd name="T53" fmla="*/ 125 h 417"/>
                  <a:gd name="T54" fmla="*/ 296 w 343"/>
                  <a:gd name="T55" fmla="*/ 163 h 4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43" h="417">
                    <a:moveTo>
                      <a:pt x="280" y="25"/>
                    </a:moveTo>
                    <a:cubicBezTo>
                      <a:pt x="280" y="48"/>
                      <a:pt x="280" y="48"/>
                      <a:pt x="280" y="48"/>
                    </a:cubicBezTo>
                    <a:cubicBezTo>
                      <a:pt x="211" y="32"/>
                      <a:pt x="211" y="32"/>
                      <a:pt x="211" y="32"/>
                    </a:cubicBezTo>
                    <a:cubicBezTo>
                      <a:pt x="211" y="9"/>
                      <a:pt x="211" y="9"/>
                      <a:pt x="211" y="9"/>
                    </a:cubicBezTo>
                    <a:cubicBezTo>
                      <a:pt x="172" y="0"/>
                      <a:pt x="172" y="0"/>
                      <a:pt x="172" y="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2" y="32"/>
                      <a:pt x="132" y="32"/>
                      <a:pt x="132" y="32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25"/>
                      <a:pt x="63" y="25"/>
                      <a:pt x="63" y="25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163"/>
                      <a:pt x="0" y="163"/>
                      <a:pt x="0" y="163"/>
                    </a:cubicBezTo>
                    <a:cubicBezTo>
                      <a:pt x="0" y="278"/>
                      <a:pt x="71" y="376"/>
                      <a:pt x="172" y="417"/>
                    </a:cubicBezTo>
                    <a:cubicBezTo>
                      <a:pt x="272" y="376"/>
                      <a:pt x="343" y="278"/>
                      <a:pt x="343" y="163"/>
                    </a:cubicBezTo>
                    <a:cubicBezTo>
                      <a:pt x="343" y="39"/>
                      <a:pt x="343" y="39"/>
                      <a:pt x="343" y="39"/>
                    </a:cubicBezTo>
                    <a:lnTo>
                      <a:pt x="280" y="25"/>
                    </a:lnTo>
                    <a:close/>
                    <a:moveTo>
                      <a:pt x="52" y="209"/>
                    </a:moveTo>
                    <a:cubicBezTo>
                      <a:pt x="48" y="194"/>
                      <a:pt x="47" y="179"/>
                      <a:pt x="47" y="163"/>
                    </a:cubicBezTo>
                    <a:cubicBezTo>
                      <a:pt x="47" y="101"/>
                      <a:pt x="47" y="101"/>
                      <a:pt x="47" y="101"/>
                    </a:cubicBezTo>
                    <a:cubicBezTo>
                      <a:pt x="47" y="101"/>
                      <a:pt x="47" y="101"/>
                      <a:pt x="172" y="72"/>
                    </a:cubicBezTo>
                    <a:cubicBezTo>
                      <a:pt x="238" y="88"/>
                      <a:pt x="269" y="95"/>
                      <a:pt x="283" y="98"/>
                    </a:cubicBezTo>
                    <a:cubicBezTo>
                      <a:pt x="89" y="293"/>
                      <a:pt x="89" y="293"/>
                      <a:pt x="89" y="293"/>
                    </a:cubicBezTo>
                    <a:cubicBezTo>
                      <a:pt x="71" y="268"/>
                      <a:pt x="58" y="239"/>
                      <a:pt x="52" y="209"/>
                    </a:cubicBezTo>
                    <a:close/>
                    <a:moveTo>
                      <a:pt x="296" y="163"/>
                    </a:moveTo>
                    <a:cubicBezTo>
                      <a:pt x="296" y="179"/>
                      <a:pt x="295" y="194"/>
                      <a:pt x="291" y="209"/>
                    </a:cubicBezTo>
                    <a:cubicBezTo>
                      <a:pt x="278" y="275"/>
                      <a:pt x="233" y="333"/>
                      <a:pt x="172" y="365"/>
                    </a:cubicBezTo>
                    <a:cubicBezTo>
                      <a:pt x="147" y="352"/>
                      <a:pt x="125" y="335"/>
                      <a:pt x="106" y="315"/>
                    </a:cubicBezTo>
                    <a:cubicBezTo>
                      <a:pt x="296" y="125"/>
                      <a:pt x="296" y="125"/>
                      <a:pt x="296" y="125"/>
                    </a:cubicBezTo>
                    <a:lnTo>
                      <a:pt x="296" y="163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676767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41" name="Group 240"/>
            <p:cNvGrpSpPr>
              <a:grpSpLocks noChangeAspect="1"/>
            </p:cNvGrpSpPr>
            <p:nvPr userDrawn="1"/>
          </p:nvGrpSpPr>
          <p:grpSpPr>
            <a:xfrm>
              <a:off x="5927115" y="2700908"/>
              <a:ext cx="128016" cy="128016"/>
              <a:chOff x="6484382" y="1810174"/>
              <a:chExt cx="278397" cy="278397"/>
            </a:xfrm>
            <a:solidFill>
              <a:schemeClr val="bg1">
                <a:lumMod val="85000"/>
                <a:alpha val="30000"/>
              </a:schemeClr>
            </a:solidFill>
          </p:grpSpPr>
          <p:sp>
            <p:nvSpPr>
              <p:cNvPr id="242" name="Freeform 122"/>
              <p:cNvSpPr>
                <a:spLocks noEditPoints="1"/>
              </p:cNvSpPr>
              <p:nvPr/>
            </p:nvSpPr>
            <p:spPr bwMode="auto">
              <a:xfrm>
                <a:off x="6574695" y="1975886"/>
                <a:ext cx="99428" cy="23200"/>
              </a:xfrm>
              <a:custGeom>
                <a:avLst/>
                <a:gdLst>
                  <a:gd name="T0" fmla="*/ 241 w 241"/>
                  <a:gd name="T1" fmla="*/ 19 h 55"/>
                  <a:gd name="T2" fmla="*/ 241 w 241"/>
                  <a:gd name="T3" fmla="*/ 19 h 55"/>
                  <a:gd name="T4" fmla="*/ 239 w 241"/>
                  <a:gd name="T5" fmla="*/ 12 h 55"/>
                  <a:gd name="T6" fmla="*/ 235 w 241"/>
                  <a:gd name="T7" fmla="*/ 6 h 55"/>
                  <a:gd name="T8" fmla="*/ 229 w 241"/>
                  <a:gd name="T9" fmla="*/ 1 h 55"/>
                  <a:gd name="T10" fmla="*/ 221 w 241"/>
                  <a:gd name="T11" fmla="*/ 0 h 55"/>
                  <a:gd name="T12" fmla="*/ 19 w 241"/>
                  <a:gd name="T13" fmla="*/ 0 h 55"/>
                  <a:gd name="T14" fmla="*/ 19 w 241"/>
                  <a:gd name="T15" fmla="*/ 0 h 55"/>
                  <a:gd name="T16" fmla="*/ 12 w 241"/>
                  <a:gd name="T17" fmla="*/ 1 h 55"/>
                  <a:gd name="T18" fmla="*/ 5 w 241"/>
                  <a:gd name="T19" fmla="*/ 6 h 55"/>
                  <a:gd name="T20" fmla="*/ 1 w 241"/>
                  <a:gd name="T21" fmla="*/ 12 h 55"/>
                  <a:gd name="T22" fmla="*/ 0 w 241"/>
                  <a:gd name="T23" fmla="*/ 19 h 55"/>
                  <a:gd name="T24" fmla="*/ 0 w 241"/>
                  <a:gd name="T25" fmla="*/ 35 h 55"/>
                  <a:gd name="T26" fmla="*/ 0 w 241"/>
                  <a:gd name="T27" fmla="*/ 35 h 55"/>
                  <a:gd name="T28" fmla="*/ 1 w 241"/>
                  <a:gd name="T29" fmla="*/ 43 h 55"/>
                  <a:gd name="T30" fmla="*/ 5 w 241"/>
                  <a:gd name="T31" fmla="*/ 49 h 55"/>
                  <a:gd name="T32" fmla="*/ 12 w 241"/>
                  <a:gd name="T33" fmla="*/ 54 h 55"/>
                  <a:gd name="T34" fmla="*/ 19 w 241"/>
                  <a:gd name="T35" fmla="*/ 55 h 55"/>
                  <a:gd name="T36" fmla="*/ 221 w 241"/>
                  <a:gd name="T37" fmla="*/ 55 h 55"/>
                  <a:gd name="T38" fmla="*/ 221 w 241"/>
                  <a:gd name="T39" fmla="*/ 55 h 55"/>
                  <a:gd name="T40" fmla="*/ 229 w 241"/>
                  <a:gd name="T41" fmla="*/ 54 h 55"/>
                  <a:gd name="T42" fmla="*/ 235 w 241"/>
                  <a:gd name="T43" fmla="*/ 49 h 55"/>
                  <a:gd name="T44" fmla="*/ 239 w 241"/>
                  <a:gd name="T45" fmla="*/ 43 h 55"/>
                  <a:gd name="T46" fmla="*/ 241 w 241"/>
                  <a:gd name="T47" fmla="*/ 35 h 55"/>
                  <a:gd name="T48" fmla="*/ 241 w 241"/>
                  <a:gd name="T49" fmla="*/ 19 h 55"/>
                  <a:gd name="T50" fmla="*/ 213 w 241"/>
                  <a:gd name="T51" fmla="*/ 38 h 55"/>
                  <a:gd name="T52" fmla="*/ 119 w 241"/>
                  <a:gd name="T53" fmla="*/ 38 h 55"/>
                  <a:gd name="T54" fmla="*/ 119 w 241"/>
                  <a:gd name="T55" fmla="*/ 38 h 55"/>
                  <a:gd name="T56" fmla="*/ 115 w 241"/>
                  <a:gd name="T57" fmla="*/ 37 h 55"/>
                  <a:gd name="T58" fmla="*/ 111 w 241"/>
                  <a:gd name="T59" fmla="*/ 35 h 55"/>
                  <a:gd name="T60" fmla="*/ 109 w 241"/>
                  <a:gd name="T61" fmla="*/ 31 h 55"/>
                  <a:gd name="T62" fmla="*/ 108 w 241"/>
                  <a:gd name="T63" fmla="*/ 27 h 55"/>
                  <a:gd name="T64" fmla="*/ 108 w 241"/>
                  <a:gd name="T65" fmla="*/ 27 h 55"/>
                  <a:gd name="T66" fmla="*/ 109 w 241"/>
                  <a:gd name="T67" fmla="*/ 23 h 55"/>
                  <a:gd name="T68" fmla="*/ 111 w 241"/>
                  <a:gd name="T69" fmla="*/ 20 h 55"/>
                  <a:gd name="T70" fmla="*/ 115 w 241"/>
                  <a:gd name="T71" fmla="*/ 18 h 55"/>
                  <a:gd name="T72" fmla="*/ 119 w 241"/>
                  <a:gd name="T73" fmla="*/ 18 h 55"/>
                  <a:gd name="T74" fmla="*/ 213 w 241"/>
                  <a:gd name="T75" fmla="*/ 18 h 55"/>
                  <a:gd name="T76" fmla="*/ 213 w 241"/>
                  <a:gd name="T77" fmla="*/ 18 h 55"/>
                  <a:gd name="T78" fmla="*/ 217 w 241"/>
                  <a:gd name="T79" fmla="*/ 18 h 55"/>
                  <a:gd name="T80" fmla="*/ 220 w 241"/>
                  <a:gd name="T81" fmla="*/ 20 h 55"/>
                  <a:gd name="T82" fmla="*/ 223 w 241"/>
                  <a:gd name="T83" fmla="*/ 23 h 55"/>
                  <a:gd name="T84" fmla="*/ 223 w 241"/>
                  <a:gd name="T85" fmla="*/ 27 h 55"/>
                  <a:gd name="T86" fmla="*/ 223 w 241"/>
                  <a:gd name="T87" fmla="*/ 27 h 55"/>
                  <a:gd name="T88" fmla="*/ 223 w 241"/>
                  <a:gd name="T89" fmla="*/ 31 h 55"/>
                  <a:gd name="T90" fmla="*/ 220 w 241"/>
                  <a:gd name="T91" fmla="*/ 35 h 55"/>
                  <a:gd name="T92" fmla="*/ 217 w 241"/>
                  <a:gd name="T93" fmla="*/ 37 h 55"/>
                  <a:gd name="T94" fmla="*/ 213 w 241"/>
                  <a:gd name="T95" fmla="*/ 38 h 55"/>
                  <a:gd name="T96" fmla="*/ 213 w 241"/>
                  <a:gd name="T97" fmla="*/ 38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41" h="55">
                    <a:moveTo>
                      <a:pt x="241" y="19"/>
                    </a:moveTo>
                    <a:lnTo>
                      <a:pt x="241" y="19"/>
                    </a:lnTo>
                    <a:lnTo>
                      <a:pt x="239" y="12"/>
                    </a:lnTo>
                    <a:lnTo>
                      <a:pt x="235" y="6"/>
                    </a:lnTo>
                    <a:lnTo>
                      <a:pt x="229" y="1"/>
                    </a:lnTo>
                    <a:lnTo>
                      <a:pt x="221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2" y="1"/>
                    </a:lnTo>
                    <a:lnTo>
                      <a:pt x="5" y="6"/>
                    </a:lnTo>
                    <a:lnTo>
                      <a:pt x="1" y="12"/>
                    </a:lnTo>
                    <a:lnTo>
                      <a:pt x="0" y="19"/>
                    </a:lnTo>
                    <a:lnTo>
                      <a:pt x="0" y="35"/>
                    </a:lnTo>
                    <a:lnTo>
                      <a:pt x="0" y="35"/>
                    </a:lnTo>
                    <a:lnTo>
                      <a:pt x="1" y="43"/>
                    </a:lnTo>
                    <a:lnTo>
                      <a:pt x="5" y="49"/>
                    </a:lnTo>
                    <a:lnTo>
                      <a:pt x="12" y="54"/>
                    </a:lnTo>
                    <a:lnTo>
                      <a:pt x="19" y="55"/>
                    </a:lnTo>
                    <a:lnTo>
                      <a:pt x="221" y="55"/>
                    </a:lnTo>
                    <a:lnTo>
                      <a:pt x="221" y="55"/>
                    </a:lnTo>
                    <a:lnTo>
                      <a:pt x="229" y="54"/>
                    </a:lnTo>
                    <a:lnTo>
                      <a:pt x="235" y="49"/>
                    </a:lnTo>
                    <a:lnTo>
                      <a:pt x="239" y="43"/>
                    </a:lnTo>
                    <a:lnTo>
                      <a:pt x="241" y="35"/>
                    </a:lnTo>
                    <a:lnTo>
                      <a:pt x="241" y="19"/>
                    </a:lnTo>
                    <a:close/>
                    <a:moveTo>
                      <a:pt x="213" y="38"/>
                    </a:moveTo>
                    <a:lnTo>
                      <a:pt x="119" y="38"/>
                    </a:lnTo>
                    <a:lnTo>
                      <a:pt x="119" y="38"/>
                    </a:lnTo>
                    <a:lnTo>
                      <a:pt x="115" y="37"/>
                    </a:lnTo>
                    <a:lnTo>
                      <a:pt x="111" y="35"/>
                    </a:lnTo>
                    <a:lnTo>
                      <a:pt x="109" y="31"/>
                    </a:lnTo>
                    <a:lnTo>
                      <a:pt x="108" y="27"/>
                    </a:lnTo>
                    <a:lnTo>
                      <a:pt x="108" y="27"/>
                    </a:lnTo>
                    <a:lnTo>
                      <a:pt x="109" y="23"/>
                    </a:lnTo>
                    <a:lnTo>
                      <a:pt x="111" y="20"/>
                    </a:lnTo>
                    <a:lnTo>
                      <a:pt x="115" y="18"/>
                    </a:lnTo>
                    <a:lnTo>
                      <a:pt x="119" y="18"/>
                    </a:lnTo>
                    <a:lnTo>
                      <a:pt x="213" y="18"/>
                    </a:lnTo>
                    <a:lnTo>
                      <a:pt x="213" y="18"/>
                    </a:lnTo>
                    <a:lnTo>
                      <a:pt x="217" y="18"/>
                    </a:lnTo>
                    <a:lnTo>
                      <a:pt x="220" y="20"/>
                    </a:lnTo>
                    <a:lnTo>
                      <a:pt x="223" y="23"/>
                    </a:lnTo>
                    <a:lnTo>
                      <a:pt x="223" y="27"/>
                    </a:lnTo>
                    <a:lnTo>
                      <a:pt x="223" y="27"/>
                    </a:lnTo>
                    <a:lnTo>
                      <a:pt x="223" y="31"/>
                    </a:lnTo>
                    <a:lnTo>
                      <a:pt x="220" y="35"/>
                    </a:lnTo>
                    <a:lnTo>
                      <a:pt x="217" y="37"/>
                    </a:lnTo>
                    <a:lnTo>
                      <a:pt x="213" y="38"/>
                    </a:lnTo>
                    <a:lnTo>
                      <a:pt x="213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BF0E11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243" name="Freeform 123"/>
              <p:cNvSpPr>
                <a:spLocks noEditPoints="1"/>
              </p:cNvSpPr>
              <p:nvPr/>
            </p:nvSpPr>
            <p:spPr bwMode="auto">
              <a:xfrm>
                <a:off x="6574695" y="1898830"/>
                <a:ext cx="99428" cy="70428"/>
              </a:xfrm>
              <a:custGeom>
                <a:avLst/>
                <a:gdLst>
                  <a:gd name="T0" fmla="*/ 210 w 240"/>
                  <a:gd name="T1" fmla="*/ 170 h 170"/>
                  <a:gd name="T2" fmla="*/ 217 w 240"/>
                  <a:gd name="T3" fmla="*/ 170 h 170"/>
                  <a:gd name="T4" fmla="*/ 228 w 240"/>
                  <a:gd name="T5" fmla="*/ 165 h 170"/>
                  <a:gd name="T6" fmla="*/ 235 w 240"/>
                  <a:gd name="T7" fmla="*/ 156 h 170"/>
                  <a:gd name="T8" fmla="*/ 240 w 240"/>
                  <a:gd name="T9" fmla="*/ 147 h 170"/>
                  <a:gd name="T10" fmla="*/ 240 w 240"/>
                  <a:gd name="T11" fmla="*/ 30 h 170"/>
                  <a:gd name="T12" fmla="*/ 240 w 240"/>
                  <a:gd name="T13" fmla="*/ 23 h 170"/>
                  <a:gd name="T14" fmla="*/ 235 w 240"/>
                  <a:gd name="T15" fmla="*/ 14 h 170"/>
                  <a:gd name="T16" fmla="*/ 228 w 240"/>
                  <a:gd name="T17" fmla="*/ 5 h 170"/>
                  <a:gd name="T18" fmla="*/ 217 w 240"/>
                  <a:gd name="T19" fmla="*/ 0 h 170"/>
                  <a:gd name="T20" fmla="*/ 30 w 240"/>
                  <a:gd name="T21" fmla="*/ 0 h 170"/>
                  <a:gd name="T22" fmla="*/ 24 w 240"/>
                  <a:gd name="T23" fmla="*/ 0 h 170"/>
                  <a:gd name="T24" fmla="*/ 14 w 240"/>
                  <a:gd name="T25" fmla="*/ 5 h 170"/>
                  <a:gd name="T26" fmla="*/ 5 w 240"/>
                  <a:gd name="T27" fmla="*/ 14 h 170"/>
                  <a:gd name="T28" fmla="*/ 0 w 240"/>
                  <a:gd name="T29" fmla="*/ 23 h 170"/>
                  <a:gd name="T30" fmla="*/ 0 w 240"/>
                  <a:gd name="T31" fmla="*/ 140 h 170"/>
                  <a:gd name="T32" fmla="*/ 0 w 240"/>
                  <a:gd name="T33" fmla="*/ 147 h 170"/>
                  <a:gd name="T34" fmla="*/ 5 w 240"/>
                  <a:gd name="T35" fmla="*/ 156 h 170"/>
                  <a:gd name="T36" fmla="*/ 14 w 240"/>
                  <a:gd name="T37" fmla="*/ 165 h 170"/>
                  <a:gd name="T38" fmla="*/ 24 w 240"/>
                  <a:gd name="T39" fmla="*/ 170 h 170"/>
                  <a:gd name="T40" fmla="*/ 30 w 240"/>
                  <a:gd name="T41" fmla="*/ 170 h 170"/>
                  <a:gd name="T42" fmla="*/ 20 w 240"/>
                  <a:gd name="T43" fmla="*/ 30 h 170"/>
                  <a:gd name="T44" fmla="*/ 23 w 240"/>
                  <a:gd name="T45" fmla="*/ 23 h 170"/>
                  <a:gd name="T46" fmla="*/ 30 w 240"/>
                  <a:gd name="T47" fmla="*/ 20 h 170"/>
                  <a:gd name="T48" fmla="*/ 210 w 240"/>
                  <a:gd name="T49" fmla="*/ 20 h 170"/>
                  <a:gd name="T50" fmla="*/ 217 w 240"/>
                  <a:gd name="T51" fmla="*/ 23 h 170"/>
                  <a:gd name="T52" fmla="*/ 220 w 240"/>
                  <a:gd name="T53" fmla="*/ 30 h 170"/>
                  <a:gd name="T54" fmla="*/ 220 w 240"/>
                  <a:gd name="T55" fmla="*/ 140 h 170"/>
                  <a:gd name="T56" fmla="*/ 217 w 240"/>
                  <a:gd name="T57" fmla="*/ 147 h 170"/>
                  <a:gd name="T58" fmla="*/ 210 w 240"/>
                  <a:gd name="T59" fmla="*/ 150 h 170"/>
                  <a:gd name="T60" fmla="*/ 30 w 240"/>
                  <a:gd name="T61" fmla="*/ 150 h 170"/>
                  <a:gd name="T62" fmla="*/ 23 w 240"/>
                  <a:gd name="T63" fmla="*/ 147 h 170"/>
                  <a:gd name="T64" fmla="*/ 20 w 240"/>
                  <a:gd name="T65" fmla="*/ 14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40" h="170">
                    <a:moveTo>
                      <a:pt x="30" y="170"/>
                    </a:moveTo>
                    <a:lnTo>
                      <a:pt x="210" y="170"/>
                    </a:lnTo>
                    <a:lnTo>
                      <a:pt x="210" y="170"/>
                    </a:lnTo>
                    <a:lnTo>
                      <a:pt x="217" y="170"/>
                    </a:lnTo>
                    <a:lnTo>
                      <a:pt x="223" y="167"/>
                    </a:lnTo>
                    <a:lnTo>
                      <a:pt x="228" y="165"/>
                    </a:lnTo>
                    <a:lnTo>
                      <a:pt x="232" y="162"/>
                    </a:lnTo>
                    <a:lnTo>
                      <a:pt x="235" y="156"/>
                    </a:lnTo>
                    <a:lnTo>
                      <a:pt x="237" y="152"/>
                    </a:lnTo>
                    <a:lnTo>
                      <a:pt x="240" y="147"/>
                    </a:lnTo>
                    <a:lnTo>
                      <a:pt x="240" y="140"/>
                    </a:lnTo>
                    <a:lnTo>
                      <a:pt x="240" y="30"/>
                    </a:lnTo>
                    <a:lnTo>
                      <a:pt x="240" y="30"/>
                    </a:lnTo>
                    <a:lnTo>
                      <a:pt x="240" y="23"/>
                    </a:lnTo>
                    <a:lnTo>
                      <a:pt x="237" y="18"/>
                    </a:lnTo>
                    <a:lnTo>
                      <a:pt x="235" y="14"/>
                    </a:lnTo>
                    <a:lnTo>
                      <a:pt x="232" y="8"/>
                    </a:lnTo>
                    <a:lnTo>
                      <a:pt x="228" y="5"/>
                    </a:lnTo>
                    <a:lnTo>
                      <a:pt x="223" y="3"/>
                    </a:lnTo>
                    <a:lnTo>
                      <a:pt x="217" y="0"/>
                    </a:lnTo>
                    <a:lnTo>
                      <a:pt x="21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4" y="0"/>
                    </a:lnTo>
                    <a:lnTo>
                      <a:pt x="18" y="3"/>
                    </a:lnTo>
                    <a:lnTo>
                      <a:pt x="14" y="5"/>
                    </a:lnTo>
                    <a:lnTo>
                      <a:pt x="8" y="8"/>
                    </a:lnTo>
                    <a:lnTo>
                      <a:pt x="5" y="14"/>
                    </a:lnTo>
                    <a:lnTo>
                      <a:pt x="3" y="18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0" y="140"/>
                    </a:lnTo>
                    <a:lnTo>
                      <a:pt x="0" y="140"/>
                    </a:lnTo>
                    <a:lnTo>
                      <a:pt x="0" y="147"/>
                    </a:lnTo>
                    <a:lnTo>
                      <a:pt x="3" y="152"/>
                    </a:lnTo>
                    <a:lnTo>
                      <a:pt x="5" y="156"/>
                    </a:lnTo>
                    <a:lnTo>
                      <a:pt x="8" y="162"/>
                    </a:lnTo>
                    <a:lnTo>
                      <a:pt x="14" y="165"/>
                    </a:lnTo>
                    <a:lnTo>
                      <a:pt x="18" y="167"/>
                    </a:lnTo>
                    <a:lnTo>
                      <a:pt x="24" y="170"/>
                    </a:lnTo>
                    <a:lnTo>
                      <a:pt x="30" y="170"/>
                    </a:lnTo>
                    <a:lnTo>
                      <a:pt x="30" y="170"/>
                    </a:lnTo>
                    <a:close/>
                    <a:moveTo>
                      <a:pt x="20" y="30"/>
                    </a:moveTo>
                    <a:lnTo>
                      <a:pt x="20" y="30"/>
                    </a:lnTo>
                    <a:lnTo>
                      <a:pt x="22" y="26"/>
                    </a:lnTo>
                    <a:lnTo>
                      <a:pt x="23" y="23"/>
                    </a:lnTo>
                    <a:lnTo>
                      <a:pt x="26" y="22"/>
                    </a:lnTo>
                    <a:lnTo>
                      <a:pt x="30" y="20"/>
                    </a:lnTo>
                    <a:lnTo>
                      <a:pt x="210" y="20"/>
                    </a:lnTo>
                    <a:lnTo>
                      <a:pt x="210" y="20"/>
                    </a:lnTo>
                    <a:lnTo>
                      <a:pt x="214" y="22"/>
                    </a:lnTo>
                    <a:lnTo>
                      <a:pt x="217" y="23"/>
                    </a:lnTo>
                    <a:lnTo>
                      <a:pt x="219" y="26"/>
                    </a:lnTo>
                    <a:lnTo>
                      <a:pt x="220" y="30"/>
                    </a:lnTo>
                    <a:lnTo>
                      <a:pt x="220" y="140"/>
                    </a:lnTo>
                    <a:lnTo>
                      <a:pt x="220" y="140"/>
                    </a:lnTo>
                    <a:lnTo>
                      <a:pt x="219" y="144"/>
                    </a:lnTo>
                    <a:lnTo>
                      <a:pt x="217" y="147"/>
                    </a:lnTo>
                    <a:lnTo>
                      <a:pt x="214" y="148"/>
                    </a:lnTo>
                    <a:lnTo>
                      <a:pt x="210" y="150"/>
                    </a:lnTo>
                    <a:lnTo>
                      <a:pt x="30" y="150"/>
                    </a:lnTo>
                    <a:lnTo>
                      <a:pt x="30" y="150"/>
                    </a:lnTo>
                    <a:lnTo>
                      <a:pt x="26" y="148"/>
                    </a:lnTo>
                    <a:lnTo>
                      <a:pt x="23" y="147"/>
                    </a:lnTo>
                    <a:lnTo>
                      <a:pt x="22" y="144"/>
                    </a:lnTo>
                    <a:lnTo>
                      <a:pt x="20" y="140"/>
                    </a:lnTo>
                    <a:lnTo>
                      <a:pt x="20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BF0E11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244" name="Freeform 124"/>
              <p:cNvSpPr>
                <a:spLocks/>
              </p:cNvSpPr>
              <p:nvPr/>
            </p:nvSpPr>
            <p:spPr bwMode="auto">
              <a:xfrm>
                <a:off x="6519182" y="1844145"/>
                <a:ext cx="53857" cy="55514"/>
              </a:xfrm>
              <a:custGeom>
                <a:avLst/>
                <a:gdLst>
                  <a:gd name="T0" fmla="*/ 79 w 130"/>
                  <a:gd name="T1" fmla="*/ 100 h 135"/>
                  <a:gd name="T2" fmla="*/ 116 w 130"/>
                  <a:gd name="T3" fmla="*/ 135 h 135"/>
                  <a:gd name="T4" fmla="*/ 116 w 130"/>
                  <a:gd name="T5" fmla="*/ 135 h 135"/>
                  <a:gd name="T6" fmla="*/ 118 w 130"/>
                  <a:gd name="T7" fmla="*/ 129 h 135"/>
                  <a:gd name="T8" fmla="*/ 121 w 130"/>
                  <a:gd name="T9" fmla="*/ 124 h 135"/>
                  <a:gd name="T10" fmla="*/ 125 w 130"/>
                  <a:gd name="T11" fmla="*/ 120 h 135"/>
                  <a:gd name="T12" fmla="*/ 130 w 130"/>
                  <a:gd name="T13" fmla="*/ 117 h 135"/>
                  <a:gd name="T14" fmla="*/ 97 w 130"/>
                  <a:gd name="T15" fmla="*/ 84 h 135"/>
                  <a:gd name="T16" fmla="*/ 97 w 130"/>
                  <a:gd name="T17" fmla="*/ 84 h 135"/>
                  <a:gd name="T18" fmla="*/ 101 w 130"/>
                  <a:gd name="T19" fmla="*/ 75 h 135"/>
                  <a:gd name="T20" fmla="*/ 103 w 130"/>
                  <a:gd name="T21" fmla="*/ 66 h 135"/>
                  <a:gd name="T22" fmla="*/ 105 w 130"/>
                  <a:gd name="T23" fmla="*/ 58 h 135"/>
                  <a:gd name="T24" fmla="*/ 105 w 130"/>
                  <a:gd name="T25" fmla="*/ 48 h 135"/>
                  <a:gd name="T26" fmla="*/ 103 w 130"/>
                  <a:gd name="T27" fmla="*/ 39 h 135"/>
                  <a:gd name="T28" fmla="*/ 101 w 130"/>
                  <a:gd name="T29" fmla="*/ 31 h 135"/>
                  <a:gd name="T30" fmla="*/ 97 w 130"/>
                  <a:gd name="T31" fmla="*/ 23 h 135"/>
                  <a:gd name="T32" fmla="*/ 90 w 130"/>
                  <a:gd name="T33" fmla="*/ 16 h 135"/>
                  <a:gd name="T34" fmla="*/ 90 w 130"/>
                  <a:gd name="T35" fmla="*/ 16 h 135"/>
                  <a:gd name="T36" fmla="*/ 82 w 130"/>
                  <a:gd name="T37" fmla="*/ 9 h 135"/>
                  <a:gd name="T38" fmla="*/ 72 w 130"/>
                  <a:gd name="T39" fmla="*/ 4 h 135"/>
                  <a:gd name="T40" fmla="*/ 63 w 130"/>
                  <a:gd name="T41" fmla="*/ 1 h 135"/>
                  <a:gd name="T42" fmla="*/ 52 w 130"/>
                  <a:gd name="T43" fmla="*/ 0 h 135"/>
                  <a:gd name="T44" fmla="*/ 43 w 130"/>
                  <a:gd name="T45" fmla="*/ 1 h 135"/>
                  <a:gd name="T46" fmla="*/ 32 w 130"/>
                  <a:gd name="T47" fmla="*/ 4 h 135"/>
                  <a:gd name="T48" fmla="*/ 24 w 130"/>
                  <a:gd name="T49" fmla="*/ 9 h 135"/>
                  <a:gd name="T50" fmla="*/ 14 w 130"/>
                  <a:gd name="T51" fmla="*/ 16 h 135"/>
                  <a:gd name="T52" fmla="*/ 14 w 130"/>
                  <a:gd name="T53" fmla="*/ 16 h 135"/>
                  <a:gd name="T54" fmla="*/ 8 w 130"/>
                  <a:gd name="T55" fmla="*/ 24 h 135"/>
                  <a:gd name="T56" fmla="*/ 4 w 130"/>
                  <a:gd name="T57" fmla="*/ 34 h 135"/>
                  <a:gd name="T58" fmla="*/ 1 w 130"/>
                  <a:gd name="T59" fmla="*/ 43 h 135"/>
                  <a:gd name="T60" fmla="*/ 0 w 130"/>
                  <a:gd name="T61" fmla="*/ 54 h 135"/>
                  <a:gd name="T62" fmla="*/ 1 w 130"/>
                  <a:gd name="T63" fmla="*/ 63 h 135"/>
                  <a:gd name="T64" fmla="*/ 4 w 130"/>
                  <a:gd name="T65" fmla="*/ 74 h 135"/>
                  <a:gd name="T66" fmla="*/ 8 w 130"/>
                  <a:gd name="T67" fmla="*/ 82 h 135"/>
                  <a:gd name="T68" fmla="*/ 14 w 130"/>
                  <a:gd name="T69" fmla="*/ 92 h 135"/>
                  <a:gd name="T70" fmla="*/ 14 w 130"/>
                  <a:gd name="T71" fmla="*/ 92 h 135"/>
                  <a:gd name="T72" fmla="*/ 23 w 130"/>
                  <a:gd name="T73" fmla="*/ 97 h 135"/>
                  <a:gd name="T74" fmla="*/ 29 w 130"/>
                  <a:gd name="T75" fmla="*/ 101 h 135"/>
                  <a:gd name="T76" fmla="*/ 37 w 130"/>
                  <a:gd name="T77" fmla="*/ 105 h 135"/>
                  <a:gd name="T78" fmla="*/ 47 w 130"/>
                  <a:gd name="T79" fmla="*/ 106 h 135"/>
                  <a:gd name="T80" fmla="*/ 55 w 130"/>
                  <a:gd name="T81" fmla="*/ 106 h 135"/>
                  <a:gd name="T82" fmla="*/ 63 w 130"/>
                  <a:gd name="T83" fmla="*/ 105 h 135"/>
                  <a:gd name="T84" fmla="*/ 71 w 130"/>
                  <a:gd name="T85" fmla="*/ 102 h 135"/>
                  <a:gd name="T86" fmla="*/ 79 w 130"/>
                  <a:gd name="T87" fmla="*/ 100 h 135"/>
                  <a:gd name="T88" fmla="*/ 79 w 130"/>
                  <a:gd name="T89" fmla="*/ 10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30" h="135">
                    <a:moveTo>
                      <a:pt x="79" y="100"/>
                    </a:moveTo>
                    <a:lnTo>
                      <a:pt x="116" y="135"/>
                    </a:lnTo>
                    <a:lnTo>
                      <a:pt x="116" y="135"/>
                    </a:lnTo>
                    <a:lnTo>
                      <a:pt x="118" y="129"/>
                    </a:lnTo>
                    <a:lnTo>
                      <a:pt x="121" y="124"/>
                    </a:lnTo>
                    <a:lnTo>
                      <a:pt x="125" y="120"/>
                    </a:lnTo>
                    <a:lnTo>
                      <a:pt x="130" y="117"/>
                    </a:lnTo>
                    <a:lnTo>
                      <a:pt x="97" y="84"/>
                    </a:lnTo>
                    <a:lnTo>
                      <a:pt x="97" y="84"/>
                    </a:lnTo>
                    <a:lnTo>
                      <a:pt x="101" y="75"/>
                    </a:lnTo>
                    <a:lnTo>
                      <a:pt x="103" y="66"/>
                    </a:lnTo>
                    <a:lnTo>
                      <a:pt x="105" y="58"/>
                    </a:lnTo>
                    <a:lnTo>
                      <a:pt x="105" y="48"/>
                    </a:lnTo>
                    <a:lnTo>
                      <a:pt x="103" y="39"/>
                    </a:lnTo>
                    <a:lnTo>
                      <a:pt x="101" y="31"/>
                    </a:lnTo>
                    <a:lnTo>
                      <a:pt x="97" y="23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82" y="9"/>
                    </a:lnTo>
                    <a:lnTo>
                      <a:pt x="72" y="4"/>
                    </a:lnTo>
                    <a:lnTo>
                      <a:pt x="63" y="1"/>
                    </a:lnTo>
                    <a:lnTo>
                      <a:pt x="52" y="0"/>
                    </a:lnTo>
                    <a:lnTo>
                      <a:pt x="43" y="1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8" y="24"/>
                    </a:lnTo>
                    <a:lnTo>
                      <a:pt x="4" y="34"/>
                    </a:lnTo>
                    <a:lnTo>
                      <a:pt x="1" y="43"/>
                    </a:lnTo>
                    <a:lnTo>
                      <a:pt x="0" y="54"/>
                    </a:lnTo>
                    <a:lnTo>
                      <a:pt x="1" y="63"/>
                    </a:lnTo>
                    <a:lnTo>
                      <a:pt x="4" y="74"/>
                    </a:lnTo>
                    <a:lnTo>
                      <a:pt x="8" y="82"/>
                    </a:lnTo>
                    <a:lnTo>
                      <a:pt x="14" y="92"/>
                    </a:lnTo>
                    <a:lnTo>
                      <a:pt x="14" y="92"/>
                    </a:lnTo>
                    <a:lnTo>
                      <a:pt x="23" y="97"/>
                    </a:lnTo>
                    <a:lnTo>
                      <a:pt x="29" y="101"/>
                    </a:lnTo>
                    <a:lnTo>
                      <a:pt x="37" y="105"/>
                    </a:lnTo>
                    <a:lnTo>
                      <a:pt x="47" y="106"/>
                    </a:lnTo>
                    <a:lnTo>
                      <a:pt x="55" y="106"/>
                    </a:lnTo>
                    <a:lnTo>
                      <a:pt x="63" y="105"/>
                    </a:lnTo>
                    <a:lnTo>
                      <a:pt x="71" y="102"/>
                    </a:lnTo>
                    <a:lnTo>
                      <a:pt x="79" y="100"/>
                    </a:lnTo>
                    <a:lnTo>
                      <a:pt x="79" y="1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BF0E11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245" name="Freeform 125"/>
              <p:cNvSpPr>
                <a:spLocks/>
              </p:cNvSpPr>
              <p:nvPr/>
            </p:nvSpPr>
            <p:spPr bwMode="auto">
              <a:xfrm>
                <a:off x="6602038" y="1810174"/>
                <a:ext cx="43914" cy="81200"/>
              </a:xfrm>
              <a:custGeom>
                <a:avLst/>
                <a:gdLst>
                  <a:gd name="T0" fmla="*/ 42 w 107"/>
                  <a:gd name="T1" fmla="*/ 105 h 197"/>
                  <a:gd name="T2" fmla="*/ 42 w 107"/>
                  <a:gd name="T3" fmla="*/ 197 h 197"/>
                  <a:gd name="T4" fmla="*/ 66 w 107"/>
                  <a:gd name="T5" fmla="*/ 197 h 197"/>
                  <a:gd name="T6" fmla="*/ 66 w 107"/>
                  <a:gd name="T7" fmla="*/ 105 h 197"/>
                  <a:gd name="T8" fmla="*/ 66 w 107"/>
                  <a:gd name="T9" fmla="*/ 105 h 197"/>
                  <a:gd name="T10" fmla="*/ 74 w 107"/>
                  <a:gd name="T11" fmla="*/ 101 h 197"/>
                  <a:gd name="T12" fmla="*/ 82 w 107"/>
                  <a:gd name="T13" fmla="*/ 97 h 197"/>
                  <a:gd name="T14" fmla="*/ 89 w 107"/>
                  <a:gd name="T15" fmla="*/ 91 h 197"/>
                  <a:gd name="T16" fmla="*/ 95 w 107"/>
                  <a:gd name="T17" fmla="*/ 86 h 197"/>
                  <a:gd name="T18" fmla="*/ 100 w 107"/>
                  <a:gd name="T19" fmla="*/ 78 h 197"/>
                  <a:gd name="T20" fmla="*/ 103 w 107"/>
                  <a:gd name="T21" fmla="*/ 71 h 197"/>
                  <a:gd name="T22" fmla="*/ 105 w 107"/>
                  <a:gd name="T23" fmla="*/ 62 h 197"/>
                  <a:gd name="T24" fmla="*/ 107 w 107"/>
                  <a:gd name="T25" fmla="*/ 52 h 197"/>
                  <a:gd name="T26" fmla="*/ 107 w 107"/>
                  <a:gd name="T27" fmla="*/ 52 h 197"/>
                  <a:gd name="T28" fmla="*/ 105 w 107"/>
                  <a:gd name="T29" fmla="*/ 41 h 197"/>
                  <a:gd name="T30" fmla="*/ 103 w 107"/>
                  <a:gd name="T31" fmla="*/ 32 h 197"/>
                  <a:gd name="T32" fmla="*/ 97 w 107"/>
                  <a:gd name="T33" fmla="*/ 23 h 197"/>
                  <a:gd name="T34" fmla="*/ 91 w 107"/>
                  <a:gd name="T35" fmla="*/ 16 h 197"/>
                  <a:gd name="T36" fmla="*/ 82 w 107"/>
                  <a:gd name="T37" fmla="*/ 9 h 197"/>
                  <a:gd name="T38" fmla="*/ 74 w 107"/>
                  <a:gd name="T39" fmla="*/ 4 h 197"/>
                  <a:gd name="T40" fmla="*/ 64 w 107"/>
                  <a:gd name="T41" fmla="*/ 1 h 197"/>
                  <a:gd name="T42" fmla="*/ 53 w 107"/>
                  <a:gd name="T43" fmla="*/ 0 h 197"/>
                  <a:gd name="T44" fmla="*/ 53 w 107"/>
                  <a:gd name="T45" fmla="*/ 0 h 197"/>
                  <a:gd name="T46" fmla="*/ 42 w 107"/>
                  <a:gd name="T47" fmla="*/ 1 h 197"/>
                  <a:gd name="T48" fmla="*/ 33 w 107"/>
                  <a:gd name="T49" fmla="*/ 4 h 197"/>
                  <a:gd name="T50" fmla="*/ 23 w 107"/>
                  <a:gd name="T51" fmla="*/ 9 h 197"/>
                  <a:gd name="T52" fmla="*/ 15 w 107"/>
                  <a:gd name="T53" fmla="*/ 16 h 197"/>
                  <a:gd name="T54" fmla="*/ 10 w 107"/>
                  <a:gd name="T55" fmla="*/ 23 h 197"/>
                  <a:gd name="T56" fmla="*/ 4 w 107"/>
                  <a:gd name="T57" fmla="*/ 32 h 197"/>
                  <a:gd name="T58" fmla="*/ 2 w 107"/>
                  <a:gd name="T59" fmla="*/ 41 h 197"/>
                  <a:gd name="T60" fmla="*/ 0 w 107"/>
                  <a:gd name="T61" fmla="*/ 52 h 197"/>
                  <a:gd name="T62" fmla="*/ 0 w 107"/>
                  <a:gd name="T63" fmla="*/ 52 h 197"/>
                  <a:gd name="T64" fmla="*/ 0 w 107"/>
                  <a:gd name="T65" fmla="*/ 62 h 197"/>
                  <a:gd name="T66" fmla="*/ 3 w 107"/>
                  <a:gd name="T67" fmla="*/ 71 h 197"/>
                  <a:gd name="T68" fmla="*/ 7 w 107"/>
                  <a:gd name="T69" fmla="*/ 79 h 197"/>
                  <a:gd name="T70" fmla="*/ 12 w 107"/>
                  <a:gd name="T71" fmla="*/ 87 h 197"/>
                  <a:gd name="T72" fmla="*/ 19 w 107"/>
                  <a:gd name="T73" fmla="*/ 93 h 197"/>
                  <a:gd name="T74" fmla="*/ 26 w 107"/>
                  <a:gd name="T75" fmla="*/ 98 h 197"/>
                  <a:gd name="T76" fmla="*/ 34 w 107"/>
                  <a:gd name="T77" fmla="*/ 102 h 197"/>
                  <a:gd name="T78" fmla="*/ 42 w 107"/>
                  <a:gd name="T79" fmla="*/ 105 h 197"/>
                  <a:gd name="T80" fmla="*/ 42 w 107"/>
                  <a:gd name="T81" fmla="*/ 105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07" h="197">
                    <a:moveTo>
                      <a:pt x="42" y="105"/>
                    </a:moveTo>
                    <a:lnTo>
                      <a:pt x="42" y="197"/>
                    </a:lnTo>
                    <a:lnTo>
                      <a:pt x="66" y="197"/>
                    </a:lnTo>
                    <a:lnTo>
                      <a:pt x="66" y="105"/>
                    </a:lnTo>
                    <a:lnTo>
                      <a:pt x="66" y="105"/>
                    </a:lnTo>
                    <a:lnTo>
                      <a:pt x="74" y="101"/>
                    </a:lnTo>
                    <a:lnTo>
                      <a:pt x="82" y="97"/>
                    </a:lnTo>
                    <a:lnTo>
                      <a:pt x="89" y="91"/>
                    </a:lnTo>
                    <a:lnTo>
                      <a:pt x="95" y="86"/>
                    </a:lnTo>
                    <a:lnTo>
                      <a:pt x="100" y="78"/>
                    </a:lnTo>
                    <a:lnTo>
                      <a:pt x="103" y="71"/>
                    </a:lnTo>
                    <a:lnTo>
                      <a:pt x="105" y="62"/>
                    </a:lnTo>
                    <a:lnTo>
                      <a:pt x="107" y="52"/>
                    </a:lnTo>
                    <a:lnTo>
                      <a:pt x="107" y="52"/>
                    </a:lnTo>
                    <a:lnTo>
                      <a:pt x="105" y="41"/>
                    </a:lnTo>
                    <a:lnTo>
                      <a:pt x="103" y="32"/>
                    </a:lnTo>
                    <a:lnTo>
                      <a:pt x="97" y="23"/>
                    </a:lnTo>
                    <a:lnTo>
                      <a:pt x="91" y="16"/>
                    </a:lnTo>
                    <a:lnTo>
                      <a:pt x="82" y="9"/>
                    </a:lnTo>
                    <a:lnTo>
                      <a:pt x="74" y="4"/>
                    </a:lnTo>
                    <a:lnTo>
                      <a:pt x="64" y="1"/>
                    </a:lnTo>
                    <a:lnTo>
                      <a:pt x="53" y="0"/>
                    </a:lnTo>
                    <a:lnTo>
                      <a:pt x="53" y="0"/>
                    </a:lnTo>
                    <a:lnTo>
                      <a:pt x="42" y="1"/>
                    </a:lnTo>
                    <a:lnTo>
                      <a:pt x="33" y="4"/>
                    </a:lnTo>
                    <a:lnTo>
                      <a:pt x="23" y="9"/>
                    </a:lnTo>
                    <a:lnTo>
                      <a:pt x="15" y="16"/>
                    </a:lnTo>
                    <a:lnTo>
                      <a:pt x="10" y="23"/>
                    </a:lnTo>
                    <a:lnTo>
                      <a:pt x="4" y="32"/>
                    </a:lnTo>
                    <a:lnTo>
                      <a:pt x="2" y="41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62"/>
                    </a:lnTo>
                    <a:lnTo>
                      <a:pt x="3" y="71"/>
                    </a:lnTo>
                    <a:lnTo>
                      <a:pt x="7" y="79"/>
                    </a:lnTo>
                    <a:lnTo>
                      <a:pt x="12" y="87"/>
                    </a:lnTo>
                    <a:lnTo>
                      <a:pt x="19" y="93"/>
                    </a:lnTo>
                    <a:lnTo>
                      <a:pt x="26" y="98"/>
                    </a:lnTo>
                    <a:lnTo>
                      <a:pt x="34" y="102"/>
                    </a:lnTo>
                    <a:lnTo>
                      <a:pt x="42" y="105"/>
                    </a:lnTo>
                    <a:lnTo>
                      <a:pt x="42" y="10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BF0E11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246" name="Freeform 126"/>
              <p:cNvSpPr>
                <a:spLocks/>
              </p:cNvSpPr>
              <p:nvPr/>
            </p:nvSpPr>
            <p:spPr bwMode="auto">
              <a:xfrm>
                <a:off x="6484382" y="1927001"/>
                <a:ext cx="82028" cy="43914"/>
              </a:xfrm>
              <a:custGeom>
                <a:avLst/>
                <a:gdLst>
                  <a:gd name="T0" fmla="*/ 105 w 198"/>
                  <a:gd name="T1" fmla="*/ 67 h 107"/>
                  <a:gd name="T2" fmla="*/ 198 w 198"/>
                  <a:gd name="T3" fmla="*/ 67 h 107"/>
                  <a:gd name="T4" fmla="*/ 198 w 198"/>
                  <a:gd name="T5" fmla="*/ 44 h 107"/>
                  <a:gd name="T6" fmla="*/ 105 w 198"/>
                  <a:gd name="T7" fmla="*/ 44 h 107"/>
                  <a:gd name="T8" fmla="*/ 105 w 198"/>
                  <a:gd name="T9" fmla="*/ 44 h 107"/>
                  <a:gd name="T10" fmla="*/ 104 w 198"/>
                  <a:gd name="T11" fmla="*/ 34 h 107"/>
                  <a:gd name="T12" fmla="*/ 100 w 198"/>
                  <a:gd name="T13" fmla="*/ 26 h 107"/>
                  <a:gd name="T14" fmla="*/ 94 w 198"/>
                  <a:gd name="T15" fmla="*/ 19 h 107"/>
                  <a:gd name="T16" fmla="*/ 88 w 198"/>
                  <a:gd name="T17" fmla="*/ 13 h 107"/>
                  <a:gd name="T18" fmla="*/ 81 w 198"/>
                  <a:gd name="T19" fmla="*/ 9 h 107"/>
                  <a:gd name="T20" fmla="*/ 71 w 198"/>
                  <a:gd name="T21" fmla="*/ 5 h 107"/>
                  <a:gd name="T22" fmla="*/ 63 w 198"/>
                  <a:gd name="T23" fmla="*/ 2 h 107"/>
                  <a:gd name="T24" fmla="*/ 54 w 198"/>
                  <a:gd name="T25" fmla="*/ 0 h 107"/>
                  <a:gd name="T26" fmla="*/ 54 w 198"/>
                  <a:gd name="T27" fmla="*/ 0 h 107"/>
                  <a:gd name="T28" fmla="*/ 43 w 198"/>
                  <a:gd name="T29" fmla="*/ 2 h 107"/>
                  <a:gd name="T30" fmla="*/ 34 w 198"/>
                  <a:gd name="T31" fmla="*/ 5 h 107"/>
                  <a:gd name="T32" fmla="*/ 24 w 198"/>
                  <a:gd name="T33" fmla="*/ 10 h 107"/>
                  <a:gd name="T34" fmla="*/ 16 w 198"/>
                  <a:gd name="T35" fmla="*/ 17 h 107"/>
                  <a:gd name="T36" fmla="*/ 9 w 198"/>
                  <a:gd name="T37" fmla="*/ 25 h 107"/>
                  <a:gd name="T38" fmla="*/ 5 w 198"/>
                  <a:gd name="T39" fmla="*/ 33 h 107"/>
                  <a:gd name="T40" fmla="*/ 1 w 198"/>
                  <a:gd name="T41" fmla="*/ 44 h 107"/>
                  <a:gd name="T42" fmla="*/ 0 w 198"/>
                  <a:gd name="T43" fmla="*/ 54 h 107"/>
                  <a:gd name="T44" fmla="*/ 0 w 198"/>
                  <a:gd name="T45" fmla="*/ 54 h 107"/>
                  <a:gd name="T46" fmla="*/ 1 w 198"/>
                  <a:gd name="T47" fmla="*/ 65 h 107"/>
                  <a:gd name="T48" fmla="*/ 5 w 198"/>
                  <a:gd name="T49" fmla="*/ 75 h 107"/>
                  <a:gd name="T50" fmla="*/ 9 w 198"/>
                  <a:gd name="T51" fmla="*/ 84 h 107"/>
                  <a:gd name="T52" fmla="*/ 16 w 198"/>
                  <a:gd name="T53" fmla="*/ 92 h 107"/>
                  <a:gd name="T54" fmla="*/ 24 w 198"/>
                  <a:gd name="T55" fmla="*/ 98 h 107"/>
                  <a:gd name="T56" fmla="*/ 34 w 198"/>
                  <a:gd name="T57" fmla="*/ 103 h 107"/>
                  <a:gd name="T58" fmla="*/ 43 w 198"/>
                  <a:gd name="T59" fmla="*/ 106 h 107"/>
                  <a:gd name="T60" fmla="*/ 54 w 198"/>
                  <a:gd name="T61" fmla="*/ 107 h 107"/>
                  <a:gd name="T62" fmla="*/ 54 w 198"/>
                  <a:gd name="T63" fmla="*/ 107 h 107"/>
                  <a:gd name="T64" fmla="*/ 63 w 198"/>
                  <a:gd name="T65" fmla="*/ 107 h 107"/>
                  <a:gd name="T66" fmla="*/ 71 w 198"/>
                  <a:gd name="T67" fmla="*/ 104 h 107"/>
                  <a:gd name="T68" fmla="*/ 80 w 198"/>
                  <a:gd name="T69" fmla="*/ 100 h 107"/>
                  <a:gd name="T70" fmla="*/ 86 w 198"/>
                  <a:gd name="T71" fmla="*/ 96 h 107"/>
                  <a:gd name="T72" fmla="*/ 93 w 198"/>
                  <a:gd name="T73" fmla="*/ 89 h 107"/>
                  <a:gd name="T74" fmla="*/ 98 w 198"/>
                  <a:gd name="T75" fmla="*/ 83 h 107"/>
                  <a:gd name="T76" fmla="*/ 102 w 198"/>
                  <a:gd name="T77" fmla="*/ 76 h 107"/>
                  <a:gd name="T78" fmla="*/ 105 w 198"/>
                  <a:gd name="T79" fmla="*/ 67 h 107"/>
                  <a:gd name="T80" fmla="*/ 105 w 198"/>
                  <a:gd name="T81" fmla="*/ 6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98" h="107">
                    <a:moveTo>
                      <a:pt x="105" y="67"/>
                    </a:moveTo>
                    <a:lnTo>
                      <a:pt x="198" y="67"/>
                    </a:lnTo>
                    <a:lnTo>
                      <a:pt x="198" y="44"/>
                    </a:lnTo>
                    <a:lnTo>
                      <a:pt x="105" y="44"/>
                    </a:lnTo>
                    <a:lnTo>
                      <a:pt x="105" y="44"/>
                    </a:lnTo>
                    <a:lnTo>
                      <a:pt x="104" y="34"/>
                    </a:lnTo>
                    <a:lnTo>
                      <a:pt x="100" y="26"/>
                    </a:lnTo>
                    <a:lnTo>
                      <a:pt x="94" y="19"/>
                    </a:lnTo>
                    <a:lnTo>
                      <a:pt x="88" y="13"/>
                    </a:lnTo>
                    <a:lnTo>
                      <a:pt x="81" y="9"/>
                    </a:lnTo>
                    <a:lnTo>
                      <a:pt x="71" y="5"/>
                    </a:lnTo>
                    <a:lnTo>
                      <a:pt x="63" y="2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43" y="2"/>
                    </a:lnTo>
                    <a:lnTo>
                      <a:pt x="34" y="5"/>
                    </a:lnTo>
                    <a:lnTo>
                      <a:pt x="24" y="10"/>
                    </a:lnTo>
                    <a:lnTo>
                      <a:pt x="16" y="17"/>
                    </a:lnTo>
                    <a:lnTo>
                      <a:pt x="9" y="25"/>
                    </a:lnTo>
                    <a:lnTo>
                      <a:pt x="5" y="33"/>
                    </a:lnTo>
                    <a:lnTo>
                      <a:pt x="1" y="44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1" y="65"/>
                    </a:lnTo>
                    <a:lnTo>
                      <a:pt x="5" y="75"/>
                    </a:lnTo>
                    <a:lnTo>
                      <a:pt x="9" y="84"/>
                    </a:lnTo>
                    <a:lnTo>
                      <a:pt x="16" y="92"/>
                    </a:lnTo>
                    <a:lnTo>
                      <a:pt x="24" y="98"/>
                    </a:lnTo>
                    <a:lnTo>
                      <a:pt x="34" y="103"/>
                    </a:lnTo>
                    <a:lnTo>
                      <a:pt x="43" y="106"/>
                    </a:lnTo>
                    <a:lnTo>
                      <a:pt x="54" y="107"/>
                    </a:lnTo>
                    <a:lnTo>
                      <a:pt x="54" y="107"/>
                    </a:lnTo>
                    <a:lnTo>
                      <a:pt x="63" y="107"/>
                    </a:lnTo>
                    <a:lnTo>
                      <a:pt x="71" y="104"/>
                    </a:lnTo>
                    <a:lnTo>
                      <a:pt x="80" y="100"/>
                    </a:lnTo>
                    <a:lnTo>
                      <a:pt x="86" y="96"/>
                    </a:lnTo>
                    <a:lnTo>
                      <a:pt x="93" y="89"/>
                    </a:lnTo>
                    <a:lnTo>
                      <a:pt x="98" y="83"/>
                    </a:lnTo>
                    <a:lnTo>
                      <a:pt x="102" y="76"/>
                    </a:lnTo>
                    <a:lnTo>
                      <a:pt x="105" y="67"/>
                    </a:lnTo>
                    <a:lnTo>
                      <a:pt x="105" y="6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BF0E11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247" name="Freeform 127"/>
              <p:cNvSpPr>
                <a:spLocks/>
              </p:cNvSpPr>
              <p:nvPr/>
            </p:nvSpPr>
            <p:spPr bwMode="auto">
              <a:xfrm>
                <a:off x="6674123" y="1844145"/>
                <a:ext cx="54686" cy="55514"/>
              </a:xfrm>
              <a:custGeom>
                <a:avLst/>
                <a:gdLst>
                  <a:gd name="T0" fmla="*/ 16 w 132"/>
                  <a:gd name="T1" fmla="*/ 135 h 135"/>
                  <a:gd name="T2" fmla="*/ 51 w 132"/>
                  <a:gd name="T3" fmla="*/ 100 h 135"/>
                  <a:gd name="T4" fmla="*/ 51 w 132"/>
                  <a:gd name="T5" fmla="*/ 100 h 135"/>
                  <a:gd name="T6" fmla="*/ 59 w 132"/>
                  <a:gd name="T7" fmla="*/ 102 h 135"/>
                  <a:gd name="T8" fmla="*/ 68 w 132"/>
                  <a:gd name="T9" fmla="*/ 105 h 135"/>
                  <a:gd name="T10" fmla="*/ 77 w 132"/>
                  <a:gd name="T11" fmla="*/ 106 h 135"/>
                  <a:gd name="T12" fmla="*/ 85 w 132"/>
                  <a:gd name="T13" fmla="*/ 106 h 135"/>
                  <a:gd name="T14" fmla="*/ 93 w 132"/>
                  <a:gd name="T15" fmla="*/ 105 h 135"/>
                  <a:gd name="T16" fmla="*/ 101 w 132"/>
                  <a:gd name="T17" fmla="*/ 101 h 135"/>
                  <a:gd name="T18" fmla="*/ 109 w 132"/>
                  <a:gd name="T19" fmla="*/ 97 h 135"/>
                  <a:gd name="T20" fmla="*/ 116 w 132"/>
                  <a:gd name="T21" fmla="*/ 92 h 135"/>
                  <a:gd name="T22" fmla="*/ 116 w 132"/>
                  <a:gd name="T23" fmla="*/ 92 h 135"/>
                  <a:gd name="T24" fmla="*/ 123 w 132"/>
                  <a:gd name="T25" fmla="*/ 82 h 135"/>
                  <a:gd name="T26" fmla="*/ 128 w 132"/>
                  <a:gd name="T27" fmla="*/ 74 h 135"/>
                  <a:gd name="T28" fmla="*/ 131 w 132"/>
                  <a:gd name="T29" fmla="*/ 63 h 135"/>
                  <a:gd name="T30" fmla="*/ 132 w 132"/>
                  <a:gd name="T31" fmla="*/ 54 h 135"/>
                  <a:gd name="T32" fmla="*/ 131 w 132"/>
                  <a:gd name="T33" fmla="*/ 43 h 135"/>
                  <a:gd name="T34" fmla="*/ 128 w 132"/>
                  <a:gd name="T35" fmla="*/ 34 h 135"/>
                  <a:gd name="T36" fmla="*/ 123 w 132"/>
                  <a:gd name="T37" fmla="*/ 24 h 135"/>
                  <a:gd name="T38" fmla="*/ 116 w 132"/>
                  <a:gd name="T39" fmla="*/ 16 h 135"/>
                  <a:gd name="T40" fmla="*/ 116 w 132"/>
                  <a:gd name="T41" fmla="*/ 16 h 135"/>
                  <a:gd name="T42" fmla="*/ 108 w 132"/>
                  <a:gd name="T43" fmla="*/ 9 h 135"/>
                  <a:gd name="T44" fmla="*/ 99 w 132"/>
                  <a:gd name="T45" fmla="*/ 4 h 135"/>
                  <a:gd name="T46" fmla="*/ 89 w 132"/>
                  <a:gd name="T47" fmla="*/ 1 h 135"/>
                  <a:gd name="T48" fmla="*/ 78 w 132"/>
                  <a:gd name="T49" fmla="*/ 0 h 135"/>
                  <a:gd name="T50" fmla="*/ 69 w 132"/>
                  <a:gd name="T51" fmla="*/ 1 h 135"/>
                  <a:gd name="T52" fmla="*/ 58 w 132"/>
                  <a:gd name="T53" fmla="*/ 4 h 135"/>
                  <a:gd name="T54" fmla="*/ 50 w 132"/>
                  <a:gd name="T55" fmla="*/ 9 h 135"/>
                  <a:gd name="T56" fmla="*/ 41 w 132"/>
                  <a:gd name="T57" fmla="*/ 16 h 135"/>
                  <a:gd name="T58" fmla="*/ 41 w 132"/>
                  <a:gd name="T59" fmla="*/ 16 h 135"/>
                  <a:gd name="T60" fmla="*/ 35 w 132"/>
                  <a:gd name="T61" fmla="*/ 23 h 135"/>
                  <a:gd name="T62" fmla="*/ 31 w 132"/>
                  <a:gd name="T63" fmla="*/ 31 h 135"/>
                  <a:gd name="T64" fmla="*/ 27 w 132"/>
                  <a:gd name="T65" fmla="*/ 39 h 135"/>
                  <a:gd name="T66" fmla="*/ 26 w 132"/>
                  <a:gd name="T67" fmla="*/ 48 h 135"/>
                  <a:gd name="T68" fmla="*/ 26 w 132"/>
                  <a:gd name="T69" fmla="*/ 58 h 135"/>
                  <a:gd name="T70" fmla="*/ 27 w 132"/>
                  <a:gd name="T71" fmla="*/ 66 h 135"/>
                  <a:gd name="T72" fmla="*/ 30 w 132"/>
                  <a:gd name="T73" fmla="*/ 75 h 135"/>
                  <a:gd name="T74" fmla="*/ 35 w 132"/>
                  <a:gd name="T75" fmla="*/ 84 h 135"/>
                  <a:gd name="T76" fmla="*/ 0 w 132"/>
                  <a:gd name="T77" fmla="*/ 117 h 135"/>
                  <a:gd name="T78" fmla="*/ 0 w 132"/>
                  <a:gd name="T79" fmla="*/ 117 h 135"/>
                  <a:gd name="T80" fmla="*/ 6 w 132"/>
                  <a:gd name="T81" fmla="*/ 120 h 135"/>
                  <a:gd name="T82" fmla="*/ 10 w 132"/>
                  <a:gd name="T83" fmla="*/ 124 h 135"/>
                  <a:gd name="T84" fmla="*/ 14 w 132"/>
                  <a:gd name="T85" fmla="*/ 129 h 135"/>
                  <a:gd name="T86" fmla="*/ 16 w 132"/>
                  <a:gd name="T87" fmla="*/ 135 h 135"/>
                  <a:gd name="T88" fmla="*/ 16 w 132"/>
                  <a:gd name="T89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32" h="135">
                    <a:moveTo>
                      <a:pt x="16" y="135"/>
                    </a:moveTo>
                    <a:lnTo>
                      <a:pt x="51" y="100"/>
                    </a:lnTo>
                    <a:lnTo>
                      <a:pt x="51" y="100"/>
                    </a:lnTo>
                    <a:lnTo>
                      <a:pt x="59" y="102"/>
                    </a:lnTo>
                    <a:lnTo>
                      <a:pt x="68" y="105"/>
                    </a:lnTo>
                    <a:lnTo>
                      <a:pt x="77" y="106"/>
                    </a:lnTo>
                    <a:lnTo>
                      <a:pt x="85" y="106"/>
                    </a:lnTo>
                    <a:lnTo>
                      <a:pt x="93" y="105"/>
                    </a:lnTo>
                    <a:lnTo>
                      <a:pt x="101" y="101"/>
                    </a:lnTo>
                    <a:lnTo>
                      <a:pt x="109" y="97"/>
                    </a:lnTo>
                    <a:lnTo>
                      <a:pt x="116" y="92"/>
                    </a:lnTo>
                    <a:lnTo>
                      <a:pt x="116" y="92"/>
                    </a:lnTo>
                    <a:lnTo>
                      <a:pt x="123" y="82"/>
                    </a:lnTo>
                    <a:lnTo>
                      <a:pt x="128" y="74"/>
                    </a:lnTo>
                    <a:lnTo>
                      <a:pt x="131" y="63"/>
                    </a:lnTo>
                    <a:lnTo>
                      <a:pt x="132" y="54"/>
                    </a:lnTo>
                    <a:lnTo>
                      <a:pt x="131" y="43"/>
                    </a:lnTo>
                    <a:lnTo>
                      <a:pt x="128" y="34"/>
                    </a:lnTo>
                    <a:lnTo>
                      <a:pt x="123" y="24"/>
                    </a:lnTo>
                    <a:lnTo>
                      <a:pt x="116" y="16"/>
                    </a:lnTo>
                    <a:lnTo>
                      <a:pt x="116" y="16"/>
                    </a:lnTo>
                    <a:lnTo>
                      <a:pt x="108" y="9"/>
                    </a:lnTo>
                    <a:lnTo>
                      <a:pt x="99" y="4"/>
                    </a:lnTo>
                    <a:lnTo>
                      <a:pt x="89" y="1"/>
                    </a:lnTo>
                    <a:lnTo>
                      <a:pt x="78" y="0"/>
                    </a:lnTo>
                    <a:lnTo>
                      <a:pt x="69" y="1"/>
                    </a:lnTo>
                    <a:lnTo>
                      <a:pt x="58" y="4"/>
                    </a:lnTo>
                    <a:lnTo>
                      <a:pt x="50" y="9"/>
                    </a:lnTo>
                    <a:lnTo>
                      <a:pt x="41" y="16"/>
                    </a:lnTo>
                    <a:lnTo>
                      <a:pt x="41" y="16"/>
                    </a:lnTo>
                    <a:lnTo>
                      <a:pt x="35" y="23"/>
                    </a:lnTo>
                    <a:lnTo>
                      <a:pt x="31" y="31"/>
                    </a:lnTo>
                    <a:lnTo>
                      <a:pt x="27" y="39"/>
                    </a:lnTo>
                    <a:lnTo>
                      <a:pt x="26" y="48"/>
                    </a:lnTo>
                    <a:lnTo>
                      <a:pt x="26" y="58"/>
                    </a:lnTo>
                    <a:lnTo>
                      <a:pt x="27" y="66"/>
                    </a:lnTo>
                    <a:lnTo>
                      <a:pt x="30" y="75"/>
                    </a:lnTo>
                    <a:lnTo>
                      <a:pt x="35" y="84"/>
                    </a:lnTo>
                    <a:lnTo>
                      <a:pt x="0" y="117"/>
                    </a:lnTo>
                    <a:lnTo>
                      <a:pt x="0" y="117"/>
                    </a:lnTo>
                    <a:lnTo>
                      <a:pt x="6" y="120"/>
                    </a:lnTo>
                    <a:lnTo>
                      <a:pt x="10" y="124"/>
                    </a:lnTo>
                    <a:lnTo>
                      <a:pt x="14" y="129"/>
                    </a:lnTo>
                    <a:lnTo>
                      <a:pt x="16" y="135"/>
                    </a:lnTo>
                    <a:lnTo>
                      <a:pt x="16" y="1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BF0E11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248" name="Freeform 128"/>
              <p:cNvSpPr>
                <a:spLocks/>
              </p:cNvSpPr>
              <p:nvPr/>
            </p:nvSpPr>
            <p:spPr bwMode="auto">
              <a:xfrm>
                <a:off x="6519182" y="1999086"/>
                <a:ext cx="55514" cy="54686"/>
              </a:xfrm>
              <a:custGeom>
                <a:avLst/>
                <a:gdLst>
                  <a:gd name="T0" fmla="*/ 117 w 133"/>
                  <a:gd name="T1" fmla="*/ 0 h 133"/>
                  <a:gd name="T2" fmla="*/ 82 w 133"/>
                  <a:gd name="T3" fmla="*/ 35 h 133"/>
                  <a:gd name="T4" fmla="*/ 82 w 133"/>
                  <a:gd name="T5" fmla="*/ 35 h 133"/>
                  <a:gd name="T6" fmla="*/ 74 w 133"/>
                  <a:gd name="T7" fmla="*/ 31 h 133"/>
                  <a:gd name="T8" fmla="*/ 66 w 133"/>
                  <a:gd name="T9" fmla="*/ 29 h 133"/>
                  <a:gd name="T10" fmla="*/ 56 w 133"/>
                  <a:gd name="T11" fmla="*/ 27 h 133"/>
                  <a:gd name="T12" fmla="*/ 47 w 133"/>
                  <a:gd name="T13" fmla="*/ 27 h 133"/>
                  <a:gd name="T14" fmla="*/ 39 w 133"/>
                  <a:gd name="T15" fmla="*/ 29 h 133"/>
                  <a:gd name="T16" fmla="*/ 31 w 133"/>
                  <a:gd name="T17" fmla="*/ 31 h 133"/>
                  <a:gd name="T18" fmla="*/ 23 w 133"/>
                  <a:gd name="T19" fmla="*/ 35 h 133"/>
                  <a:gd name="T20" fmla="*/ 14 w 133"/>
                  <a:gd name="T21" fmla="*/ 42 h 133"/>
                  <a:gd name="T22" fmla="*/ 14 w 133"/>
                  <a:gd name="T23" fmla="*/ 42 h 133"/>
                  <a:gd name="T24" fmla="*/ 8 w 133"/>
                  <a:gd name="T25" fmla="*/ 50 h 133"/>
                  <a:gd name="T26" fmla="*/ 4 w 133"/>
                  <a:gd name="T27" fmla="*/ 60 h 133"/>
                  <a:gd name="T28" fmla="*/ 1 w 133"/>
                  <a:gd name="T29" fmla="*/ 69 h 133"/>
                  <a:gd name="T30" fmla="*/ 0 w 133"/>
                  <a:gd name="T31" fmla="*/ 80 h 133"/>
                  <a:gd name="T32" fmla="*/ 1 w 133"/>
                  <a:gd name="T33" fmla="*/ 89 h 133"/>
                  <a:gd name="T34" fmla="*/ 4 w 133"/>
                  <a:gd name="T35" fmla="*/ 100 h 133"/>
                  <a:gd name="T36" fmla="*/ 8 w 133"/>
                  <a:gd name="T37" fmla="*/ 110 h 133"/>
                  <a:gd name="T38" fmla="*/ 14 w 133"/>
                  <a:gd name="T39" fmla="*/ 118 h 133"/>
                  <a:gd name="T40" fmla="*/ 14 w 133"/>
                  <a:gd name="T41" fmla="*/ 118 h 133"/>
                  <a:gd name="T42" fmla="*/ 24 w 133"/>
                  <a:gd name="T43" fmla="*/ 124 h 133"/>
                  <a:gd name="T44" fmla="*/ 32 w 133"/>
                  <a:gd name="T45" fmla="*/ 129 h 133"/>
                  <a:gd name="T46" fmla="*/ 43 w 133"/>
                  <a:gd name="T47" fmla="*/ 133 h 133"/>
                  <a:gd name="T48" fmla="*/ 52 w 133"/>
                  <a:gd name="T49" fmla="*/ 133 h 133"/>
                  <a:gd name="T50" fmla="*/ 63 w 133"/>
                  <a:gd name="T51" fmla="*/ 133 h 133"/>
                  <a:gd name="T52" fmla="*/ 72 w 133"/>
                  <a:gd name="T53" fmla="*/ 129 h 133"/>
                  <a:gd name="T54" fmla="*/ 82 w 133"/>
                  <a:gd name="T55" fmla="*/ 124 h 133"/>
                  <a:gd name="T56" fmla="*/ 90 w 133"/>
                  <a:gd name="T57" fmla="*/ 118 h 133"/>
                  <a:gd name="T58" fmla="*/ 90 w 133"/>
                  <a:gd name="T59" fmla="*/ 118 h 133"/>
                  <a:gd name="T60" fmla="*/ 95 w 133"/>
                  <a:gd name="T61" fmla="*/ 111 h 133"/>
                  <a:gd name="T62" fmla="*/ 101 w 133"/>
                  <a:gd name="T63" fmla="*/ 103 h 133"/>
                  <a:gd name="T64" fmla="*/ 103 w 133"/>
                  <a:gd name="T65" fmla="*/ 95 h 133"/>
                  <a:gd name="T66" fmla="*/ 105 w 133"/>
                  <a:gd name="T67" fmla="*/ 85 h 133"/>
                  <a:gd name="T68" fmla="*/ 106 w 133"/>
                  <a:gd name="T69" fmla="*/ 77 h 133"/>
                  <a:gd name="T70" fmla="*/ 105 w 133"/>
                  <a:gd name="T71" fmla="*/ 69 h 133"/>
                  <a:gd name="T72" fmla="*/ 102 w 133"/>
                  <a:gd name="T73" fmla="*/ 61 h 133"/>
                  <a:gd name="T74" fmla="*/ 98 w 133"/>
                  <a:gd name="T75" fmla="*/ 53 h 133"/>
                  <a:gd name="T76" fmla="*/ 133 w 133"/>
                  <a:gd name="T77" fmla="*/ 17 h 133"/>
                  <a:gd name="T78" fmla="*/ 133 w 133"/>
                  <a:gd name="T79" fmla="*/ 17 h 133"/>
                  <a:gd name="T80" fmla="*/ 128 w 133"/>
                  <a:gd name="T81" fmla="*/ 15 h 133"/>
                  <a:gd name="T82" fmla="*/ 124 w 133"/>
                  <a:gd name="T83" fmla="*/ 11 h 133"/>
                  <a:gd name="T84" fmla="*/ 120 w 133"/>
                  <a:gd name="T85" fmla="*/ 6 h 133"/>
                  <a:gd name="T86" fmla="*/ 117 w 133"/>
                  <a:gd name="T87" fmla="*/ 0 h 133"/>
                  <a:gd name="T88" fmla="*/ 117 w 133"/>
                  <a:gd name="T89" fmla="*/ 0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33" h="133">
                    <a:moveTo>
                      <a:pt x="117" y="0"/>
                    </a:moveTo>
                    <a:lnTo>
                      <a:pt x="82" y="35"/>
                    </a:lnTo>
                    <a:lnTo>
                      <a:pt x="82" y="35"/>
                    </a:lnTo>
                    <a:lnTo>
                      <a:pt x="74" y="31"/>
                    </a:lnTo>
                    <a:lnTo>
                      <a:pt x="66" y="29"/>
                    </a:lnTo>
                    <a:lnTo>
                      <a:pt x="56" y="27"/>
                    </a:lnTo>
                    <a:lnTo>
                      <a:pt x="47" y="27"/>
                    </a:lnTo>
                    <a:lnTo>
                      <a:pt x="39" y="29"/>
                    </a:lnTo>
                    <a:lnTo>
                      <a:pt x="31" y="31"/>
                    </a:lnTo>
                    <a:lnTo>
                      <a:pt x="23" y="35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8" y="50"/>
                    </a:lnTo>
                    <a:lnTo>
                      <a:pt x="4" y="60"/>
                    </a:lnTo>
                    <a:lnTo>
                      <a:pt x="1" y="69"/>
                    </a:lnTo>
                    <a:lnTo>
                      <a:pt x="0" y="80"/>
                    </a:lnTo>
                    <a:lnTo>
                      <a:pt x="1" y="89"/>
                    </a:lnTo>
                    <a:lnTo>
                      <a:pt x="4" y="100"/>
                    </a:lnTo>
                    <a:lnTo>
                      <a:pt x="8" y="110"/>
                    </a:lnTo>
                    <a:lnTo>
                      <a:pt x="14" y="118"/>
                    </a:lnTo>
                    <a:lnTo>
                      <a:pt x="14" y="118"/>
                    </a:lnTo>
                    <a:lnTo>
                      <a:pt x="24" y="124"/>
                    </a:lnTo>
                    <a:lnTo>
                      <a:pt x="32" y="129"/>
                    </a:lnTo>
                    <a:lnTo>
                      <a:pt x="43" y="133"/>
                    </a:lnTo>
                    <a:lnTo>
                      <a:pt x="52" y="133"/>
                    </a:lnTo>
                    <a:lnTo>
                      <a:pt x="63" y="133"/>
                    </a:lnTo>
                    <a:lnTo>
                      <a:pt x="72" y="129"/>
                    </a:lnTo>
                    <a:lnTo>
                      <a:pt x="82" y="124"/>
                    </a:lnTo>
                    <a:lnTo>
                      <a:pt x="90" y="118"/>
                    </a:lnTo>
                    <a:lnTo>
                      <a:pt x="90" y="118"/>
                    </a:lnTo>
                    <a:lnTo>
                      <a:pt x="95" y="111"/>
                    </a:lnTo>
                    <a:lnTo>
                      <a:pt x="101" y="103"/>
                    </a:lnTo>
                    <a:lnTo>
                      <a:pt x="103" y="95"/>
                    </a:lnTo>
                    <a:lnTo>
                      <a:pt x="105" y="85"/>
                    </a:lnTo>
                    <a:lnTo>
                      <a:pt x="106" y="77"/>
                    </a:lnTo>
                    <a:lnTo>
                      <a:pt x="105" y="69"/>
                    </a:lnTo>
                    <a:lnTo>
                      <a:pt x="102" y="61"/>
                    </a:lnTo>
                    <a:lnTo>
                      <a:pt x="98" y="53"/>
                    </a:lnTo>
                    <a:lnTo>
                      <a:pt x="133" y="17"/>
                    </a:lnTo>
                    <a:lnTo>
                      <a:pt x="133" y="17"/>
                    </a:lnTo>
                    <a:lnTo>
                      <a:pt x="128" y="15"/>
                    </a:lnTo>
                    <a:lnTo>
                      <a:pt x="124" y="11"/>
                    </a:lnTo>
                    <a:lnTo>
                      <a:pt x="120" y="6"/>
                    </a:lnTo>
                    <a:lnTo>
                      <a:pt x="117" y="0"/>
                    </a:lnTo>
                    <a:lnTo>
                      <a:pt x="11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BF0E11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249" name="Freeform 129"/>
              <p:cNvSpPr>
                <a:spLocks/>
              </p:cNvSpPr>
              <p:nvPr/>
            </p:nvSpPr>
            <p:spPr bwMode="auto">
              <a:xfrm>
                <a:off x="6680751" y="1927001"/>
                <a:ext cx="82028" cy="43914"/>
              </a:xfrm>
              <a:custGeom>
                <a:avLst/>
                <a:gdLst>
                  <a:gd name="T0" fmla="*/ 146 w 199"/>
                  <a:gd name="T1" fmla="*/ 0 h 107"/>
                  <a:gd name="T2" fmla="*/ 146 w 199"/>
                  <a:gd name="T3" fmla="*/ 0 h 107"/>
                  <a:gd name="T4" fmla="*/ 136 w 199"/>
                  <a:gd name="T5" fmla="*/ 2 h 107"/>
                  <a:gd name="T6" fmla="*/ 127 w 199"/>
                  <a:gd name="T7" fmla="*/ 5 h 107"/>
                  <a:gd name="T8" fmla="*/ 119 w 199"/>
                  <a:gd name="T9" fmla="*/ 9 h 107"/>
                  <a:gd name="T10" fmla="*/ 112 w 199"/>
                  <a:gd name="T11" fmla="*/ 13 h 107"/>
                  <a:gd name="T12" fmla="*/ 105 w 199"/>
                  <a:gd name="T13" fmla="*/ 19 h 107"/>
                  <a:gd name="T14" fmla="*/ 100 w 199"/>
                  <a:gd name="T15" fmla="*/ 26 h 107"/>
                  <a:gd name="T16" fmla="*/ 96 w 199"/>
                  <a:gd name="T17" fmla="*/ 34 h 107"/>
                  <a:gd name="T18" fmla="*/ 93 w 199"/>
                  <a:gd name="T19" fmla="*/ 44 h 107"/>
                  <a:gd name="T20" fmla="*/ 0 w 199"/>
                  <a:gd name="T21" fmla="*/ 44 h 107"/>
                  <a:gd name="T22" fmla="*/ 0 w 199"/>
                  <a:gd name="T23" fmla="*/ 67 h 107"/>
                  <a:gd name="T24" fmla="*/ 93 w 199"/>
                  <a:gd name="T25" fmla="*/ 67 h 107"/>
                  <a:gd name="T26" fmla="*/ 93 w 199"/>
                  <a:gd name="T27" fmla="*/ 67 h 107"/>
                  <a:gd name="T28" fmla="*/ 97 w 199"/>
                  <a:gd name="T29" fmla="*/ 76 h 107"/>
                  <a:gd name="T30" fmla="*/ 101 w 199"/>
                  <a:gd name="T31" fmla="*/ 83 h 107"/>
                  <a:gd name="T32" fmla="*/ 107 w 199"/>
                  <a:gd name="T33" fmla="*/ 89 h 107"/>
                  <a:gd name="T34" fmla="*/ 112 w 199"/>
                  <a:gd name="T35" fmla="*/ 96 h 107"/>
                  <a:gd name="T36" fmla="*/ 120 w 199"/>
                  <a:gd name="T37" fmla="*/ 100 h 107"/>
                  <a:gd name="T38" fmla="*/ 128 w 199"/>
                  <a:gd name="T39" fmla="*/ 104 h 107"/>
                  <a:gd name="T40" fmla="*/ 136 w 199"/>
                  <a:gd name="T41" fmla="*/ 107 h 107"/>
                  <a:gd name="T42" fmla="*/ 146 w 199"/>
                  <a:gd name="T43" fmla="*/ 107 h 107"/>
                  <a:gd name="T44" fmla="*/ 146 w 199"/>
                  <a:gd name="T45" fmla="*/ 107 h 107"/>
                  <a:gd name="T46" fmla="*/ 157 w 199"/>
                  <a:gd name="T47" fmla="*/ 106 h 107"/>
                  <a:gd name="T48" fmla="*/ 166 w 199"/>
                  <a:gd name="T49" fmla="*/ 103 h 107"/>
                  <a:gd name="T50" fmla="*/ 176 w 199"/>
                  <a:gd name="T51" fmla="*/ 98 h 107"/>
                  <a:gd name="T52" fmla="*/ 182 w 199"/>
                  <a:gd name="T53" fmla="*/ 92 h 107"/>
                  <a:gd name="T54" fmla="*/ 189 w 199"/>
                  <a:gd name="T55" fmla="*/ 84 h 107"/>
                  <a:gd name="T56" fmla="*/ 194 w 199"/>
                  <a:gd name="T57" fmla="*/ 75 h 107"/>
                  <a:gd name="T58" fmla="*/ 197 w 199"/>
                  <a:gd name="T59" fmla="*/ 65 h 107"/>
                  <a:gd name="T60" fmla="*/ 199 w 199"/>
                  <a:gd name="T61" fmla="*/ 54 h 107"/>
                  <a:gd name="T62" fmla="*/ 199 w 199"/>
                  <a:gd name="T63" fmla="*/ 54 h 107"/>
                  <a:gd name="T64" fmla="*/ 197 w 199"/>
                  <a:gd name="T65" fmla="*/ 44 h 107"/>
                  <a:gd name="T66" fmla="*/ 194 w 199"/>
                  <a:gd name="T67" fmla="*/ 33 h 107"/>
                  <a:gd name="T68" fmla="*/ 189 w 199"/>
                  <a:gd name="T69" fmla="*/ 25 h 107"/>
                  <a:gd name="T70" fmla="*/ 182 w 199"/>
                  <a:gd name="T71" fmla="*/ 17 h 107"/>
                  <a:gd name="T72" fmla="*/ 176 w 199"/>
                  <a:gd name="T73" fmla="*/ 10 h 107"/>
                  <a:gd name="T74" fmla="*/ 166 w 199"/>
                  <a:gd name="T75" fmla="*/ 5 h 107"/>
                  <a:gd name="T76" fmla="*/ 157 w 199"/>
                  <a:gd name="T77" fmla="*/ 2 h 107"/>
                  <a:gd name="T78" fmla="*/ 146 w 199"/>
                  <a:gd name="T79" fmla="*/ 0 h 107"/>
                  <a:gd name="T80" fmla="*/ 146 w 199"/>
                  <a:gd name="T81" fmla="*/ 0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99" h="107">
                    <a:moveTo>
                      <a:pt x="146" y="0"/>
                    </a:moveTo>
                    <a:lnTo>
                      <a:pt x="146" y="0"/>
                    </a:lnTo>
                    <a:lnTo>
                      <a:pt x="136" y="2"/>
                    </a:lnTo>
                    <a:lnTo>
                      <a:pt x="127" y="5"/>
                    </a:lnTo>
                    <a:lnTo>
                      <a:pt x="119" y="9"/>
                    </a:lnTo>
                    <a:lnTo>
                      <a:pt x="112" y="13"/>
                    </a:lnTo>
                    <a:lnTo>
                      <a:pt x="105" y="19"/>
                    </a:lnTo>
                    <a:lnTo>
                      <a:pt x="100" y="26"/>
                    </a:lnTo>
                    <a:lnTo>
                      <a:pt x="96" y="34"/>
                    </a:lnTo>
                    <a:lnTo>
                      <a:pt x="93" y="44"/>
                    </a:lnTo>
                    <a:lnTo>
                      <a:pt x="0" y="44"/>
                    </a:lnTo>
                    <a:lnTo>
                      <a:pt x="0" y="67"/>
                    </a:lnTo>
                    <a:lnTo>
                      <a:pt x="93" y="67"/>
                    </a:lnTo>
                    <a:lnTo>
                      <a:pt x="93" y="67"/>
                    </a:lnTo>
                    <a:lnTo>
                      <a:pt x="97" y="76"/>
                    </a:lnTo>
                    <a:lnTo>
                      <a:pt x="101" y="83"/>
                    </a:lnTo>
                    <a:lnTo>
                      <a:pt x="107" y="89"/>
                    </a:lnTo>
                    <a:lnTo>
                      <a:pt x="112" y="96"/>
                    </a:lnTo>
                    <a:lnTo>
                      <a:pt x="120" y="100"/>
                    </a:lnTo>
                    <a:lnTo>
                      <a:pt x="128" y="104"/>
                    </a:lnTo>
                    <a:lnTo>
                      <a:pt x="136" y="107"/>
                    </a:lnTo>
                    <a:lnTo>
                      <a:pt x="146" y="107"/>
                    </a:lnTo>
                    <a:lnTo>
                      <a:pt x="146" y="107"/>
                    </a:lnTo>
                    <a:lnTo>
                      <a:pt x="157" y="106"/>
                    </a:lnTo>
                    <a:lnTo>
                      <a:pt x="166" y="103"/>
                    </a:lnTo>
                    <a:lnTo>
                      <a:pt x="176" y="98"/>
                    </a:lnTo>
                    <a:lnTo>
                      <a:pt x="182" y="92"/>
                    </a:lnTo>
                    <a:lnTo>
                      <a:pt x="189" y="84"/>
                    </a:lnTo>
                    <a:lnTo>
                      <a:pt x="194" y="75"/>
                    </a:lnTo>
                    <a:lnTo>
                      <a:pt x="197" y="65"/>
                    </a:lnTo>
                    <a:lnTo>
                      <a:pt x="199" y="54"/>
                    </a:lnTo>
                    <a:lnTo>
                      <a:pt x="199" y="54"/>
                    </a:lnTo>
                    <a:lnTo>
                      <a:pt x="197" y="44"/>
                    </a:lnTo>
                    <a:lnTo>
                      <a:pt x="194" y="33"/>
                    </a:lnTo>
                    <a:lnTo>
                      <a:pt x="189" y="25"/>
                    </a:lnTo>
                    <a:lnTo>
                      <a:pt x="182" y="17"/>
                    </a:lnTo>
                    <a:lnTo>
                      <a:pt x="176" y="10"/>
                    </a:lnTo>
                    <a:lnTo>
                      <a:pt x="166" y="5"/>
                    </a:lnTo>
                    <a:lnTo>
                      <a:pt x="157" y="2"/>
                    </a:lnTo>
                    <a:lnTo>
                      <a:pt x="146" y="0"/>
                    </a:lnTo>
                    <a:lnTo>
                      <a:pt x="14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BF0E11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250" name="Freeform 130"/>
              <p:cNvSpPr>
                <a:spLocks/>
              </p:cNvSpPr>
              <p:nvPr/>
            </p:nvSpPr>
            <p:spPr bwMode="auto">
              <a:xfrm>
                <a:off x="6672466" y="1999086"/>
                <a:ext cx="56342" cy="54686"/>
              </a:xfrm>
              <a:custGeom>
                <a:avLst/>
                <a:gdLst>
                  <a:gd name="T0" fmla="*/ 52 w 135"/>
                  <a:gd name="T1" fmla="*/ 35 h 133"/>
                  <a:gd name="T2" fmla="*/ 18 w 135"/>
                  <a:gd name="T3" fmla="*/ 0 h 133"/>
                  <a:gd name="T4" fmla="*/ 18 w 135"/>
                  <a:gd name="T5" fmla="*/ 0 h 133"/>
                  <a:gd name="T6" fmla="*/ 15 w 135"/>
                  <a:gd name="T7" fmla="*/ 6 h 133"/>
                  <a:gd name="T8" fmla="*/ 11 w 135"/>
                  <a:gd name="T9" fmla="*/ 11 h 133"/>
                  <a:gd name="T10" fmla="*/ 6 w 135"/>
                  <a:gd name="T11" fmla="*/ 15 h 133"/>
                  <a:gd name="T12" fmla="*/ 0 w 135"/>
                  <a:gd name="T13" fmla="*/ 17 h 133"/>
                  <a:gd name="T14" fmla="*/ 35 w 135"/>
                  <a:gd name="T15" fmla="*/ 53 h 133"/>
                  <a:gd name="T16" fmla="*/ 35 w 135"/>
                  <a:gd name="T17" fmla="*/ 53 h 133"/>
                  <a:gd name="T18" fmla="*/ 33 w 135"/>
                  <a:gd name="T19" fmla="*/ 61 h 133"/>
                  <a:gd name="T20" fmla="*/ 30 w 135"/>
                  <a:gd name="T21" fmla="*/ 69 h 133"/>
                  <a:gd name="T22" fmla="*/ 29 w 135"/>
                  <a:gd name="T23" fmla="*/ 77 h 133"/>
                  <a:gd name="T24" fmla="*/ 29 w 135"/>
                  <a:gd name="T25" fmla="*/ 85 h 133"/>
                  <a:gd name="T26" fmla="*/ 30 w 135"/>
                  <a:gd name="T27" fmla="*/ 95 h 133"/>
                  <a:gd name="T28" fmla="*/ 34 w 135"/>
                  <a:gd name="T29" fmla="*/ 103 h 133"/>
                  <a:gd name="T30" fmla="*/ 38 w 135"/>
                  <a:gd name="T31" fmla="*/ 111 h 133"/>
                  <a:gd name="T32" fmla="*/ 44 w 135"/>
                  <a:gd name="T33" fmla="*/ 118 h 133"/>
                  <a:gd name="T34" fmla="*/ 44 w 135"/>
                  <a:gd name="T35" fmla="*/ 118 h 133"/>
                  <a:gd name="T36" fmla="*/ 53 w 135"/>
                  <a:gd name="T37" fmla="*/ 124 h 133"/>
                  <a:gd name="T38" fmla="*/ 61 w 135"/>
                  <a:gd name="T39" fmla="*/ 129 h 133"/>
                  <a:gd name="T40" fmla="*/ 72 w 135"/>
                  <a:gd name="T41" fmla="*/ 133 h 133"/>
                  <a:gd name="T42" fmla="*/ 81 w 135"/>
                  <a:gd name="T43" fmla="*/ 133 h 133"/>
                  <a:gd name="T44" fmla="*/ 92 w 135"/>
                  <a:gd name="T45" fmla="*/ 133 h 133"/>
                  <a:gd name="T46" fmla="*/ 102 w 135"/>
                  <a:gd name="T47" fmla="*/ 129 h 133"/>
                  <a:gd name="T48" fmla="*/ 111 w 135"/>
                  <a:gd name="T49" fmla="*/ 124 h 133"/>
                  <a:gd name="T50" fmla="*/ 119 w 135"/>
                  <a:gd name="T51" fmla="*/ 118 h 133"/>
                  <a:gd name="T52" fmla="*/ 119 w 135"/>
                  <a:gd name="T53" fmla="*/ 118 h 133"/>
                  <a:gd name="T54" fmla="*/ 126 w 135"/>
                  <a:gd name="T55" fmla="*/ 110 h 133"/>
                  <a:gd name="T56" fmla="*/ 131 w 135"/>
                  <a:gd name="T57" fmla="*/ 100 h 133"/>
                  <a:gd name="T58" fmla="*/ 134 w 135"/>
                  <a:gd name="T59" fmla="*/ 89 h 133"/>
                  <a:gd name="T60" fmla="*/ 135 w 135"/>
                  <a:gd name="T61" fmla="*/ 80 h 133"/>
                  <a:gd name="T62" fmla="*/ 134 w 135"/>
                  <a:gd name="T63" fmla="*/ 69 h 133"/>
                  <a:gd name="T64" fmla="*/ 131 w 135"/>
                  <a:gd name="T65" fmla="*/ 60 h 133"/>
                  <a:gd name="T66" fmla="*/ 126 w 135"/>
                  <a:gd name="T67" fmla="*/ 50 h 133"/>
                  <a:gd name="T68" fmla="*/ 119 w 135"/>
                  <a:gd name="T69" fmla="*/ 42 h 133"/>
                  <a:gd name="T70" fmla="*/ 119 w 135"/>
                  <a:gd name="T71" fmla="*/ 42 h 133"/>
                  <a:gd name="T72" fmla="*/ 112 w 135"/>
                  <a:gd name="T73" fmla="*/ 35 h 133"/>
                  <a:gd name="T74" fmla="*/ 104 w 135"/>
                  <a:gd name="T75" fmla="*/ 31 h 133"/>
                  <a:gd name="T76" fmla="*/ 96 w 135"/>
                  <a:gd name="T77" fmla="*/ 29 h 133"/>
                  <a:gd name="T78" fmla="*/ 87 w 135"/>
                  <a:gd name="T79" fmla="*/ 27 h 133"/>
                  <a:gd name="T80" fmla="*/ 77 w 135"/>
                  <a:gd name="T81" fmla="*/ 27 h 133"/>
                  <a:gd name="T82" fmla="*/ 69 w 135"/>
                  <a:gd name="T83" fmla="*/ 29 h 133"/>
                  <a:gd name="T84" fmla="*/ 60 w 135"/>
                  <a:gd name="T85" fmla="*/ 31 h 133"/>
                  <a:gd name="T86" fmla="*/ 52 w 135"/>
                  <a:gd name="T87" fmla="*/ 35 h 133"/>
                  <a:gd name="T88" fmla="*/ 52 w 135"/>
                  <a:gd name="T89" fmla="*/ 35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35" h="133">
                    <a:moveTo>
                      <a:pt x="52" y="35"/>
                    </a:moveTo>
                    <a:lnTo>
                      <a:pt x="18" y="0"/>
                    </a:lnTo>
                    <a:lnTo>
                      <a:pt x="18" y="0"/>
                    </a:lnTo>
                    <a:lnTo>
                      <a:pt x="15" y="6"/>
                    </a:lnTo>
                    <a:lnTo>
                      <a:pt x="11" y="11"/>
                    </a:lnTo>
                    <a:lnTo>
                      <a:pt x="6" y="15"/>
                    </a:lnTo>
                    <a:lnTo>
                      <a:pt x="0" y="17"/>
                    </a:lnTo>
                    <a:lnTo>
                      <a:pt x="35" y="53"/>
                    </a:lnTo>
                    <a:lnTo>
                      <a:pt x="35" y="53"/>
                    </a:lnTo>
                    <a:lnTo>
                      <a:pt x="33" y="61"/>
                    </a:lnTo>
                    <a:lnTo>
                      <a:pt x="30" y="69"/>
                    </a:lnTo>
                    <a:lnTo>
                      <a:pt x="29" y="77"/>
                    </a:lnTo>
                    <a:lnTo>
                      <a:pt x="29" y="85"/>
                    </a:lnTo>
                    <a:lnTo>
                      <a:pt x="30" y="95"/>
                    </a:lnTo>
                    <a:lnTo>
                      <a:pt x="34" y="103"/>
                    </a:lnTo>
                    <a:lnTo>
                      <a:pt x="38" y="111"/>
                    </a:lnTo>
                    <a:lnTo>
                      <a:pt x="44" y="118"/>
                    </a:lnTo>
                    <a:lnTo>
                      <a:pt x="44" y="118"/>
                    </a:lnTo>
                    <a:lnTo>
                      <a:pt x="53" y="124"/>
                    </a:lnTo>
                    <a:lnTo>
                      <a:pt x="61" y="129"/>
                    </a:lnTo>
                    <a:lnTo>
                      <a:pt x="72" y="133"/>
                    </a:lnTo>
                    <a:lnTo>
                      <a:pt x="81" y="133"/>
                    </a:lnTo>
                    <a:lnTo>
                      <a:pt x="92" y="133"/>
                    </a:lnTo>
                    <a:lnTo>
                      <a:pt x="102" y="129"/>
                    </a:lnTo>
                    <a:lnTo>
                      <a:pt x="111" y="124"/>
                    </a:lnTo>
                    <a:lnTo>
                      <a:pt x="119" y="118"/>
                    </a:lnTo>
                    <a:lnTo>
                      <a:pt x="119" y="118"/>
                    </a:lnTo>
                    <a:lnTo>
                      <a:pt x="126" y="110"/>
                    </a:lnTo>
                    <a:lnTo>
                      <a:pt x="131" y="100"/>
                    </a:lnTo>
                    <a:lnTo>
                      <a:pt x="134" y="89"/>
                    </a:lnTo>
                    <a:lnTo>
                      <a:pt x="135" y="80"/>
                    </a:lnTo>
                    <a:lnTo>
                      <a:pt x="134" y="69"/>
                    </a:lnTo>
                    <a:lnTo>
                      <a:pt x="131" y="60"/>
                    </a:lnTo>
                    <a:lnTo>
                      <a:pt x="126" y="50"/>
                    </a:lnTo>
                    <a:lnTo>
                      <a:pt x="119" y="42"/>
                    </a:lnTo>
                    <a:lnTo>
                      <a:pt x="119" y="42"/>
                    </a:lnTo>
                    <a:lnTo>
                      <a:pt x="112" y="35"/>
                    </a:lnTo>
                    <a:lnTo>
                      <a:pt x="104" y="31"/>
                    </a:lnTo>
                    <a:lnTo>
                      <a:pt x="96" y="29"/>
                    </a:lnTo>
                    <a:lnTo>
                      <a:pt x="87" y="27"/>
                    </a:lnTo>
                    <a:lnTo>
                      <a:pt x="77" y="27"/>
                    </a:lnTo>
                    <a:lnTo>
                      <a:pt x="69" y="29"/>
                    </a:lnTo>
                    <a:lnTo>
                      <a:pt x="60" y="31"/>
                    </a:lnTo>
                    <a:lnTo>
                      <a:pt x="52" y="35"/>
                    </a:lnTo>
                    <a:lnTo>
                      <a:pt x="52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BF0E11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251" name="Freeform 131"/>
              <p:cNvSpPr>
                <a:spLocks/>
              </p:cNvSpPr>
              <p:nvPr/>
            </p:nvSpPr>
            <p:spPr bwMode="auto">
              <a:xfrm>
                <a:off x="6602038" y="2006543"/>
                <a:ext cx="43914" cy="82028"/>
              </a:xfrm>
              <a:custGeom>
                <a:avLst/>
                <a:gdLst>
                  <a:gd name="T0" fmla="*/ 66 w 107"/>
                  <a:gd name="T1" fmla="*/ 92 h 197"/>
                  <a:gd name="T2" fmla="*/ 66 w 107"/>
                  <a:gd name="T3" fmla="*/ 0 h 197"/>
                  <a:gd name="T4" fmla="*/ 42 w 107"/>
                  <a:gd name="T5" fmla="*/ 0 h 197"/>
                  <a:gd name="T6" fmla="*/ 42 w 107"/>
                  <a:gd name="T7" fmla="*/ 92 h 197"/>
                  <a:gd name="T8" fmla="*/ 42 w 107"/>
                  <a:gd name="T9" fmla="*/ 92 h 197"/>
                  <a:gd name="T10" fmla="*/ 34 w 107"/>
                  <a:gd name="T11" fmla="*/ 93 h 197"/>
                  <a:gd name="T12" fmla="*/ 26 w 107"/>
                  <a:gd name="T13" fmla="*/ 97 h 197"/>
                  <a:gd name="T14" fmla="*/ 19 w 107"/>
                  <a:gd name="T15" fmla="*/ 103 h 197"/>
                  <a:gd name="T16" fmla="*/ 12 w 107"/>
                  <a:gd name="T17" fmla="*/ 110 h 197"/>
                  <a:gd name="T18" fmla="*/ 7 w 107"/>
                  <a:gd name="T19" fmla="*/ 118 h 197"/>
                  <a:gd name="T20" fmla="*/ 3 w 107"/>
                  <a:gd name="T21" fmla="*/ 126 h 197"/>
                  <a:gd name="T22" fmla="*/ 0 w 107"/>
                  <a:gd name="T23" fmla="*/ 134 h 197"/>
                  <a:gd name="T24" fmla="*/ 0 w 107"/>
                  <a:gd name="T25" fmla="*/ 143 h 197"/>
                  <a:gd name="T26" fmla="*/ 0 w 107"/>
                  <a:gd name="T27" fmla="*/ 143 h 197"/>
                  <a:gd name="T28" fmla="*/ 2 w 107"/>
                  <a:gd name="T29" fmla="*/ 154 h 197"/>
                  <a:gd name="T30" fmla="*/ 4 w 107"/>
                  <a:gd name="T31" fmla="*/ 165 h 197"/>
                  <a:gd name="T32" fmla="*/ 10 w 107"/>
                  <a:gd name="T33" fmla="*/ 173 h 197"/>
                  <a:gd name="T34" fmla="*/ 15 w 107"/>
                  <a:gd name="T35" fmla="*/ 181 h 197"/>
                  <a:gd name="T36" fmla="*/ 23 w 107"/>
                  <a:gd name="T37" fmla="*/ 188 h 197"/>
                  <a:gd name="T38" fmla="*/ 33 w 107"/>
                  <a:gd name="T39" fmla="*/ 192 h 197"/>
                  <a:gd name="T40" fmla="*/ 42 w 107"/>
                  <a:gd name="T41" fmla="*/ 196 h 197"/>
                  <a:gd name="T42" fmla="*/ 53 w 107"/>
                  <a:gd name="T43" fmla="*/ 197 h 197"/>
                  <a:gd name="T44" fmla="*/ 53 w 107"/>
                  <a:gd name="T45" fmla="*/ 197 h 197"/>
                  <a:gd name="T46" fmla="*/ 64 w 107"/>
                  <a:gd name="T47" fmla="*/ 196 h 197"/>
                  <a:gd name="T48" fmla="*/ 74 w 107"/>
                  <a:gd name="T49" fmla="*/ 192 h 197"/>
                  <a:gd name="T50" fmla="*/ 82 w 107"/>
                  <a:gd name="T51" fmla="*/ 188 h 197"/>
                  <a:gd name="T52" fmla="*/ 91 w 107"/>
                  <a:gd name="T53" fmla="*/ 181 h 197"/>
                  <a:gd name="T54" fmla="*/ 97 w 107"/>
                  <a:gd name="T55" fmla="*/ 173 h 197"/>
                  <a:gd name="T56" fmla="*/ 103 w 107"/>
                  <a:gd name="T57" fmla="*/ 165 h 197"/>
                  <a:gd name="T58" fmla="*/ 105 w 107"/>
                  <a:gd name="T59" fmla="*/ 154 h 197"/>
                  <a:gd name="T60" fmla="*/ 107 w 107"/>
                  <a:gd name="T61" fmla="*/ 143 h 197"/>
                  <a:gd name="T62" fmla="*/ 107 w 107"/>
                  <a:gd name="T63" fmla="*/ 143 h 197"/>
                  <a:gd name="T64" fmla="*/ 105 w 107"/>
                  <a:gd name="T65" fmla="*/ 134 h 197"/>
                  <a:gd name="T66" fmla="*/ 103 w 107"/>
                  <a:gd name="T67" fmla="*/ 126 h 197"/>
                  <a:gd name="T68" fmla="*/ 100 w 107"/>
                  <a:gd name="T69" fmla="*/ 118 h 197"/>
                  <a:gd name="T70" fmla="*/ 95 w 107"/>
                  <a:gd name="T71" fmla="*/ 111 h 197"/>
                  <a:gd name="T72" fmla="*/ 89 w 107"/>
                  <a:gd name="T73" fmla="*/ 104 h 197"/>
                  <a:gd name="T74" fmla="*/ 82 w 107"/>
                  <a:gd name="T75" fmla="*/ 99 h 197"/>
                  <a:gd name="T76" fmla="*/ 74 w 107"/>
                  <a:gd name="T77" fmla="*/ 95 h 197"/>
                  <a:gd name="T78" fmla="*/ 66 w 107"/>
                  <a:gd name="T79" fmla="*/ 92 h 197"/>
                  <a:gd name="T80" fmla="*/ 66 w 107"/>
                  <a:gd name="T81" fmla="*/ 92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07" h="197">
                    <a:moveTo>
                      <a:pt x="66" y="92"/>
                    </a:moveTo>
                    <a:lnTo>
                      <a:pt x="66" y="0"/>
                    </a:lnTo>
                    <a:lnTo>
                      <a:pt x="42" y="0"/>
                    </a:lnTo>
                    <a:lnTo>
                      <a:pt x="42" y="92"/>
                    </a:lnTo>
                    <a:lnTo>
                      <a:pt x="42" y="92"/>
                    </a:lnTo>
                    <a:lnTo>
                      <a:pt x="34" y="93"/>
                    </a:lnTo>
                    <a:lnTo>
                      <a:pt x="26" y="97"/>
                    </a:lnTo>
                    <a:lnTo>
                      <a:pt x="19" y="103"/>
                    </a:lnTo>
                    <a:lnTo>
                      <a:pt x="12" y="110"/>
                    </a:lnTo>
                    <a:lnTo>
                      <a:pt x="7" y="118"/>
                    </a:lnTo>
                    <a:lnTo>
                      <a:pt x="3" y="126"/>
                    </a:lnTo>
                    <a:lnTo>
                      <a:pt x="0" y="134"/>
                    </a:lnTo>
                    <a:lnTo>
                      <a:pt x="0" y="143"/>
                    </a:lnTo>
                    <a:lnTo>
                      <a:pt x="0" y="143"/>
                    </a:lnTo>
                    <a:lnTo>
                      <a:pt x="2" y="154"/>
                    </a:lnTo>
                    <a:lnTo>
                      <a:pt x="4" y="165"/>
                    </a:lnTo>
                    <a:lnTo>
                      <a:pt x="10" y="173"/>
                    </a:lnTo>
                    <a:lnTo>
                      <a:pt x="15" y="181"/>
                    </a:lnTo>
                    <a:lnTo>
                      <a:pt x="23" y="188"/>
                    </a:lnTo>
                    <a:lnTo>
                      <a:pt x="33" y="192"/>
                    </a:lnTo>
                    <a:lnTo>
                      <a:pt x="42" y="196"/>
                    </a:lnTo>
                    <a:lnTo>
                      <a:pt x="53" y="197"/>
                    </a:lnTo>
                    <a:lnTo>
                      <a:pt x="53" y="197"/>
                    </a:lnTo>
                    <a:lnTo>
                      <a:pt x="64" y="196"/>
                    </a:lnTo>
                    <a:lnTo>
                      <a:pt x="74" y="192"/>
                    </a:lnTo>
                    <a:lnTo>
                      <a:pt x="82" y="188"/>
                    </a:lnTo>
                    <a:lnTo>
                      <a:pt x="91" y="181"/>
                    </a:lnTo>
                    <a:lnTo>
                      <a:pt x="97" y="173"/>
                    </a:lnTo>
                    <a:lnTo>
                      <a:pt x="103" y="165"/>
                    </a:lnTo>
                    <a:lnTo>
                      <a:pt x="105" y="154"/>
                    </a:lnTo>
                    <a:lnTo>
                      <a:pt x="107" y="143"/>
                    </a:lnTo>
                    <a:lnTo>
                      <a:pt x="107" y="143"/>
                    </a:lnTo>
                    <a:lnTo>
                      <a:pt x="105" y="134"/>
                    </a:lnTo>
                    <a:lnTo>
                      <a:pt x="103" y="126"/>
                    </a:lnTo>
                    <a:lnTo>
                      <a:pt x="100" y="118"/>
                    </a:lnTo>
                    <a:lnTo>
                      <a:pt x="95" y="111"/>
                    </a:lnTo>
                    <a:lnTo>
                      <a:pt x="89" y="104"/>
                    </a:lnTo>
                    <a:lnTo>
                      <a:pt x="82" y="99"/>
                    </a:lnTo>
                    <a:lnTo>
                      <a:pt x="74" y="95"/>
                    </a:lnTo>
                    <a:lnTo>
                      <a:pt x="66" y="92"/>
                    </a:lnTo>
                    <a:lnTo>
                      <a:pt x="66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4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700" dirty="0">
                  <a:solidFill>
                    <a:srgbClr val="BF0E11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9711057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5" y="0"/>
            <a:ext cx="9142602" cy="5162550"/>
          </a:xfrm>
          <a:prstGeom prst="rect">
            <a:avLst/>
          </a:prstGeom>
        </p:spPr>
      </p:pic>
      <p:pic>
        <p:nvPicPr>
          <p:cNvPr id="3" name="Picture 6" descr="pref_1-line_logo+tagline-rt-white-CMYK.ai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466" r="60439"/>
          <a:stretch/>
        </p:blipFill>
        <p:spPr bwMode="auto">
          <a:xfrm>
            <a:off x="3648075" y="1643063"/>
            <a:ext cx="1847851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5956186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alf_Page_Tex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510540"/>
            <a:ext cx="3808797" cy="655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10540"/>
            <a:ext cx="3551237" cy="4080510"/>
          </a:xfrm>
          <a:prstGeom prst="rect">
            <a:avLst/>
          </a:prstGeom>
        </p:spPr>
        <p:txBody>
          <a:bodyPr lIns="0" rIns="0"/>
          <a:lstStyle>
            <a:lvl1pPr marL="1143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1pPr>
            <a:lvl2pPr marL="2286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2pPr>
            <a:lvl3pPr marL="342900" indent="-114300">
              <a:lnSpc>
                <a:spcPct val="100000"/>
              </a:lnSpc>
              <a:buClr>
                <a:schemeClr val="tx1"/>
              </a:buClr>
              <a:buSzPct val="60000"/>
              <a:defRPr sz="1800"/>
            </a:lvl3pPr>
            <a:lvl4pPr marL="457200" indent="-123825">
              <a:lnSpc>
                <a:spcPct val="100000"/>
              </a:lnSpc>
              <a:buClr>
                <a:schemeClr val="tx1"/>
              </a:buClr>
              <a:buSzPct val="60000"/>
              <a:defRPr sz="1600"/>
            </a:lvl4pPr>
            <a:lvl5pPr marL="574675" indent="-117475">
              <a:lnSpc>
                <a:spcPct val="100000"/>
              </a:lnSpc>
              <a:buClr>
                <a:schemeClr val="tx1"/>
              </a:buClr>
              <a:buSzPct val="60000"/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37766" y="1659842"/>
            <a:ext cx="3808797" cy="2931208"/>
          </a:xfrm>
          <a:prstGeom prst="rect">
            <a:avLst/>
          </a:prstGeom>
        </p:spPr>
        <p:txBody>
          <a:bodyPr/>
          <a:lstStyle>
            <a:lvl1pPr marL="114300" indent="-114300">
              <a:buClr>
                <a:schemeClr val="tx2"/>
              </a:buClr>
              <a:buSzPct val="60000"/>
              <a:defRPr lang="en-US" sz="2000" kern="1200" dirty="0" smtClean="0">
                <a:solidFill>
                  <a:schemeClr val="bg1"/>
                </a:solidFill>
                <a:latin typeface="+mn-lt"/>
                <a:ea typeface="ＭＳ Ｐゴシック" charset="0"/>
                <a:cs typeface="CiscoSans"/>
              </a:defRPr>
            </a:lvl1pPr>
            <a:lvl2pPr marL="228600" indent="-114300">
              <a:buClr>
                <a:schemeClr val="tx2"/>
              </a:buClr>
              <a:buSzPct val="60000"/>
              <a:defRPr sz="2000">
                <a:solidFill>
                  <a:schemeClr val="bg1"/>
                </a:solidFill>
              </a:defRPr>
            </a:lvl2pPr>
            <a:lvl3pPr marL="342900" indent="-114300">
              <a:buClr>
                <a:schemeClr val="tx2"/>
              </a:buClr>
              <a:buSzPct val="60000"/>
              <a:defRPr sz="1800">
                <a:solidFill>
                  <a:schemeClr val="bg1"/>
                </a:solidFill>
              </a:defRPr>
            </a:lvl3pPr>
            <a:lvl4pPr marL="457200" indent="-123825">
              <a:buClr>
                <a:schemeClr val="tx2"/>
              </a:buClr>
              <a:buSzPct val="60000"/>
              <a:defRPr sz="1600">
                <a:solidFill>
                  <a:schemeClr val="bg1"/>
                </a:solidFill>
              </a:defRPr>
            </a:lvl4pPr>
            <a:lvl5pPr marL="574675" indent="-117475">
              <a:buClr>
                <a:schemeClr val="tx2"/>
              </a:buClr>
              <a:buSzPct val="60000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</a:t>
            </a:r>
            <a:r>
              <a:rPr lang="en-US" sz="600" kern="1200" spc="20" baseline="0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2017  </a:t>
            </a: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70551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" pos="2675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2191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alf_Page_Pictur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 smtClean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336484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089525" y="4062350"/>
            <a:ext cx="3559175" cy="5251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</a:t>
            </a:r>
            <a:r>
              <a:rPr lang="en-US" sz="600" kern="1200" spc="20" baseline="0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2017  </a:t>
            </a: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339482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44" userDrawn="1">
          <p15:clr>
            <a:srgbClr val="FBAE40"/>
          </p15:clr>
        </p15:guide>
        <p15:guide id="2" pos="264" userDrawn="1">
          <p15:clr>
            <a:srgbClr val="FBAE40"/>
          </p15:clr>
        </p15:guide>
        <p15:guide id="3" orient="horz" pos="2193" userDrawn="1">
          <p15:clr>
            <a:srgbClr val="FBAE40"/>
          </p15:clr>
        </p15:guide>
        <p15:guide id="4" pos="2675" userDrawn="1">
          <p15:clr>
            <a:srgbClr val="FBAE40"/>
          </p15:clr>
        </p15:guide>
        <p15:guide id="7" pos="3206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alf_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 smtClean="0">
              <a:solidFill>
                <a:schemeClr val="tx2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405923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</a:t>
            </a:r>
            <a:r>
              <a:rPr lang="en-US" sz="600" kern="1200" spc="20" baseline="0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2017  </a:t>
            </a: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42764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Half_Page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 smtClean="0">
              <a:solidFill>
                <a:schemeClr val="bg1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</a:t>
            </a:r>
            <a:r>
              <a:rPr lang="en-US" sz="600" kern="1200" spc="20" baseline="0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2017  </a:t>
            </a: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84465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alf_Page_Picture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 smtClean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4580092" y="0"/>
            <a:ext cx="4563907" cy="5143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</a:t>
            </a:r>
            <a:r>
              <a:rPr lang="en-US" sz="600" kern="1200" spc="20" baseline="0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2017  </a:t>
            </a: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38180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Half_Pag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 smtClean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</a:t>
            </a:r>
            <a:r>
              <a:rPr lang="en-US" sz="600" kern="1200" spc="20" baseline="0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2017  </a:t>
            </a: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01836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3" orient="horz" pos="2196" userDrawn="1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Half_Pag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 smtClean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</a:t>
            </a:r>
            <a:r>
              <a:rPr lang="en-US" sz="600" kern="1200" spc="20" baseline="0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2017  </a:t>
            </a: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91378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5" name="Freeform 6"/>
          <p:cNvSpPr>
            <a:spLocks noChangeAspect="1" noEditPoints="1"/>
          </p:cNvSpPr>
          <p:nvPr userDrawn="1"/>
        </p:nvSpPr>
        <p:spPr bwMode="auto">
          <a:xfrm>
            <a:off x="3762994" y="2129076"/>
            <a:ext cx="1618012" cy="859571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8759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8816372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347788"/>
            <a:ext cx="8277344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372999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090513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gu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677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6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29204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4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2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21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893457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89660" y="895601"/>
            <a:ext cx="8398739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6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29204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4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2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21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6757650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8639" y="876359"/>
            <a:ext cx="8259762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12400" indent="-392400">
              <a:lnSpc>
                <a:spcPts val="4440"/>
              </a:lnSpc>
              <a:spcBef>
                <a:spcPts val="0"/>
              </a:spcBef>
              <a:buClr>
                <a:schemeClr val="tx2"/>
              </a:buClr>
              <a:buSzPct val="80000"/>
              <a:buFont typeface="Arial"/>
              <a:buChar char="•"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8371012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6" name="think-cell Slide" r:id="rId4" imgW="381" imgH="286" progId="TCLayout.ActiveDocument.1">
                  <p:embed/>
                </p:oleObj>
              </mc:Choice>
              <mc:Fallback>
                <p:oleObj name="think-cell Slide" r:id="rId4" imgW="381" imgH="28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2301" y="1347788"/>
            <a:ext cx="8277344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338706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6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564794" y="1347788"/>
            <a:ext cx="4218460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764487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4565650" y="609600"/>
            <a:ext cx="0" cy="3984625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28" y="302505"/>
            <a:ext cx="3715995" cy="826447"/>
          </a:xfrm>
          <a:prstGeom prst="rect">
            <a:avLst/>
          </a:prstGeom>
        </p:spPr>
        <p:txBody>
          <a:bodyPr lIns="61712" tIns="34286" rIns="61712" bIns="34286" rtlCol="0">
            <a:noAutofit/>
          </a:bodyPr>
          <a:lstStyle>
            <a:lvl1pPr algn="l" defTabSz="68572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000" b="0" i="0" kern="1200" spc="-75" baseline="0" dirty="0" smtClean="0">
                <a:solidFill>
                  <a:schemeClr val="tx2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4905964" y="302506"/>
            <a:ext cx="3715995" cy="826446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i="0" kern="1200" spc="-75" baseline="0" dirty="0">
                <a:solidFill>
                  <a:schemeClr val="tx2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7928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905964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302967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3070225" y="609600"/>
            <a:ext cx="0" cy="3984625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6037263" y="609600"/>
            <a:ext cx="0" cy="3984625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461963" y="22831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/>
          </p:nvPr>
        </p:nvSpPr>
        <p:spPr>
          <a:xfrm>
            <a:off x="3377728" y="22783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/>
          </p:nvPr>
        </p:nvSpPr>
        <p:spPr>
          <a:xfrm>
            <a:off x="6354813" y="22047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61963" y="1201094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16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431910" indent="-171415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3377728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16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431910" indent="-171415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/>
          </p:nvPr>
        </p:nvSpPr>
        <p:spPr>
          <a:xfrm>
            <a:off x="6354812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16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431910" indent="-171415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75271363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5070475" y="1330325"/>
            <a:ext cx="3713163" cy="3101975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555558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5148706" y="1481751"/>
            <a:ext cx="3375912" cy="165901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85718" indent="-85718" algn="l" defTabSz="68572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15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/>
          </p:nvPr>
        </p:nvSpPr>
        <p:spPr>
          <a:xfrm>
            <a:off x="5148706" y="3552444"/>
            <a:ext cx="3506245" cy="2537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6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103744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0" name="think-cell Slide" r:id="rId4" imgW="381" imgH="286" progId="TCLayout.ActiveDocument.1">
                  <p:embed/>
                </p:oleObj>
              </mc:Choice>
              <mc:Fallback>
                <p:oleObj name="think-cell Slide" r:id="rId4" imgW="381" imgH="28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032741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2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6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607865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2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9897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610100" y="609600"/>
            <a:ext cx="0" cy="3984625"/>
          </a:xfrm>
          <a:prstGeom prst="line">
            <a:avLst/>
          </a:prstGeom>
          <a:ln w="38100" cap="flat" cmpd="sng">
            <a:solidFill>
              <a:srgbClr val="004BA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63763" y="1439060"/>
            <a:ext cx="3820348" cy="2265389"/>
          </a:xfrm>
        </p:spPr>
        <p:txBody>
          <a:bodyPr lIns="61715" tIns="34288" rIns="61715" bIns="34288" rtlCol="0">
            <a:noAutofit/>
          </a:bodyPr>
          <a:lstStyle>
            <a:lvl1pPr marL="0" indent="0" algn="l" defTabSz="68574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rgbClr val="555558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22520" y="654518"/>
            <a:ext cx="3865880" cy="3840480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2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357050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437766" y="1347788"/>
            <a:ext cx="8345488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noProof="0" dirty="0" smtClean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tx2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108304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37766" y="1349375"/>
            <a:ext cx="8345488" cy="266065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 smtClean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tx2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470064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437766" y="1349456"/>
            <a:ext cx="4007001" cy="304077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709908" y="1349374"/>
            <a:ext cx="4073346" cy="303939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 smtClean="0"/>
              <a:t>Click icon to add chart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356587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437766" y="1349354"/>
            <a:ext cx="4003995" cy="3040875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08110" y="1349375"/>
            <a:ext cx="4075144" cy="3041208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620768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478485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86876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10876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34876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 userDrawn="1"/>
        </p:nvSpPr>
        <p:spPr bwMode="auto">
          <a:xfrm>
            <a:off x="469496" y="391308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5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792357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949461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gu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92499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139735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2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9484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1751936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500063" y="3895662"/>
            <a:ext cx="8139112" cy="556563"/>
          </a:xfrm>
          <a:prstGeom prst="rect">
            <a:avLst/>
          </a:prstGeom>
          <a:noFill/>
          <a:extLst/>
        </p:spPr>
        <p:txBody>
          <a:bodyPr wrap="square" lIns="182880" tIns="91440" rIns="182880" bIns="91440" numCol="1" anchor="ctr" anchorCtr="0" compatLnSpc="1">
            <a:prstTxWarp prst="textNoShape">
              <a:avLst/>
            </a:prstTxWarp>
            <a:spAutoFit/>
          </a:bodyPr>
          <a:lstStyle>
            <a:lvl1pPr marL="0" indent="0" algn="ctr">
              <a:lnSpc>
                <a:spcPts val="2900"/>
              </a:lnSpc>
              <a:spcBef>
                <a:spcPts val="0"/>
              </a:spcBef>
              <a:buNone/>
              <a:defRPr sz="24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547082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9301163" cy="2843212"/>
          </a:xfrm>
          <a:prstGeom prst="rect">
            <a:avLst/>
          </a:prstGeom>
          <a:solidFill>
            <a:schemeClr val="bg2"/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8785" y="3054518"/>
            <a:ext cx="8364236" cy="564257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1246288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70178249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0932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1"/>
            <a:ext cx="8480388" cy="4266646"/>
          </a:xfrm>
          <a:prstGeom prst="rect">
            <a:avLst/>
          </a:prstGeom>
          <a:solidFill>
            <a:schemeClr val="bg2"/>
          </a:solidFill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41670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201738"/>
            <a:ext cx="8277344" cy="3389312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600" indent="-17145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457200" indent="-1651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85800" indent="-10953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7639050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3399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55866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872858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854075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888442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33400" y="1347788"/>
            <a:ext cx="8115300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684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500063" y="3895662"/>
            <a:ext cx="8139112" cy="556563"/>
          </a:xfrm>
          <a:prstGeom prst="rect">
            <a:avLst/>
          </a:prstGeom>
          <a:noFill/>
          <a:extLst/>
        </p:spPr>
        <p:txBody>
          <a:bodyPr wrap="square" lIns="182880" tIns="91440" rIns="182880" bIns="91440" numCol="1" anchor="ctr" anchorCtr="0" compatLnSpc="1">
            <a:prstTxWarp prst="textNoShape">
              <a:avLst/>
            </a:prstTxWarp>
            <a:spAutoFit/>
          </a:bodyPr>
          <a:lstStyle>
            <a:lvl1pPr marL="0" indent="0" algn="ctr">
              <a:lnSpc>
                <a:spcPts val="2900"/>
              </a:lnSpc>
              <a:spcBef>
                <a:spcPts val="0"/>
              </a:spcBef>
              <a:buNone/>
              <a:defRPr sz="24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0564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33400" y="1201738"/>
            <a:ext cx="8115300" cy="280828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754440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74662" y="1347788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90" marR="0" indent="-285690" algn="ct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2830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_Pag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665182"/>
            <a:ext cx="3662024" cy="292586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60000"/>
              <a:buFont typeface="Arial"/>
              <a:buChar char="•"/>
              <a:defRPr sz="20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60000"/>
              <a:buFont typeface="Arial"/>
              <a:buChar char="•"/>
              <a:defRPr sz="18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403225" indent="-114300">
              <a:buClr>
                <a:schemeClr val="tx2"/>
              </a:buClr>
              <a:buSzPct val="60000"/>
              <a:buFont typeface="Arial"/>
              <a:buChar char="•"/>
              <a:defRPr sz="16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517525" indent="-114300">
              <a:buClr>
                <a:schemeClr val="tx2"/>
              </a:buClr>
              <a:buSzPct val="60000"/>
              <a:buFont typeface="Arial"/>
              <a:buChar char="•"/>
              <a:defRPr sz="14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631825" indent="-114300">
              <a:buClr>
                <a:schemeClr val="tx2"/>
              </a:buClr>
              <a:buSzPct val="60000"/>
              <a:buFont typeface="Arial"/>
              <a:buChar char="•"/>
              <a:defRPr sz="12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3686559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5683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6840496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">
          <p15:clr>
            <a:srgbClr val="FBAE40"/>
          </p15:clr>
        </p15:guide>
        <p15:guide id="3" pos="2598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19100" y="1657350"/>
            <a:ext cx="3827463" cy="18288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31812"/>
            <a:ext cx="3551237" cy="4059237"/>
          </a:xfrm>
          <a:prstGeom prst="rect">
            <a:avLst/>
          </a:prstGeom>
        </p:spPr>
        <p:txBody>
          <a:bodyPr lIns="0" rIns="0" anchor="ctr" anchorCtr="0"/>
          <a:lstStyle>
            <a:lvl1pPr marL="169863" indent="-16986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>
                <a:tab pos="228600" algn="l"/>
              </a:tabLst>
              <a:defRPr sz="2400"/>
            </a:lvl1pPr>
            <a:lvl2pPr marL="346075" indent="-171450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400"/>
            </a:lvl2pPr>
            <a:lvl3pPr marL="457200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000"/>
            </a:lvl3pPr>
            <a:lvl4pPr marL="574675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/>
              <a:defRPr sz="1800"/>
            </a:lvl4pPr>
            <a:lvl5pPr marL="744538" indent="-11271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228016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alf_Page_Tex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510540"/>
            <a:ext cx="3808797" cy="655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10540"/>
            <a:ext cx="3551237" cy="4080510"/>
          </a:xfrm>
          <a:prstGeom prst="rect">
            <a:avLst/>
          </a:prstGeom>
        </p:spPr>
        <p:txBody>
          <a:bodyPr lIns="0" rIns="0"/>
          <a:lstStyle>
            <a:lvl1pPr marL="1143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1pPr>
            <a:lvl2pPr marL="2286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2pPr>
            <a:lvl3pPr marL="342900" indent="-114300">
              <a:lnSpc>
                <a:spcPct val="100000"/>
              </a:lnSpc>
              <a:buClr>
                <a:schemeClr val="tx1"/>
              </a:buClr>
              <a:buSzPct val="60000"/>
              <a:defRPr sz="1800"/>
            </a:lvl3pPr>
            <a:lvl4pPr marL="457200" indent="-123825">
              <a:lnSpc>
                <a:spcPct val="100000"/>
              </a:lnSpc>
              <a:buClr>
                <a:schemeClr val="tx1"/>
              </a:buClr>
              <a:buSzPct val="60000"/>
              <a:defRPr sz="1600"/>
            </a:lvl4pPr>
            <a:lvl5pPr marL="574675" indent="-117475">
              <a:lnSpc>
                <a:spcPct val="100000"/>
              </a:lnSpc>
              <a:buClr>
                <a:schemeClr val="tx1"/>
              </a:buClr>
              <a:buSzPct val="60000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37766" y="1659842"/>
            <a:ext cx="3808797" cy="2931208"/>
          </a:xfrm>
          <a:prstGeom prst="rect">
            <a:avLst/>
          </a:prstGeom>
        </p:spPr>
        <p:txBody>
          <a:bodyPr/>
          <a:lstStyle>
            <a:lvl1pPr marL="114300" indent="-114300">
              <a:buClr>
                <a:schemeClr val="tx2"/>
              </a:buClr>
              <a:buSzPct val="60000"/>
              <a:defRPr lang="en-US" sz="2000" kern="1200" dirty="0" smtClean="0">
                <a:solidFill>
                  <a:schemeClr val="bg1"/>
                </a:solidFill>
                <a:latin typeface="+mn-lt"/>
                <a:ea typeface="ＭＳ Ｐゴシック" charset="0"/>
                <a:cs typeface="CiscoSans"/>
              </a:defRPr>
            </a:lvl1pPr>
            <a:lvl2pPr marL="228600" indent="-114300">
              <a:buClr>
                <a:schemeClr val="tx2"/>
              </a:buClr>
              <a:buSzPct val="60000"/>
              <a:defRPr sz="2000">
                <a:solidFill>
                  <a:schemeClr val="bg1"/>
                </a:solidFill>
              </a:defRPr>
            </a:lvl2pPr>
            <a:lvl3pPr marL="342900" indent="-114300">
              <a:buClr>
                <a:schemeClr val="tx2"/>
              </a:buClr>
              <a:buSzPct val="60000"/>
              <a:defRPr sz="1800">
                <a:solidFill>
                  <a:schemeClr val="bg1"/>
                </a:solidFill>
              </a:defRPr>
            </a:lvl3pPr>
            <a:lvl4pPr marL="457200" indent="-123825">
              <a:buClr>
                <a:schemeClr val="tx2"/>
              </a:buClr>
              <a:buSzPct val="60000"/>
              <a:defRPr sz="1600">
                <a:solidFill>
                  <a:schemeClr val="bg1"/>
                </a:solidFill>
              </a:defRPr>
            </a:lvl4pPr>
            <a:lvl5pPr marL="574675" indent="-117475">
              <a:buClr>
                <a:schemeClr val="tx2"/>
              </a:buClr>
              <a:buSzPct val="60000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144677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" pos="2675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alf_Page_Pictur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336484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089525" y="4062350"/>
            <a:ext cx="3559175" cy="5251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286316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722647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alf_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405923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2635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920579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Half_Page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2946839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5067679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alf_Page_Picture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4580092" y="0"/>
            <a:ext cx="4563907" cy="5143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2994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78087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Half_Pag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179921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560801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9301163" cy="2843212"/>
          </a:xfrm>
          <a:prstGeom prst="rect">
            <a:avLst/>
          </a:prstGeom>
          <a:solidFill>
            <a:schemeClr val="bg2"/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8785" y="3054518"/>
            <a:ext cx="8364236" cy="564257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557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Half_Pag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407027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314225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5" name="Freeform 6"/>
          <p:cNvSpPr>
            <a:spLocks noChangeAspect="1" noEditPoints="1"/>
          </p:cNvSpPr>
          <p:nvPr userDrawn="1"/>
        </p:nvSpPr>
        <p:spPr bwMode="auto">
          <a:xfrm>
            <a:off x="3762994" y="2129076"/>
            <a:ext cx="1618012" cy="859571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5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179335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63763" y="1439060"/>
            <a:ext cx="3820348" cy="2265389"/>
          </a:xfrm>
        </p:spPr>
        <p:txBody>
          <a:bodyPr lIns="61715" tIns="34288" rIns="61715" bIns="34288" rtlCol="0">
            <a:noAutofit/>
          </a:bodyPr>
          <a:lstStyle>
            <a:lvl1pPr marL="0" indent="0" algn="l" defTabSz="68574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22520" y="654518"/>
            <a:ext cx="3865880" cy="3840480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84489467"/>
      </p:ext>
    </p:extLst>
  </p:cSld>
  <p:clrMapOvr>
    <a:masterClrMapping/>
  </p:clrMapOvr>
  <p:transition spd="slow">
    <p:wip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alf_Page_Blu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2946839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5073">
                    <a:alpha val="60000"/>
                  </a:srgbClr>
                </a:solidFill>
                <a:latin typeface="CiscoSansTT ExtraLight"/>
                <a:ea typeface=""/>
                <a:cs typeface="CiscoSans Thin"/>
              </a:rPr>
              <a:t>© 2017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066171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orient="horz" pos="2193">
          <p15:clr>
            <a:srgbClr val="FBAE40"/>
          </p15:clr>
        </p15:guide>
        <p15:guide id="3" pos="2675">
          <p15:clr>
            <a:srgbClr val="FBAE40"/>
          </p15:clr>
        </p15:guide>
        <p15:guide id="4" pos="3206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6" y="1349354"/>
            <a:ext cx="4003995" cy="3040875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08110" y="1349375"/>
            <a:ext cx="4075144" cy="3041208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9632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9915" y="3209550"/>
            <a:ext cx="4684867" cy="288131"/>
          </a:xfrm>
          <a:prstGeom prst="rect">
            <a:avLst/>
          </a:prstGeom>
        </p:spPr>
        <p:txBody>
          <a:bodyPr vert="horz" lIns="68574" tIns="34288" rIns="68574" bIns="34288" rtlCol="0">
            <a:noAutofit/>
          </a:bodyPr>
          <a:lstStyle>
            <a:lvl1pPr marL="0" indent="0" algn="l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9525" y="2462027"/>
            <a:ext cx="4712557" cy="766763"/>
          </a:xfrm>
        </p:spPr>
        <p:txBody>
          <a:bodyPr lIns="61715" tIns="34288" rIns="61715" bIns="34288" rtlCol="0" anchor="b">
            <a:noAutofit/>
          </a:bodyPr>
          <a:lstStyle>
            <a:lvl1pPr marL="0" indent="0" algn="l" defTabSz="68574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200" b="0" kern="1200" spc="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81" y="1438276"/>
            <a:ext cx="2676525" cy="2166938"/>
          </a:xfrm>
          <a:prstGeom prst="rect">
            <a:avLst/>
          </a:prstGeom>
        </p:spPr>
        <p:txBody>
          <a:bodyPr lIns="91420" tIns="45710" rIns="91420" bIns="45710" anchor="ctr" anchorCtr="1"/>
          <a:lstStyle>
            <a:lvl1pPr marL="0" indent="0" algn="ctr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98733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0209070"/>
      </p:ext>
    </p:extLst>
  </p:cSld>
  <p:clrMapOvr>
    <a:masterClrMapping/>
  </p:clrMapOvr>
  <p:transition spd="med"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Photo_4_gri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415925" y="819151"/>
            <a:ext cx="3698875" cy="1095374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415925" y="2343150"/>
            <a:ext cx="3698875" cy="2076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47501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  <p:extLst mod="1">
    <p:ext uri="{DCECCB84-F9BA-43D5-87BE-67443E8EF086}">
      <p15:sldGuideLst xmlns:p15="http://schemas.microsoft.com/office/powerpoint/2012/main">
        <p15:guide id="1" pos="2592">
          <p15:clr>
            <a:srgbClr val="FBAE40"/>
          </p15:clr>
        </p15:guide>
        <p15:guide id="2" orient="horz" pos="324">
          <p15:clr>
            <a:srgbClr val="FBAE40"/>
          </p15:clr>
        </p15:guide>
        <p15:guide id="3" orient="horz" pos="1068">
          <p15:clr>
            <a:srgbClr val="FBAE40"/>
          </p15:clr>
        </p15:guide>
        <p15:guide id="4" orient="horz" pos="2916">
          <p15:clr>
            <a:srgbClr val="FBAE40"/>
          </p15:clr>
        </p15:guide>
        <p15:guide id="5" pos="1632">
          <p15:clr>
            <a:srgbClr val="FBAE40"/>
          </p15:clr>
        </p15:guide>
        <p15:guide id="6" orient="horz" pos="936">
          <p15:clr>
            <a:srgbClr val="FBAE40"/>
          </p15:clr>
        </p15:guide>
        <p15:guide id="7" pos="262">
          <p15:clr>
            <a:srgbClr val="FBAE40"/>
          </p15:clr>
        </p15:guide>
        <p15:guide id="8" pos="2880">
          <p15:clr>
            <a:srgbClr val="FBAE40"/>
          </p15:clr>
        </p15:guide>
        <p15:guide id="9" pos="3604">
          <p15:clr>
            <a:srgbClr val="FBAE40"/>
          </p15:clr>
        </p15:guide>
        <p15:guide id="10" pos="4041">
          <p15:clr>
            <a:srgbClr val="FBAE40"/>
          </p15:clr>
        </p15:guide>
        <p15:guide id="11" pos="5376">
          <p15:clr>
            <a:srgbClr val="FBAE40"/>
          </p15:clr>
        </p15:guide>
        <p15:guide id="12" orient="horz" pos="1212">
          <p15:clr>
            <a:srgbClr val="FBAE40"/>
          </p15:clr>
        </p15:guide>
        <p15:guide id="13" orient="horz" pos="516">
          <p15:clr>
            <a:srgbClr val="FBAE40"/>
          </p15:clr>
        </p15:guide>
        <p15:guide id="14" orient="horz" pos="716">
          <p15:clr>
            <a:srgbClr val="FBAE40"/>
          </p15:clr>
        </p15:guide>
        <p15:guide id="15" orient="horz" pos="147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Blank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5286" y="235750"/>
            <a:ext cx="8370097" cy="714374"/>
          </a:xfrm>
        </p:spPr>
        <p:txBody>
          <a:bodyPr>
            <a:normAutofit/>
          </a:bodyPr>
          <a:lstStyle>
            <a:lvl1pPr>
              <a:defRPr sz="2800">
                <a:latin typeface="CiscoSans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72358" y="5000627"/>
            <a:ext cx="1714500" cy="142875"/>
          </a:xfrm>
          <a:prstGeom prst="rect">
            <a:avLst/>
          </a:prstGeom>
        </p:spPr>
        <p:txBody>
          <a:bodyPr vert="horz" lIns="91434" tIns="45718" rIns="91434" bIns="45718" rtlCol="0" anchor="ctr"/>
          <a:lstStyle>
            <a:lvl1pPr marL="0" marR="0" indent="0" algn="r" defTabSz="6857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25">
                <a:solidFill>
                  <a:schemeClr val="tx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srgbClr val="FFFFFF">
                    <a:lumMod val="65000"/>
                  </a:srgbClr>
                </a:solidFill>
              </a:rPr>
              <a:t>Cisco Confidential</a:t>
            </a:r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582579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409709" y="4884989"/>
            <a:ext cx="359666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600" kern="1200" smtClean="0">
                <a:solidFill>
                  <a:srgbClr val="000000"/>
                </a:solidFill>
                <a:latin typeface="+mn-lt"/>
                <a:ea typeface="+mn-ea"/>
                <a:cs typeface="CiscoSans Thin"/>
              </a:defRPr>
            </a:lvl1pPr>
          </a:lstStyle>
          <a:p>
            <a:fld id="{96A97DD0-5BE7-4856-A2A9-C42C6688E607}" type="slidenum">
              <a:rPr/>
              <a:pPr/>
              <a:t>‹#›</a:t>
            </a:fld>
            <a:endParaRPr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222533" y="4946904"/>
            <a:ext cx="716863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>
            <a:lvl1pPr algn="l">
              <a:defRPr lang="en-US" sz="600" dirty="0">
                <a:solidFill>
                  <a:srgbClr val="000000"/>
                </a:solidFill>
                <a:cs typeface="CiscoSans Thin"/>
              </a:defRPr>
            </a:lvl1pPr>
          </a:lstStyle>
          <a:p>
            <a:pPr defTabSz="610744"/>
            <a:r>
              <a:rPr smtClean="0"/>
              <a:t>Presentation ID</a:t>
            </a:r>
            <a:endParaRPr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56616" y="384048"/>
            <a:ext cx="8513064" cy="434974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27514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30052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-animated gradi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469497" y="3793199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chemeClr val="tx2"/>
                </a:solidFill>
                <a:latin typeface="+mn-lt"/>
                <a:cs typeface="CiscoSans"/>
              </a:defRPr>
            </a:lvl1pPr>
            <a:lvl2pPr marL="342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/>
          </p:nvPr>
        </p:nvSpPr>
        <p:spPr>
          <a:xfrm>
            <a:off x="469497" y="4033196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tx2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/>
          </p:nvPr>
        </p:nvSpPr>
        <p:spPr>
          <a:xfrm>
            <a:off x="469497" y="4273193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tx2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3293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chemeClr val="tx2"/>
                </a:solidFill>
                <a:latin typeface="+mj-lt"/>
              </a:defRPr>
            </a:lvl1pPr>
            <a:lvl2pPr marL="304774" indent="0">
              <a:buNone/>
              <a:defRPr/>
            </a:lvl2pPr>
            <a:lvl3pPr marL="427391" indent="0">
              <a:buNone/>
              <a:defRPr/>
            </a:lvl3pPr>
            <a:lvl4pPr marL="516681" indent="0">
              <a:buNone/>
              <a:defRPr/>
            </a:lvl4pPr>
            <a:lvl5pPr marL="601206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reeform 6"/>
          <p:cNvSpPr>
            <a:spLocks noChangeAspect="1" noEditPoints="1"/>
          </p:cNvSpPr>
          <p:nvPr/>
        </p:nvSpPr>
        <p:spPr bwMode="auto">
          <a:xfrm>
            <a:off x="469496" y="391309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en-US">
              <a:solidFill>
                <a:srgbClr val="005073"/>
              </a:solidFill>
              <a:ea typeface="ＭＳ Ｐゴシック" pitchFamily="34" charset="-128"/>
              <a:cs typeface=""/>
            </a:endParaRPr>
          </a:p>
        </p:txBody>
      </p:sp>
      <p:pic>
        <p:nvPicPr>
          <p:cNvPr id="9" name="Picture 4" descr="Y:\Production\Cisco Projects\C97 Presentation (PPT-PDF)\C97-737517\Supported files\Untitled-4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478032" y="-1"/>
            <a:ext cx="4665969" cy="514807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8044783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9916" y="3209551"/>
            <a:ext cx="4684867" cy="288131"/>
          </a:xfrm>
          <a:prstGeom prst="rect">
            <a:avLst/>
          </a:prstGeom>
        </p:spPr>
        <p:txBody>
          <a:bodyPr vert="horz" lIns="68574" tIns="34288" rIns="68574" bIns="34288" rtlCol="0">
            <a:noAutofit/>
          </a:bodyPr>
          <a:lstStyle>
            <a:lvl1pPr marL="0" indent="0" algn="l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9526" y="2462028"/>
            <a:ext cx="4712557" cy="766763"/>
          </a:xfrm>
        </p:spPr>
        <p:txBody>
          <a:bodyPr lIns="61715" tIns="34288" rIns="61715" bIns="34288" rtlCol="0" anchor="b">
            <a:noAutofit/>
          </a:bodyPr>
          <a:lstStyle>
            <a:lvl1pPr marL="0" indent="0" algn="l" defTabSz="68573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200" b="0" kern="1200" spc="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81" y="1438276"/>
            <a:ext cx="2676525" cy="2166938"/>
          </a:xfrm>
          <a:prstGeom prst="rect">
            <a:avLst/>
          </a:prstGeom>
        </p:spPr>
        <p:txBody>
          <a:bodyPr lIns="91420" tIns="45710" rIns="91420" bIns="45710" anchor="ctr" anchorCtr="1"/>
          <a:lstStyle>
            <a:lvl1pPr marL="0" indent="0" algn="ctr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7930977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g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ltGray">
          <a:xfrm>
            <a:off x="8518375" y="4742908"/>
            <a:ext cx="215747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509F5890-BE05-4D5D-AADF-DD6FDB4C472B}" type="slidenum">
              <a:rPr lang="en-US" sz="600">
                <a:solidFill>
                  <a:srgbClr val="FFFFFF">
                    <a:alpha val="60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latin typeface="CiscoSans ExtraLight"/>
              <a:ea typeface="ＭＳ Ｐゴシック" pitchFamily="34" charset="-128"/>
              <a:cs typeface="CiscoSans Thin"/>
            </a:endParaRP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ltGray">
          <a:xfrm>
            <a:off x="5867508" y="4741655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t>© 2016  Cisco and/or its affiliates. All rights reserved.   Cisco Confidential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2" cstate="screen">
            <a:alphaModFix amt="60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8375" y="4921124"/>
            <a:ext cx="215747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latin typeface="CiscoSans ExtraLight"/>
              <a:ea typeface="ＭＳ Ｐゴシック" pitchFamily="34" charset="-128"/>
              <a:cs typeface="CiscoSans Thin"/>
            </a:endParaRPr>
          </a:p>
        </p:txBody>
      </p:sp>
      <p:pic>
        <p:nvPicPr>
          <p:cNvPr id="8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3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803989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5286376" y="4825407"/>
            <a:ext cx="3167715" cy="2468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t>C97-737517-01 © 2016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6709538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79887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74662" y="1347789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83" marR="0" indent="-285683" algn="ctr" defTabSz="45709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6322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1" indent="-223787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882" indent="-215849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39" indent="-171411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12" indent="-171411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23" indent="-168236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848248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4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292033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28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01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187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464612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89661" y="895601"/>
            <a:ext cx="8398739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4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292033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28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01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187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861273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8639" y="876359"/>
            <a:ext cx="8259762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12395" indent="-392390">
              <a:lnSpc>
                <a:spcPts val="4440"/>
              </a:lnSpc>
              <a:spcBef>
                <a:spcPts val="0"/>
              </a:spcBef>
              <a:buClr>
                <a:schemeClr val="tx2"/>
              </a:buClr>
              <a:buSzPct val="80000"/>
              <a:buFont typeface="Arial"/>
              <a:buChar char="•"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882" indent="-215849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39" indent="-171411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12" indent="-171411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23" indent="-168236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430992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2301" y="1347788"/>
            <a:ext cx="8277344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1" indent="-223787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507882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747539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911012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082423" indent="-168236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849717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0932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 smtClean="0">
              <a:latin typeface="+mj-lt"/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baseline="0" dirty="0">
                <a:solidFill>
                  <a:schemeClr val="tx2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© </a:t>
            </a:r>
            <a:r>
              <a:rPr lang="en-US" sz="600" spc="20" baseline="0" dirty="0" smtClean="0">
                <a:solidFill>
                  <a:schemeClr val="tx2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2017  </a:t>
            </a:r>
            <a:r>
              <a:rPr lang="en-US" sz="600" spc="20" baseline="0" dirty="0">
                <a:solidFill>
                  <a:schemeClr val="tx2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Cisco and/or its affiliates. All rights reserved.   Cisco Confidentia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1"/>
            <a:ext cx="8480388" cy="4266646"/>
          </a:xfrm>
          <a:prstGeom prst="rect">
            <a:avLst/>
          </a:prstGeom>
          <a:solidFill>
            <a:schemeClr val="bg2"/>
          </a:solidFill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14079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7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564794" y="1347788"/>
            <a:ext cx="4218460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768903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4565650" y="609601"/>
            <a:ext cx="0" cy="3984625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29" y="302506"/>
            <a:ext cx="3715995" cy="826447"/>
          </a:xfrm>
          <a:prstGeom prst="rect">
            <a:avLst/>
          </a:prstGeom>
        </p:spPr>
        <p:txBody>
          <a:bodyPr lIns="61712" tIns="34286" rIns="61712" bIns="34286" rtlCol="0">
            <a:noAutofit/>
          </a:bodyPr>
          <a:lstStyle>
            <a:lvl1pPr algn="l" defTabSz="68570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200" b="0" i="0" kern="1200" spc="-75" baseline="0" dirty="0" smtClean="0">
                <a:solidFill>
                  <a:schemeClr val="tx2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4905965" y="302506"/>
            <a:ext cx="3715995" cy="826446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marR="0" indent="0" algn="l" defTabSz="68570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200" b="0" i="0" kern="1200" spc="-75" baseline="0" dirty="0">
                <a:solidFill>
                  <a:schemeClr val="tx2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7929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905965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916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3070225" y="609601"/>
            <a:ext cx="0" cy="3984625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6037263" y="609601"/>
            <a:ext cx="0" cy="3984625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461964" y="228319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0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/>
          </p:nvPr>
        </p:nvSpPr>
        <p:spPr>
          <a:xfrm>
            <a:off x="3377729" y="227839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0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/>
          </p:nvPr>
        </p:nvSpPr>
        <p:spPr>
          <a:xfrm>
            <a:off x="6354814" y="220479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0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61964" y="1201094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0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16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00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3377728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0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16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00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/>
          </p:nvPr>
        </p:nvSpPr>
        <p:spPr>
          <a:xfrm>
            <a:off x="6354813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0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16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00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5279192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5070476" y="1330326"/>
            <a:ext cx="3713163" cy="3101975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005073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5148706" y="1481751"/>
            <a:ext cx="3375912" cy="165901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85716" indent="-85716" algn="l" defTabSz="685703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15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85716" indent="-85716" algn="l" defTabSz="685703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85716" indent="-85716" algn="l" defTabSz="685703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85716" indent="-85716" algn="l" defTabSz="685703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85716" indent="-85716" algn="l" defTabSz="685703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/>
          </p:nvPr>
        </p:nvSpPr>
        <p:spPr>
          <a:xfrm>
            <a:off x="5148707" y="3552444"/>
            <a:ext cx="3506245" cy="2537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2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7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1623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940687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60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2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596" indent="-399958" algn="l">
              <a:lnSpc>
                <a:spcPct val="90000"/>
              </a:lnSpc>
              <a:defRPr sz="46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965433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610100" y="609601"/>
            <a:ext cx="0" cy="3984625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63764" y="1439061"/>
            <a:ext cx="3820348" cy="2265389"/>
          </a:xfrm>
        </p:spPr>
        <p:txBody>
          <a:bodyPr lIns="61715" tIns="34288" rIns="61715" bIns="34288" rtlCol="0">
            <a:noAutofit/>
          </a:bodyPr>
          <a:lstStyle>
            <a:lvl1pPr marL="0" indent="0" algn="l" defTabSz="68573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22521" y="654518"/>
            <a:ext cx="3865880" cy="3840480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462683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437766" y="1347789"/>
            <a:ext cx="8345488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8" y="4148221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6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7838913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37766" y="1349376"/>
            <a:ext cx="8345488" cy="266065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8" y="4148221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6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3832204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437767" y="1349456"/>
            <a:ext cx="4007001" cy="304077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709908" y="1349375"/>
            <a:ext cx="4073346" cy="303939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814065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7.xml"/><Relationship Id="rId20" Type="http://schemas.openxmlformats.org/officeDocument/2006/relationships/tags" Target="../tags/tag2.xml"/><Relationship Id="rId21" Type="http://schemas.openxmlformats.org/officeDocument/2006/relationships/oleObject" Target="../embeddings/oleObject1.bin"/><Relationship Id="rId22" Type="http://schemas.openxmlformats.org/officeDocument/2006/relationships/image" Target="../media/image1.emf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5.xml"/><Relationship Id="rId18" Type="http://schemas.openxmlformats.org/officeDocument/2006/relationships/theme" Target="../theme/theme2.xml"/><Relationship Id="rId19" Type="http://schemas.openxmlformats.org/officeDocument/2006/relationships/vmlDrawing" Target="../drawings/vmlDrawing1.vml"/><Relationship Id="rId1" Type="http://schemas.openxmlformats.org/officeDocument/2006/relationships/slideLayout" Target="../slideLayouts/slideLayout29.xml"/><Relationship Id="rId2" Type="http://schemas.openxmlformats.org/officeDocument/2006/relationships/slideLayout" Target="../slideLayouts/slideLayout30.xml"/><Relationship Id="rId3" Type="http://schemas.openxmlformats.org/officeDocument/2006/relationships/slideLayout" Target="../slideLayouts/slideLayout31.xml"/><Relationship Id="rId4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5.xml"/><Relationship Id="rId8" Type="http://schemas.openxmlformats.org/officeDocument/2006/relationships/slideLayout" Target="../slideLayouts/slideLayout36.xml"/></Relationships>
</file>

<file path=ppt/slideMasters/_rels/slideMaster3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65.xml"/><Relationship Id="rId21" Type="http://schemas.openxmlformats.org/officeDocument/2006/relationships/slideLayout" Target="../slideLayouts/slideLayout66.xml"/><Relationship Id="rId22" Type="http://schemas.openxmlformats.org/officeDocument/2006/relationships/slideLayout" Target="../slideLayouts/slideLayout67.xml"/><Relationship Id="rId23" Type="http://schemas.openxmlformats.org/officeDocument/2006/relationships/slideLayout" Target="../slideLayouts/slideLayout68.xml"/><Relationship Id="rId24" Type="http://schemas.openxmlformats.org/officeDocument/2006/relationships/slideLayout" Target="../slideLayouts/slideLayout69.xml"/><Relationship Id="rId25" Type="http://schemas.openxmlformats.org/officeDocument/2006/relationships/slideLayout" Target="../slideLayouts/slideLayout70.xml"/><Relationship Id="rId26" Type="http://schemas.openxmlformats.org/officeDocument/2006/relationships/slideLayout" Target="../slideLayouts/slideLayout71.xml"/><Relationship Id="rId27" Type="http://schemas.openxmlformats.org/officeDocument/2006/relationships/slideLayout" Target="../slideLayouts/slideLayout72.xml"/><Relationship Id="rId28" Type="http://schemas.openxmlformats.org/officeDocument/2006/relationships/slideLayout" Target="../slideLayouts/slideLayout73.xml"/><Relationship Id="rId29" Type="http://schemas.openxmlformats.org/officeDocument/2006/relationships/slideLayout" Target="../slideLayouts/slideLayout74.xml"/><Relationship Id="rId1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9.xml"/><Relationship Id="rId5" Type="http://schemas.openxmlformats.org/officeDocument/2006/relationships/slideLayout" Target="../slideLayouts/slideLayout50.xml"/><Relationship Id="rId30" Type="http://schemas.openxmlformats.org/officeDocument/2006/relationships/slideLayout" Target="../slideLayouts/slideLayout75.xml"/><Relationship Id="rId31" Type="http://schemas.openxmlformats.org/officeDocument/2006/relationships/slideLayout" Target="../slideLayouts/slideLayout76.xml"/><Relationship Id="rId32" Type="http://schemas.openxmlformats.org/officeDocument/2006/relationships/slideLayout" Target="../slideLayouts/slideLayout77.xml"/><Relationship Id="rId9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2.xml"/><Relationship Id="rId8" Type="http://schemas.openxmlformats.org/officeDocument/2006/relationships/slideLayout" Target="../slideLayouts/slideLayout53.xml"/><Relationship Id="rId33" Type="http://schemas.openxmlformats.org/officeDocument/2006/relationships/slideLayout" Target="../slideLayouts/slideLayout78.xml"/><Relationship Id="rId34" Type="http://schemas.openxmlformats.org/officeDocument/2006/relationships/slideLayout" Target="../slideLayouts/slideLayout79.xml"/><Relationship Id="rId35" Type="http://schemas.openxmlformats.org/officeDocument/2006/relationships/theme" Target="../theme/theme3.xml"/><Relationship Id="rId10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0.xml"/><Relationship Id="rId16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64.xml"/></Relationships>
</file>

<file path=ppt/slideMasters/_rels/slideMaster4.xml.rels><?xml version="1.0" encoding="UTF-8" standalone="yes"?>
<Relationships xmlns="http://schemas.openxmlformats.org/package/2006/relationships"><Relationship Id="rId46" Type="http://schemas.openxmlformats.org/officeDocument/2006/relationships/slideLayout" Target="../slideLayouts/slideLayout125.xml"/><Relationship Id="rId47" Type="http://schemas.openxmlformats.org/officeDocument/2006/relationships/slideLayout" Target="../slideLayouts/slideLayout126.xml"/><Relationship Id="rId48" Type="http://schemas.openxmlformats.org/officeDocument/2006/relationships/theme" Target="../theme/theme4.xml"/><Relationship Id="rId49" Type="http://schemas.openxmlformats.org/officeDocument/2006/relationships/image" Target="../media/image3.png"/><Relationship Id="rId20" Type="http://schemas.openxmlformats.org/officeDocument/2006/relationships/slideLayout" Target="../slideLayouts/slideLayout99.xml"/><Relationship Id="rId21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2.xml"/><Relationship Id="rId24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05.xml"/><Relationship Id="rId27" Type="http://schemas.openxmlformats.org/officeDocument/2006/relationships/slideLayout" Target="../slideLayouts/slideLayout106.xml"/><Relationship Id="rId28" Type="http://schemas.openxmlformats.org/officeDocument/2006/relationships/slideLayout" Target="../slideLayouts/slideLayout107.xml"/><Relationship Id="rId29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80.xml"/><Relationship Id="rId2" Type="http://schemas.openxmlformats.org/officeDocument/2006/relationships/slideLayout" Target="../slideLayouts/slideLayout81.xml"/><Relationship Id="rId3" Type="http://schemas.openxmlformats.org/officeDocument/2006/relationships/slideLayout" Target="../slideLayouts/slideLayout82.xml"/><Relationship Id="rId4" Type="http://schemas.openxmlformats.org/officeDocument/2006/relationships/slideLayout" Target="../slideLayouts/slideLayout83.xml"/><Relationship Id="rId5" Type="http://schemas.openxmlformats.org/officeDocument/2006/relationships/slideLayout" Target="../slideLayouts/slideLayout84.xml"/><Relationship Id="rId30" Type="http://schemas.openxmlformats.org/officeDocument/2006/relationships/slideLayout" Target="../slideLayouts/slideLayout109.xml"/><Relationship Id="rId31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88.xml"/><Relationship Id="rId6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6.xml"/><Relationship Id="rId8" Type="http://schemas.openxmlformats.org/officeDocument/2006/relationships/slideLayout" Target="../slideLayouts/slideLayout87.xml"/><Relationship Id="rId33" Type="http://schemas.openxmlformats.org/officeDocument/2006/relationships/slideLayout" Target="../slideLayouts/slideLayout112.xml"/><Relationship Id="rId34" Type="http://schemas.openxmlformats.org/officeDocument/2006/relationships/slideLayout" Target="../slideLayouts/slideLayout113.xml"/><Relationship Id="rId35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15.xml"/><Relationship Id="rId10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1.xml"/><Relationship Id="rId13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93.xml"/><Relationship Id="rId15" Type="http://schemas.openxmlformats.org/officeDocument/2006/relationships/slideLayout" Target="../slideLayouts/slideLayout94.xml"/><Relationship Id="rId16" Type="http://schemas.openxmlformats.org/officeDocument/2006/relationships/slideLayout" Target="../slideLayouts/slideLayout95.xml"/><Relationship Id="rId17" Type="http://schemas.openxmlformats.org/officeDocument/2006/relationships/slideLayout" Target="../slideLayouts/slideLayout96.xml"/><Relationship Id="rId18" Type="http://schemas.openxmlformats.org/officeDocument/2006/relationships/slideLayout" Target="../slideLayouts/slideLayout97.xml"/><Relationship Id="rId19" Type="http://schemas.openxmlformats.org/officeDocument/2006/relationships/slideLayout" Target="../slideLayouts/slideLayout98.xml"/><Relationship Id="rId37" Type="http://schemas.openxmlformats.org/officeDocument/2006/relationships/slideLayout" Target="../slideLayouts/slideLayout116.xml"/><Relationship Id="rId38" Type="http://schemas.openxmlformats.org/officeDocument/2006/relationships/slideLayout" Target="../slideLayouts/slideLayout117.xml"/><Relationship Id="rId39" Type="http://schemas.openxmlformats.org/officeDocument/2006/relationships/slideLayout" Target="../slideLayouts/slideLayout118.xml"/><Relationship Id="rId40" Type="http://schemas.openxmlformats.org/officeDocument/2006/relationships/slideLayout" Target="../slideLayouts/slideLayout119.xml"/><Relationship Id="rId41" Type="http://schemas.openxmlformats.org/officeDocument/2006/relationships/slideLayout" Target="../slideLayouts/slideLayout120.xml"/><Relationship Id="rId42" Type="http://schemas.openxmlformats.org/officeDocument/2006/relationships/slideLayout" Target="../slideLayouts/slideLayout121.xml"/><Relationship Id="rId43" Type="http://schemas.openxmlformats.org/officeDocument/2006/relationships/slideLayout" Target="../slideLayouts/slideLayout122.xml"/><Relationship Id="rId44" Type="http://schemas.openxmlformats.org/officeDocument/2006/relationships/slideLayout" Target="../slideLayouts/slideLayout123.xml"/><Relationship Id="rId45" Type="http://schemas.openxmlformats.org/officeDocument/2006/relationships/slideLayout" Target="../slideLayouts/slideLayout124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35.xml"/><Relationship Id="rId20" Type="http://schemas.openxmlformats.org/officeDocument/2006/relationships/slideLayout" Target="../slideLayouts/slideLayout146.xml"/><Relationship Id="rId21" Type="http://schemas.openxmlformats.org/officeDocument/2006/relationships/slideLayout" Target="../slideLayouts/slideLayout147.xml"/><Relationship Id="rId22" Type="http://schemas.openxmlformats.org/officeDocument/2006/relationships/slideLayout" Target="../slideLayouts/slideLayout148.xml"/><Relationship Id="rId23" Type="http://schemas.openxmlformats.org/officeDocument/2006/relationships/slideLayout" Target="../slideLayouts/slideLayout149.xml"/><Relationship Id="rId24" Type="http://schemas.openxmlformats.org/officeDocument/2006/relationships/slideLayout" Target="../slideLayouts/slideLayout150.xml"/><Relationship Id="rId25" Type="http://schemas.openxmlformats.org/officeDocument/2006/relationships/slideLayout" Target="../slideLayouts/slideLayout151.xml"/><Relationship Id="rId26" Type="http://schemas.openxmlformats.org/officeDocument/2006/relationships/slideLayout" Target="../slideLayouts/slideLayout152.xml"/><Relationship Id="rId27" Type="http://schemas.openxmlformats.org/officeDocument/2006/relationships/slideLayout" Target="../slideLayouts/slideLayout153.xml"/><Relationship Id="rId28" Type="http://schemas.openxmlformats.org/officeDocument/2006/relationships/slideLayout" Target="../slideLayouts/slideLayout154.xml"/><Relationship Id="rId29" Type="http://schemas.openxmlformats.org/officeDocument/2006/relationships/theme" Target="../theme/theme5.xml"/><Relationship Id="rId10" Type="http://schemas.openxmlformats.org/officeDocument/2006/relationships/slideLayout" Target="../slideLayouts/slideLayout136.xml"/><Relationship Id="rId11" Type="http://schemas.openxmlformats.org/officeDocument/2006/relationships/slideLayout" Target="../slideLayouts/slideLayout137.xml"/><Relationship Id="rId12" Type="http://schemas.openxmlformats.org/officeDocument/2006/relationships/slideLayout" Target="../slideLayouts/slideLayout138.xml"/><Relationship Id="rId13" Type="http://schemas.openxmlformats.org/officeDocument/2006/relationships/slideLayout" Target="../slideLayouts/slideLayout139.xml"/><Relationship Id="rId14" Type="http://schemas.openxmlformats.org/officeDocument/2006/relationships/slideLayout" Target="../slideLayouts/slideLayout140.xml"/><Relationship Id="rId15" Type="http://schemas.openxmlformats.org/officeDocument/2006/relationships/slideLayout" Target="../slideLayouts/slideLayout141.xml"/><Relationship Id="rId16" Type="http://schemas.openxmlformats.org/officeDocument/2006/relationships/slideLayout" Target="../slideLayouts/slideLayout142.xml"/><Relationship Id="rId17" Type="http://schemas.openxmlformats.org/officeDocument/2006/relationships/slideLayout" Target="../slideLayouts/slideLayout143.xml"/><Relationship Id="rId18" Type="http://schemas.openxmlformats.org/officeDocument/2006/relationships/slideLayout" Target="../slideLayouts/slideLayout144.xml"/><Relationship Id="rId19" Type="http://schemas.openxmlformats.org/officeDocument/2006/relationships/slideLayout" Target="../slideLayouts/slideLayout145.xml"/><Relationship Id="rId1" Type="http://schemas.openxmlformats.org/officeDocument/2006/relationships/slideLayout" Target="../slideLayouts/slideLayout127.xml"/><Relationship Id="rId2" Type="http://schemas.openxmlformats.org/officeDocument/2006/relationships/slideLayout" Target="../slideLayouts/slideLayout128.xml"/><Relationship Id="rId3" Type="http://schemas.openxmlformats.org/officeDocument/2006/relationships/slideLayout" Target="../slideLayouts/slideLayout129.xml"/><Relationship Id="rId4" Type="http://schemas.openxmlformats.org/officeDocument/2006/relationships/slideLayout" Target="../slideLayouts/slideLayout130.xml"/><Relationship Id="rId5" Type="http://schemas.openxmlformats.org/officeDocument/2006/relationships/slideLayout" Target="../slideLayouts/slideLayout131.xml"/><Relationship Id="rId6" Type="http://schemas.openxmlformats.org/officeDocument/2006/relationships/slideLayout" Target="../slideLayouts/slideLayout132.xml"/><Relationship Id="rId7" Type="http://schemas.openxmlformats.org/officeDocument/2006/relationships/slideLayout" Target="../slideLayouts/slideLayout133.xml"/><Relationship Id="rId8" Type="http://schemas.openxmlformats.org/officeDocument/2006/relationships/slideLayout" Target="../slideLayouts/slideLayout134.xml"/></Relationships>
</file>

<file path=ppt/slideMasters/_rels/slideMaster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63.xml"/><Relationship Id="rId20" Type="http://schemas.openxmlformats.org/officeDocument/2006/relationships/slideLayout" Target="../slideLayouts/slideLayout174.xml"/><Relationship Id="rId21" Type="http://schemas.openxmlformats.org/officeDocument/2006/relationships/slideLayout" Target="../slideLayouts/slideLayout175.xml"/><Relationship Id="rId22" Type="http://schemas.openxmlformats.org/officeDocument/2006/relationships/slideLayout" Target="../slideLayouts/slideLayout176.xml"/><Relationship Id="rId23" Type="http://schemas.openxmlformats.org/officeDocument/2006/relationships/slideLayout" Target="../slideLayouts/slideLayout177.xml"/><Relationship Id="rId24" Type="http://schemas.openxmlformats.org/officeDocument/2006/relationships/slideLayout" Target="../slideLayouts/slideLayout178.xml"/><Relationship Id="rId25" Type="http://schemas.openxmlformats.org/officeDocument/2006/relationships/slideLayout" Target="../slideLayouts/slideLayout179.xml"/><Relationship Id="rId26" Type="http://schemas.openxmlformats.org/officeDocument/2006/relationships/slideLayout" Target="../slideLayouts/slideLayout180.xml"/><Relationship Id="rId27" Type="http://schemas.openxmlformats.org/officeDocument/2006/relationships/slideLayout" Target="../slideLayouts/slideLayout181.xml"/><Relationship Id="rId28" Type="http://schemas.openxmlformats.org/officeDocument/2006/relationships/slideLayout" Target="../slideLayouts/slideLayout182.xml"/><Relationship Id="rId29" Type="http://schemas.openxmlformats.org/officeDocument/2006/relationships/theme" Target="../theme/theme6.xml"/><Relationship Id="rId10" Type="http://schemas.openxmlformats.org/officeDocument/2006/relationships/slideLayout" Target="../slideLayouts/slideLayout164.xml"/><Relationship Id="rId11" Type="http://schemas.openxmlformats.org/officeDocument/2006/relationships/slideLayout" Target="../slideLayouts/slideLayout165.xml"/><Relationship Id="rId12" Type="http://schemas.openxmlformats.org/officeDocument/2006/relationships/slideLayout" Target="../slideLayouts/slideLayout166.xml"/><Relationship Id="rId13" Type="http://schemas.openxmlformats.org/officeDocument/2006/relationships/slideLayout" Target="../slideLayouts/slideLayout167.xml"/><Relationship Id="rId14" Type="http://schemas.openxmlformats.org/officeDocument/2006/relationships/slideLayout" Target="../slideLayouts/slideLayout168.xml"/><Relationship Id="rId15" Type="http://schemas.openxmlformats.org/officeDocument/2006/relationships/slideLayout" Target="../slideLayouts/slideLayout169.xml"/><Relationship Id="rId16" Type="http://schemas.openxmlformats.org/officeDocument/2006/relationships/slideLayout" Target="../slideLayouts/slideLayout170.xml"/><Relationship Id="rId17" Type="http://schemas.openxmlformats.org/officeDocument/2006/relationships/slideLayout" Target="../slideLayouts/slideLayout171.xml"/><Relationship Id="rId18" Type="http://schemas.openxmlformats.org/officeDocument/2006/relationships/slideLayout" Target="../slideLayouts/slideLayout172.xml"/><Relationship Id="rId19" Type="http://schemas.openxmlformats.org/officeDocument/2006/relationships/slideLayout" Target="../slideLayouts/slideLayout173.xml"/><Relationship Id="rId1" Type="http://schemas.openxmlformats.org/officeDocument/2006/relationships/slideLayout" Target="../slideLayouts/slideLayout155.xml"/><Relationship Id="rId2" Type="http://schemas.openxmlformats.org/officeDocument/2006/relationships/slideLayout" Target="../slideLayouts/slideLayout156.xml"/><Relationship Id="rId3" Type="http://schemas.openxmlformats.org/officeDocument/2006/relationships/slideLayout" Target="../slideLayouts/slideLayout157.xml"/><Relationship Id="rId4" Type="http://schemas.openxmlformats.org/officeDocument/2006/relationships/slideLayout" Target="../slideLayouts/slideLayout158.xml"/><Relationship Id="rId5" Type="http://schemas.openxmlformats.org/officeDocument/2006/relationships/slideLayout" Target="../slideLayouts/slideLayout159.xml"/><Relationship Id="rId6" Type="http://schemas.openxmlformats.org/officeDocument/2006/relationships/slideLayout" Target="../slideLayouts/slideLayout160.xml"/><Relationship Id="rId7" Type="http://schemas.openxmlformats.org/officeDocument/2006/relationships/slideLayout" Target="../slideLayouts/slideLayout161.xml"/><Relationship Id="rId8" Type="http://schemas.openxmlformats.org/officeDocument/2006/relationships/slideLayout" Target="../slideLayouts/slideLayout162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5.xml"/><Relationship Id="rId4" Type="http://schemas.openxmlformats.org/officeDocument/2006/relationships/slideLayout" Target="../slideLayouts/slideLayout186.xml"/><Relationship Id="rId5" Type="http://schemas.openxmlformats.org/officeDocument/2006/relationships/slideLayout" Target="../slideLayouts/slideLayout187.xml"/><Relationship Id="rId6" Type="http://schemas.openxmlformats.org/officeDocument/2006/relationships/theme" Target="../theme/theme7.xml"/><Relationship Id="rId7" Type="http://schemas.openxmlformats.org/officeDocument/2006/relationships/image" Target="../media/image8.png"/><Relationship Id="rId1" Type="http://schemas.openxmlformats.org/officeDocument/2006/relationships/slideLayout" Target="../slideLayouts/slideLayout183.xml"/><Relationship Id="rId2" Type="http://schemas.openxmlformats.org/officeDocument/2006/relationships/slideLayout" Target="../slideLayouts/slideLayout18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baseline="0" dirty="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</a:t>
            </a:r>
            <a:r>
              <a:rPr lang="en-US" sz="600" spc="20" baseline="0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2017  </a:t>
            </a:r>
            <a:r>
              <a:rPr lang="en-US" sz="600" spc="20" baseline="0" dirty="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Cisco and/or its affiliates. All rights reserved.   Cisco Confidenti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6" r:id="rId2"/>
    <p:sldLayoutId id="2147484013" r:id="rId3"/>
    <p:sldLayoutId id="2147483982" r:id="rId4"/>
    <p:sldLayoutId id="2147484014" r:id="rId5"/>
    <p:sldLayoutId id="2147483978" r:id="rId6"/>
    <p:sldLayoutId id="2147483979" r:id="rId7"/>
    <p:sldLayoutId id="2147483980" r:id="rId8"/>
    <p:sldLayoutId id="2147483981" r:id="rId9"/>
    <p:sldLayoutId id="2147483879" r:id="rId10"/>
    <p:sldLayoutId id="2147483976" r:id="rId11"/>
    <p:sldLayoutId id="2147483885" r:id="rId12"/>
    <p:sldLayoutId id="2147484011" r:id="rId13"/>
    <p:sldLayoutId id="2147483985" r:id="rId14"/>
    <p:sldLayoutId id="2147483986" r:id="rId15"/>
    <p:sldLayoutId id="2147484012" r:id="rId16"/>
    <p:sldLayoutId id="2147483969" r:id="rId17"/>
    <p:sldLayoutId id="2147483968" r:id="rId18"/>
    <p:sldLayoutId id="2147483973" r:id="rId19"/>
    <p:sldLayoutId id="2147483967" r:id="rId20"/>
    <p:sldLayoutId id="2147483970" r:id="rId21"/>
    <p:sldLayoutId id="2147483987" r:id="rId22"/>
    <p:sldLayoutId id="2147483983" r:id="rId23"/>
    <p:sldLayoutId id="2147483971" r:id="rId24"/>
    <p:sldLayoutId id="2147483972" r:id="rId25"/>
    <p:sldLayoutId id="2147483897" r:id="rId26"/>
    <p:sldLayoutId id="2147484210" r:id="rId27"/>
    <p:sldLayoutId id="2147484211" r:id="rId2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2800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892" userDrawn="1">
          <p15:clr>
            <a:srgbClr val="F26B43"/>
          </p15:clr>
        </p15:guide>
        <p15:guide id="2" pos="336" userDrawn="1">
          <p15:clr>
            <a:srgbClr val="F26B43"/>
          </p15:clr>
        </p15:guide>
        <p15:guide id="3" pos="5448" userDrawn="1">
          <p15:clr>
            <a:srgbClr val="F26B43"/>
          </p15:clr>
        </p15:guide>
        <p15:guide id="4" orient="horz" pos="757" userDrawn="1">
          <p15:clr>
            <a:srgbClr val="F26B43"/>
          </p15:clr>
        </p15:guide>
        <p15:guide id="5" orient="horz" pos="335" userDrawn="1">
          <p15:clr>
            <a:srgbClr val="F26B43"/>
          </p15:clr>
        </p15:guide>
        <p15:guide id="6" pos="2876" userDrawn="1">
          <p15:clr>
            <a:srgbClr val="F26B43"/>
          </p15:clr>
        </p15:guide>
        <p15:guide id="7" orient="horz" pos="104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" name="think-cell Slide" r:id="rId21" imgW="381" imgH="286" progId="TCLayout.ActiveDocument.1">
                  <p:embed/>
                </p:oleObj>
              </mc:Choice>
              <mc:Fallback>
                <p:oleObj name="think-cell Slide" r:id="rId21" imgW="381" imgH="28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8150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Title Goes Here</a:t>
            </a:r>
          </a:p>
        </p:txBody>
      </p:sp>
      <p:pic>
        <p:nvPicPr>
          <p:cNvPr id="1029" name="Picture 2"/>
          <p:cNvPicPr>
            <a:picLocks noChangeAspect="1" noChangeArrowheads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77679" y="4802382"/>
            <a:ext cx="424180" cy="26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7"/>
          <p:cNvSpPr>
            <a:spLocks noChangeArrowheads="1"/>
          </p:cNvSpPr>
          <p:nvPr/>
        </p:nvSpPr>
        <p:spPr bwMode="ltGray">
          <a:xfrm>
            <a:off x="8515707" y="4919453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000000">
                    <a:alpha val="25000"/>
                  </a:srgbClr>
                </a:solidFill>
                <a:latin typeface="Arial"/>
                <a:ea typeface="ＭＳ Ｐゴシック" pitchFamily="34" charset="-128"/>
                <a:cs typeface="CiscoSans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latin typeface="Arial"/>
              <a:ea typeface="ＭＳ Ｐゴシック" pitchFamily="34" charset="-128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5286375" y="4917739"/>
            <a:ext cx="31677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 smtClean="0">
                <a:solidFill>
                  <a:srgbClr val="000000">
                    <a:alpha val="25000"/>
                  </a:srgbClr>
                </a:solidFill>
                <a:latin typeface="Arial"/>
                <a:ea typeface="ＭＳ Ｐゴシック" pitchFamily="34" charset="-128"/>
                <a:cs typeface="CiscoSans Thin"/>
              </a:rPr>
              <a:t>© 2017 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92114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5" r:id="rId1"/>
    <p:sldLayoutId id="2147484026" r:id="rId2"/>
    <p:sldLayoutId id="2147484027" r:id="rId3"/>
    <p:sldLayoutId id="2147484028" r:id="rId4"/>
    <p:sldLayoutId id="2147484029" r:id="rId5"/>
    <p:sldLayoutId id="2147484030" r:id="rId6"/>
    <p:sldLayoutId id="2147484031" r:id="rId7"/>
    <p:sldLayoutId id="2147484032" r:id="rId8"/>
    <p:sldLayoutId id="2147484033" r:id="rId9"/>
    <p:sldLayoutId id="2147484034" r:id="rId10"/>
    <p:sldLayoutId id="2147484035" r:id="rId11"/>
    <p:sldLayoutId id="2147484036" r:id="rId12"/>
    <p:sldLayoutId id="2147484037" r:id="rId13"/>
    <p:sldLayoutId id="2147484038" r:id="rId14"/>
    <p:sldLayoutId id="2147484039" r:id="rId15"/>
    <p:sldLayoutId id="2147484040" r:id="rId16"/>
    <p:sldLayoutId id="2147484058" r:id="rId17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000" kern="1200" dirty="0">
          <a:solidFill>
            <a:schemeClr val="tx2"/>
          </a:solidFill>
          <a:latin typeface="+mj-lt"/>
          <a:ea typeface="ＭＳ Ｐゴシック" charset="0"/>
          <a:cs typeface="CiscoSans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FFFFFF">
                    <a:lumMod val="6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662008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0" r:id="rId1"/>
    <p:sldLayoutId id="2147484061" r:id="rId2"/>
    <p:sldLayoutId id="2147484062" r:id="rId3"/>
    <p:sldLayoutId id="2147484063" r:id="rId4"/>
    <p:sldLayoutId id="2147484064" r:id="rId5"/>
    <p:sldLayoutId id="2147484065" r:id="rId6"/>
    <p:sldLayoutId id="2147484066" r:id="rId7"/>
    <p:sldLayoutId id="2147484067" r:id="rId8"/>
    <p:sldLayoutId id="2147484068" r:id="rId9"/>
    <p:sldLayoutId id="2147484069" r:id="rId10"/>
    <p:sldLayoutId id="2147484070" r:id="rId11"/>
    <p:sldLayoutId id="2147484071" r:id="rId12"/>
    <p:sldLayoutId id="2147484072" r:id="rId13"/>
    <p:sldLayoutId id="2147484073" r:id="rId14"/>
    <p:sldLayoutId id="2147484074" r:id="rId15"/>
    <p:sldLayoutId id="2147484075" r:id="rId16"/>
    <p:sldLayoutId id="2147484076" r:id="rId17"/>
    <p:sldLayoutId id="2147484077" r:id="rId18"/>
    <p:sldLayoutId id="2147484078" r:id="rId19"/>
    <p:sldLayoutId id="2147484079" r:id="rId20"/>
    <p:sldLayoutId id="2147484080" r:id="rId21"/>
    <p:sldLayoutId id="2147484081" r:id="rId22"/>
    <p:sldLayoutId id="2147484082" r:id="rId23"/>
    <p:sldLayoutId id="2147484083" r:id="rId24"/>
    <p:sldLayoutId id="2147484084" r:id="rId25"/>
    <p:sldLayoutId id="2147484085" r:id="rId26"/>
    <p:sldLayoutId id="2147484086" r:id="rId27"/>
    <p:sldLayoutId id="2147484087" r:id="rId28"/>
    <p:sldLayoutId id="2147484088" r:id="rId29"/>
    <p:sldLayoutId id="2147484089" r:id="rId30"/>
    <p:sldLayoutId id="2147484090" r:id="rId31"/>
    <p:sldLayoutId id="2147484091" r:id="rId32"/>
    <p:sldLayoutId id="2147484207" r:id="rId33"/>
    <p:sldLayoutId id="2147484209" r:id="rId34"/>
  </p:sldLayoutIdLst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2800" b="0" i="0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892">
          <p15:clr>
            <a:srgbClr val="F26B43"/>
          </p15:clr>
        </p15:guide>
        <p15:guide id="2" pos="336">
          <p15:clr>
            <a:srgbClr val="F26B43"/>
          </p15:clr>
        </p15:guide>
        <p15:guide id="3" pos="5448">
          <p15:clr>
            <a:srgbClr val="F26B43"/>
          </p15:clr>
        </p15:guide>
        <p15:guide id="4" orient="horz" pos="757">
          <p15:clr>
            <a:srgbClr val="F26B43"/>
          </p15:clr>
        </p15:guide>
        <p15:guide id="5" orient="horz" pos="335">
          <p15:clr>
            <a:srgbClr val="F26B43"/>
          </p15:clr>
        </p15:guide>
        <p15:guide id="6" pos="2876">
          <p15:clr>
            <a:srgbClr val="F26B43"/>
          </p15:clr>
        </p15:guide>
        <p15:guide id="7" orient="horz" pos="104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8150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Title Goes Here</a:t>
            </a: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8375" y="4742908"/>
            <a:ext cx="215747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6A1E46DC-7EF6-4EA2-B285-14272867D133}" type="slidenum">
              <a:rPr lang="en-US" sz="600">
                <a:solidFill>
                  <a:srgbClr val="000000">
                    <a:alpha val="25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latin typeface="CiscoSans ExtraLight"/>
              <a:ea typeface="ＭＳ Ｐゴシック" pitchFamily="34" charset="-128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8" y="4741655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t>© 2017  Cisco and/or its affiliates. All rights reserved.   Cisco Confidential</a:t>
            </a:r>
          </a:p>
        </p:txBody>
      </p:sp>
      <p:pic>
        <p:nvPicPr>
          <p:cNvPr id="1029" name="Picture 2"/>
          <p:cNvPicPr>
            <a:picLocks noChangeAspect="1" noChangeArrowheads="1"/>
          </p:cNvPicPr>
          <p:nvPr/>
        </p:nvPicPr>
        <p:blipFill>
          <a:blip r:embed="rId4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6102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3" r:id="rId1"/>
    <p:sldLayoutId id="2147484094" r:id="rId2"/>
    <p:sldLayoutId id="2147484095" r:id="rId3"/>
    <p:sldLayoutId id="2147484096" r:id="rId4"/>
    <p:sldLayoutId id="2147484097" r:id="rId5"/>
    <p:sldLayoutId id="2147484098" r:id="rId6"/>
    <p:sldLayoutId id="2147484099" r:id="rId7"/>
    <p:sldLayoutId id="2147484100" r:id="rId8"/>
    <p:sldLayoutId id="2147484101" r:id="rId9"/>
    <p:sldLayoutId id="2147484102" r:id="rId10"/>
    <p:sldLayoutId id="2147484103" r:id="rId11"/>
    <p:sldLayoutId id="2147484104" r:id="rId12"/>
    <p:sldLayoutId id="2147484105" r:id="rId13"/>
    <p:sldLayoutId id="2147484106" r:id="rId14"/>
    <p:sldLayoutId id="2147484107" r:id="rId15"/>
    <p:sldLayoutId id="2147484108" r:id="rId16"/>
    <p:sldLayoutId id="2147484109" r:id="rId17"/>
    <p:sldLayoutId id="2147484110" r:id="rId18"/>
    <p:sldLayoutId id="2147484111" r:id="rId19"/>
    <p:sldLayoutId id="2147484112" r:id="rId20"/>
    <p:sldLayoutId id="2147484113" r:id="rId21"/>
    <p:sldLayoutId id="2147484114" r:id="rId22"/>
    <p:sldLayoutId id="2147484115" r:id="rId23"/>
    <p:sldLayoutId id="2147484116" r:id="rId24"/>
    <p:sldLayoutId id="2147484117" r:id="rId25"/>
    <p:sldLayoutId id="2147484118" r:id="rId26"/>
    <p:sldLayoutId id="2147484119" r:id="rId27"/>
    <p:sldLayoutId id="2147484120" r:id="rId28"/>
    <p:sldLayoutId id="2147484121" r:id="rId29"/>
    <p:sldLayoutId id="2147484122" r:id="rId30"/>
    <p:sldLayoutId id="2147484123" r:id="rId31"/>
    <p:sldLayoutId id="2147484124" r:id="rId32"/>
    <p:sldLayoutId id="2147484125" r:id="rId33"/>
    <p:sldLayoutId id="2147484126" r:id="rId34"/>
    <p:sldLayoutId id="2147484127" r:id="rId35"/>
    <p:sldLayoutId id="2147484128" r:id="rId36"/>
    <p:sldLayoutId id="2147484129" r:id="rId37"/>
    <p:sldLayoutId id="2147484130" r:id="rId38"/>
    <p:sldLayoutId id="2147484131" r:id="rId39"/>
    <p:sldLayoutId id="2147484132" r:id="rId40"/>
    <p:sldLayoutId id="2147484133" r:id="rId41"/>
    <p:sldLayoutId id="2147484134" r:id="rId42"/>
    <p:sldLayoutId id="2147484135" r:id="rId43"/>
    <p:sldLayoutId id="2147484136" r:id="rId44"/>
    <p:sldLayoutId id="2147484137" r:id="rId45"/>
    <p:sldLayoutId id="2147484138" r:id="rId46"/>
    <p:sldLayoutId id="2147484139" r:id="rId47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200" b="0" i="0" u="none" kern="1200" dirty="0">
          <a:solidFill>
            <a:schemeClr val="tx2"/>
          </a:solidFill>
          <a:latin typeface="+mj-lt"/>
          <a:ea typeface="ＭＳ Ｐゴシック" charset="0"/>
          <a:cs typeface="CiscoSans"/>
        </a:defRPr>
      </a:lvl1pPr>
      <a:lvl2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2pPr>
      <a:lvl3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3pPr>
      <a:lvl4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4pPr>
      <a:lvl5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5pPr>
      <a:lvl6pPr marL="457189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378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566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754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59" indent="-169859" algn="l" defTabSz="684196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66" indent="-215894" algn="l" defTabSz="684196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789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25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61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34" indent="-171441" algn="l" defTabSz="685760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21" indent="-171418" algn="l" defTabSz="685760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160" indent="0" algn="l" defTabSz="685760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81" indent="-171441" algn="l" defTabSz="68576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8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39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21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98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81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6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42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477680" y="4741655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FFFFFF">
                    <a:lumMod val="65000"/>
                  </a:srgbClr>
                </a:solidFill>
                <a:latin typeface="CiscoSansTT ExtraLight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11340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1" r:id="rId1"/>
    <p:sldLayoutId id="2147484142" r:id="rId2"/>
    <p:sldLayoutId id="2147484143" r:id="rId3"/>
    <p:sldLayoutId id="2147484144" r:id="rId4"/>
    <p:sldLayoutId id="2147484145" r:id="rId5"/>
    <p:sldLayoutId id="2147484146" r:id="rId6"/>
    <p:sldLayoutId id="2147484147" r:id="rId7"/>
    <p:sldLayoutId id="2147484148" r:id="rId8"/>
    <p:sldLayoutId id="2147484149" r:id="rId9"/>
    <p:sldLayoutId id="2147484150" r:id="rId10"/>
    <p:sldLayoutId id="2147484151" r:id="rId11"/>
    <p:sldLayoutId id="2147484152" r:id="rId12"/>
    <p:sldLayoutId id="2147484153" r:id="rId13"/>
    <p:sldLayoutId id="2147484154" r:id="rId14"/>
    <p:sldLayoutId id="2147484155" r:id="rId15"/>
    <p:sldLayoutId id="2147484156" r:id="rId16"/>
    <p:sldLayoutId id="2147484157" r:id="rId17"/>
    <p:sldLayoutId id="2147484158" r:id="rId18"/>
    <p:sldLayoutId id="2147484159" r:id="rId19"/>
    <p:sldLayoutId id="2147484160" r:id="rId20"/>
    <p:sldLayoutId id="2147484161" r:id="rId21"/>
    <p:sldLayoutId id="2147484162" r:id="rId22"/>
    <p:sldLayoutId id="2147484163" r:id="rId23"/>
    <p:sldLayoutId id="2147484164" r:id="rId24"/>
    <p:sldLayoutId id="2147484165" r:id="rId25"/>
    <p:sldLayoutId id="2147484166" r:id="rId26"/>
    <p:sldLayoutId id="2147484167" r:id="rId27"/>
    <p:sldLayoutId id="2147484168" r:id="rId28"/>
  </p:sldLayoutIdLst>
  <p:txStyles>
    <p:titleStyle>
      <a:lvl1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2800" b="0" i="0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189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378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566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754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59" indent="-169859" algn="l" defTabSz="684196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66" indent="-215894" algn="l" defTabSz="684196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789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25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61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34" indent="-171441" algn="l" defTabSz="685760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21" indent="-171418" algn="l" defTabSz="685760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160" indent="0" algn="l" defTabSz="685760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81" indent="-171441" algn="l" defTabSz="68576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8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39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21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98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81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6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42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892">
          <p15:clr>
            <a:srgbClr val="F26B43"/>
          </p15:clr>
        </p15:guide>
        <p15:guide id="2" pos="336">
          <p15:clr>
            <a:srgbClr val="F26B43"/>
          </p15:clr>
        </p15:guide>
        <p15:guide id="3" pos="5448">
          <p15:clr>
            <a:srgbClr val="F26B43"/>
          </p15:clr>
        </p15:guide>
        <p15:guide id="4" orient="horz" pos="757">
          <p15:clr>
            <a:srgbClr val="F26B43"/>
          </p15:clr>
        </p15:guide>
        <p15:guide id="5" orient="horz" pos="335">
          <p15:clr>
            <a:srgbClr val="F26B43"/>
          </p15:clr>
        </p15:guide>
        <p15:guide id="6" pos="2876">
          <p15:clr>
            <a:srgbClr val="F26B43"/>
          </p15:clr>
        </p15:guide>
        <p15:guide id="7" orient="horz" pos="104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FFFFFF">
                    <a:lumMod val="6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7839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0" r:id="rId1"/>
    <p:sldLayoutId id="2147484171" r:id="rId2"/>
    <p:sldLayoutId id="2147484172" r:id="rId3"/>
    <p:sldLayoutId id="2147484173" r:id="rId4"/>
    <p:sldLayoutId id="2147484174" r:id="rId5"/>
    <p:sldLayoutId id="2147484175" r:id="rId6"/>
    <p:sldLayoutId id="2147484176" r:id="rId7"/>
    <p:sldLayoutId id="2147484177" r:id="rId8"/>
    <p:sldLayoutId id="2147484178" r:id="rId9"/>
    <p:sldLayoutId id="2147484179" r:id="rId10"/>
    <p:sldLayoutId id="2147484180" r:id="rId11"/>
    <p:sldLayoutId id="2147484181" r:id="rId12"/>
    <p:sldLayoutId id="2147484182" r:id="rId13"/>
    <p:sldLayoutId id="2147484183" r:id="rId14"/>
    <p:sldLayoutId id="2147484184" r:id="rId15"/>
    <p:sldLayoutId id="2147484185" r:id="rId16"/>
    <p:sldLayoutId id="2147484186" r:id="rId17"/>
    <p:sldLayoutId id="2147484187" r:id="rId18"/>
    <p:sldLayoutId id="2147484188" r:id="rId19"/>
    <p:sldLayoutId id="2147484189" r:id="rId20"/>
    <p:sldLayoutId id="2147484190" r:id="rId21"/>
    <p:sldLayoutId id="2147484191" r:id="rId22"/>
    <p:sldLayoutId id="2147484192" r:id="rId23"/>
    <p:sldLayoutId id="2147484193" r:id="rId24"/>
    <p:sldLayoutId id="2147484194" r:id="rId25"/>
    <p:sldLayoutId id="2147484195" r:id="rId26"/>
    <p:sldLayoutId id="2147484196" r:id="rId27"/>
    <p:sldLayoutId id="2147484197" r:id="rId28"/>
  </p:sldLayoutIdLst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2800" b="0" i="0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892">
          <p15:clr>
            <a:srgbClr val="F26B43"/>
          </p15:clr>
        </p15:guide>
        <p15:guide id="2" pos="336">
          <p15:clr>
            <a:srgbClr val="F26B43"/>
          </p15:clr>
        </p15:guide>
        <p15:guide id="3" pos="5448">
          <p15:clr>
            <a:srgbClr val="F26B43"/>
          </p15:clr>
        </p15:guide>
        <p15:guide id="4" orient="horz" pos="757">
          <p15:clr>
            <a:srgbClr val="F26B43"/>
          </p15:clr>
        </p15:guide>
        <p15:guide id="5" orient="horz" pos="335">
          <p15:clr>
            <a:srgbClr val="F26B43"/>
          </p15:clr>
        </p15:guide>
        <p15:guide id="6" pos="2876">
          <p15:clr>
            <a:srgbClr val="F26B43"/>
          </p15:clr>
        </p15:guide>
        <p15:guide id="7" orient="horz" pos="1043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0">
              <a:srgbClr val="1064A8"/>
            </a:gs>
            <a:gs pos="69000">
              <a:srgbClr val="011B42"/>
            </a:gs>
            <a:gs pos="100000">
              <a:srgbClr val="0A1528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406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0832" tIns="45416" rIns="90832" bIns="454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pic>
        <p:nvPicPr>
          <p:cNvPr id="9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7" cstate="print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7"/>
          <p:cNvSpPr>
            <a:spLocks noChangeArrowheads="1"/>
          </p:cNvSpPr>
          <p:nvPr userDrawn="1"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latin typeface="Arial"/>
              <a:cs typeface="CiscoSans Thin"/>
            </a:endParaRP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© </a:t>
            </a:r>
            <a:r>
              <a:rPr lang="en-US" sz="6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2016  </a:t>
            </a: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152837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0" r:id="rId1"/>
    <p:sldLayoutId id="2147484201" r:id="rId2"/>
    <p:sldLayoutId id="2147484203" r:id="rId3"/>
    <p:sldLayoutId id="2147484204" r:id="rId4"/>
    <p:sldLayoutId id="2147484205" r:id="rId5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6799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200" kern="1200" dirty="0">
          <a:solidFill>
            <a:schemeClr val="bg1"/>
          </a:solidFill>
          <a:latin typeface="+mj-lt"/>
          <a:ea typeface="ＭＳ Ｐゴシック" charset="0"/>
          <a:cs typeface="Arial" panose="020B0604020202020204" pitchFamily="34" charset="0"/>
        </a:defRPr>
      </a:lvl1pPr>
      <a:lvl2pPr algn="l" defTabSz="6799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799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799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799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4388" algn="l" defTabSz="6799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08776" algn="l" defTabSz="6799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63164" algn="l" defTabSz="6799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17552" algn="l" defTabSz="6799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8827" indent="-168827" algn="l" defTabSz="679996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6555" indent="-214568" algn="l" defTabSz="679996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29136" indent="-168827" algn="l" defTabSz="6799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0130" indent="-168827" algn="l" defTabSz="6799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1123" indent="-168827" algn="l" defTabSz="6799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58529" indent="-170409" algn="l" defTabSz="681560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0073" indent="-170386" algn="l" defTabSz="681560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385488" indent="0" algn="l" defTabSz="681560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896625" indent="-170409" algn="l" defTabSz="68156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15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0728" algn="l" defTabSz="6815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1560" algn="l" defTabSz="6815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2368" algn="l" defTabSz="6815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63119" algn="l" defTabSz="6815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03867" algn="l" defTabSz="6815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44679" algn="l" defTabSz="6815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85488" algn="l" defTabSz="6815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26236" algn="l" defTabSz="6815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3.tif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4" Type="http://schemas.openxmlformats.org/officeDocument/2006/relationships/image" Target="../media/image30.png"/><Relationship Id="rId5" Type="http://schemas.openxmlformats.org/officeDocument/2006/relationships/image" Target="../media/image31.png"/><Relationship Id="rId6" Type="http://schemas.openxmlformats.org/officeDocument/2006/relationships/image" Target="../media/image32.png"/><Relationship Id="rId7" Type="http://schemas.openxmlformats.org/officeDocument/2006/relationships/image" Target="../media/image33.png"/><Relationship Id="rId8" Type="http://schemas.openxmlformats.org/officeDocument/2006/relationships/image" Target="../media/image34.png"/><Relationship Id="rId9" Type="http://schemas.openxmlformats.org/officeDocument/2006/relationships/image" Target="../media/image35.png"/><Relationship Id="rId1" Type="http://schemas.openxmlformats.org/officeDocument/2006/relationships/slideLayout" Target="../slideLayouts/slideLayout79.xml"/><Relationship Id="rId2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Relationship Id="rId2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4" Type="http://schemas.openxmlformats.org/officeDocument/2006/relationships/image" Target="../media/image37.png"/><Relationship Id="rId1" Type="http://schemas.openxmlformats.org/officeDocument/2006/relationships/slideLayout" Target="../slideLayouts/slideLayout57.xml"/><Relationship Id="rId2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Relationship Id="rId2" Type="http://schemas.openxmlformats.org/officeDocument/2006/relationships/notesSlide" Target="../notesSlides/notesSlide13.xml"/><Relationship Id="rId3" Type="http://schemas.openxmlformats.org/officeDocument/2006/relationships/image" Target="../media/image38.tif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4" Type="http://schemas.openxmlformats.org/officeDocument/2006/relationships/image" Target="../media/image40.tiff"/><Relationship Id="rId1" Type="http://schemas.openxmlformats.org/officeDocument/2006/relationships/slideLayout" Target="../slideLayouts/slideLayout57.xml"/><Relationship Id="rId2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Relationship Id="rId2" Type="http://schemas.openxmlformats.org/officeDocument/2006/relationships/notesSlide" Target="../notesSlides/notesSlide15.xml"/><Relationship Id="rId3" Type="http://schemas.openxmlformats.org/officeDocument/2006/relationships/image" Target="../media/image41.tiff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Relationship Id="rId2" Type="http://schemas.openxmlformats.org/officeDocument/2006/relationships/notesSlide" Target="../notesSlides/notesSlide1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Relationship Id="rId2" Type="http://schemas.openxmlformats.org/officeDocument/2006/relationships/notesSlide" Target="../notesSlides/notesSlide1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8.xml"/><Relationship Id="rId3" Type="http://schemas.openxmlformats.org/officeDocument/2006/relationships/image" Target="../media/image4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14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9.xml"/><Relationship Id="rId3" Type="http://schemas.openxmlformats.org/officeDocument/2006/relationships/image" Target="../media/image43.jp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20.xml"/><Relationship Id="rId3" Type="http://schemas.openxmlformats.org/officeDocument/2006/relationships/image" Target="../media/image44.jp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4" Type="http://schemas.openxmlformats.org/officeDocument/2006/relationships/image" Target="../media/image46.tiff"/><Relationship Id="rId5" Type="http://schemas.openxmlformats.org/officeDocument/2006/relationships/image" Target="../media/image47.png"/><Relationship Id="rId1" Type="http://schemas.openxmlformats.org/officeDocument/2006/relationships/slideLayout" Target="../slideLayouts/slideLayout28.xml"/><Relationship Id="rId2" Type="http://schemas.openxmlformats.org/officeDocument/2006/relationships/notesSlide" Target="../notesSlides/notesSlide2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4" Type="http://schemas.openxmlformats.org/officeDocument/2006/relationships/image" Target="../media/image48.wmf"/><Relationship Id="rId5" Type="http://schemas.openxmlformats.org/officeDocument/2006/relationships/image" Target="../media/image49.png"/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2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Relationship Id="rId2" Type="http://schemas.openxmlformats.org/officeDocument/2006/relationships/notesSlide" Target="../notesSlides/notesSlide2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Relationship Id="rId2" Type="http://schemas.openxmlformats.org/officeDocument/2006/relationships/notesSlide" Target="../notesSlides/notesSlide2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4" Type="http://schemas.openxmlformats.org/officeDocument/2006/relationships/image" Target="../media/image51.png"/><Relationship Id="rId5" Type="http://schemas.microsoft.com/office/2007/relationships/hdphoto" Target="../media/hdphoto5.wdp"/><Relationship Id="rId6" Type="http://schemas.openxmlformats.org/officeDocument/2006/relationships/image" Target="../media/image52.png"/><Relationship Id="rId7" Type="http://schemas.openxmlformats.org/officeDocument/2006/relationships/image" Target="../media/image53.png"/><Relationship Id="rId8" Type="http://schemas.openxmlformats.org/officeDocument/2006/relationships/image" Target="../media/image54.png"/><Relationship Id="rId9" Type="http://schemas.openxmlformats.org/officeDocument/2006/relationships/image" Target="../media/image55.png"/><Relationship Id="rId1" Type="http://schemas.openxmlformats.org/officeDocument/2006/relationships/slideLayout" Target="../slideLayouts/slideLayout27.xml"/><Relationship Id="rId2" Type="http://schemas.openxmlformats.org/officeDocument/2006/relationships/notesSlide" Target="../notesSlides/notesSlide2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4" Type="http://schemas.openxmlformats.org/officeDocument/2006/relationships/image" Target="../media/image16.png"/><Relationship Id="rId5" Type="http://schemas.openxmlformats.org/officeDocument/2006/relationships/image" Target="../media/image17.png"/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11" Type="http://schemas.openxmlformats.org/officeDocument/2006/relationships/hyperlink" Target="https://www.google.com/url?sa=i&amp;rct=j&amp;q=&amp;esrc=s&amp;source=images&amp;cd=&amp;cad=rja&amp;uact=8&amp;ved=0ahUKEwi3w-nKv6fUAhUFyGMKHbaAB5QQjRwIBw&amp;url=https://www.helpnetsecurity.com/2016/11/18/new-infosec-products-week-november-18-2016/&amp;psig=AFQjCNG7ASGrOOXxY-ehOG05SioBBq96Bg&amp;ust=1496779288813601" TargetMode="External"/><Relationship Id="rId12" Type="http://schemas.openxmlformats.org/officeDocument/2006/relationships/image" Target="../media/image23.png"/><Relationship Id="rId13" Type="http://schemas.microsoft.com/office/2007/relationships/hdphoto" Target="../media/hdphoto3.wdp"/><Relationship Id="rId14" Type="http://schemas.openxmlformats.org/officeDocument/2006/relationships/hyperlink" Target="http://www.google.com/url?sa=i&amp;rct=j&amp;q=&amp;esrc=s&amp;source=images&amp;cd=&amp;cad=rja&amp;uact=8&amp;ved=0ahUKEwiRzvztv6fUAhVP4GMKHaqXB4MQjRwIBw&amp;url=http://www.transport.govt.nz/ourwork/technology/specific-transport-technologies/road-vehicle/connected-vehicles/&amp;psig=AFQjCNFhdjrUAXVSAMw-UzbgP2CMkovAQg&amp;ust=1496779375824575" TargetMode="External"/><Relationship Id="rId15" Type="http://schemas.openxmlformats.org/officeDocument/2006/relationships/image" Target="../media/image24.png"/><Relationship Id="rId16" Type="http://schemas.microsoft.com/office/2007/relationships/hdphoto" Target="../media/hdphoto4.wdp"/><Relationship Id="rId1" Type="http://schemas.openxmlformats.org/officeDocument/2006/relationships/slideLayout" Target="../slideLayouts/slideLayout78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18.png"/><Relationship Id="rId4" Type="http://schemas.microsoft.com/office/2007/relationships/hdphoto" Target="../media/hdphoto1.wdp"/><Relationship Id="rId5" Type="http://schemas.openxmlformats.org/officeDocument/2006/relationships/image" Target="../media/image19.png"/><Relationship Id="rId6" Type="http://schemas.microsoft.com/office/2007/relationships/hdphoto" Target="../media/hdphoto2.wdp"/><Relationship Id="rId7" Type="http://schemas.openxmlformats.org/officeDocument/2006/relationships/image" Target="../media/image20.tiff"/><Relationship Id="rId8" Type="http://schemas.openxmlformats.org/officeDocument/2006/relationships/image" Target="../media/image21.png"/><Relationship Id="rId9" Type="http://schemas.openxmlformats.org/officeDocument/2006/relationships/hyperlink" Target="http://www.google.com/url?sa=i&amp;rct=j&amp;q=&amp;esrc=s&amp;source=images&amp;cd=&amp;cad=rja&amp;uact=8&amp;ved=0ahUKEwjBsc-Vv6fUAhUIxWMKHefoCKcQjRwIBw&amp;url=http://www.staveleyhead.co.uk/commercial-vehicle/fleet-insurance&amp;psig=AFQjCNFjlsV5qhTyVAy0JcFJ13taxRNOew&amp;ust=1496779171721935" TargetMode="External"/><Relationship Id="rId10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Relationship Id="rId2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26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tiff"/><Relationship Id="rId4" Type="http://schemas.openxmlformats.org/officeDocument/2006/relationships/image" Target="../media/image28.png"/><Relationship Id="rId1" Type="http://schemas.openxmlformats.org/officeDocument/2006/relationships/slideLayout" Target="../slideLayouts/slideLayout57.xml"/><Relationship Id="rId2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Michael Doenge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Smart and Connected Transportatio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69497" y="4348762"/>
            <a:ext cx="6231024" cy="288131"/>
          </a:xfrm>
        </p:spPr>
        <p:txBody>
          <a:bodyPr/>
          <a:lstStyle/>
          <a:p>
            <a:r>
              <a:rPr lang="en-US" dirty="0" smtClean="0"/>
              <a:t>Consulting Systems Engineer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Roadside Safety and Real-time Data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Michigan DOT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77271" y="365107"/>
            <a:ext cx="1877115" cy="526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7991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Rectangle 106"/>
          <p:cNvSpPr/>
          <p:nvPr/>
        </p:nvSpPr>
        <p:spPr>
          <a:xfrm>
            <a:off x="-2048039" y="3126883"/>
            <a:ext cx="2333027" cy="1996723"/>
          </a:xfrm>
          <a:prstGeom prst="rect">
            <a:avLst/>
          </a:prstGeom>
          <a:noFill/>
        </p:spPr>
      </p:sp>
      <p:grpSp>
        <p:nvGrpSpPr>
          <p:cNvPr id="106" name="Group 105"/>
          <p:cNvGrpSpPr/>
          <p:nvPr/>
        </p:nvGrpSpPr>
        <p:grpSpPr>
          <a:xfrm>
            <a:off x="450532" y="1939383"/>
            <a:ext cx="2478169" cy="2603671"/>
            <a:chOff x="190162" y="1392200"/>
            <a:chExt cx="4454030" cy="3246201"/>
          </a:xfrm>
        </p:grpSpPr>
        <p:cxnSp>
          <p:nvCxnSpPr>
            <p:cNvPr id="108" name="Straight Connector 107"/>
            <p:cNvCxnSpPr/>
            <p:nvPr/>
          </p:nvCxnSpPr>
          <p:spPr>
            <a:xfrm>
              <a:off x="190162" y="1392200"/>
              <a:ext cx="0" cy="3246201"/>
            </a:xfrm>
            <a:prstGeom prst="line">
              <a:avLst/>
            </a:prstGeom>
            <a:ln w="9525" cmpd="sng">
              <a:solidFill>
                <a:schemeClr val="accent1">
                  <a:lumMod val="75000"/>
                </a:schemeClr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/>
            <p:cNvCxnSpPr/>
            <p:nvPr/>
          </p:nvCxnSpPr>
          <p:spPr>
            <a:xfrm>
              <a:off x="4644192" y="1392200"/>
              <a:ext cx="0" cy="3246201"/>
            </a:xfrm>
            <a:prstGeom prst="line">
              <a:avLst/>
            </a:prstGeom>
            <a:ln w="9525" cmpd="sng">
              <a:solidFill>
                <a:schemeClr val="accent1">
                  <a:lumMod val="75000"/>
                </a:schemeClr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0" name="Straight Connector 109"/>
          <p:cNvCxnSpPr/>
          <p:nvPr/>
        </p:nvCxnSpPr>
        <p:spPr>
          <a:xfrm flipV="1">
            <a:off x="450530" y="4543054"/>
            <a:ext cx="2488249" cy="11241"/>
          </a:xfrm>
          <a:prstGeom prst="line">
            <a:avLst/>
          </a:prstGeom>
          <a:ln w="9525" cmpd="sng">
            <a:solidFill>
              <a:schemeClr val="accent1">
                <a:lumMod val="75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1" name="TextBox 110"/>
          <p:cNvSpPr txBox="1"/>
          <p:nvPr/>
        </p:nvSpPr>
        <p:spPr>
          <a:xfrm flipH="1">
            <a:off x="492705" y="1920611"/>
            <a:ext cx="2389218" cy="2439130"/>
          </a:xfrm>
          <a:prstGeom prst="rect">
            <a:avLst/>
          </a:prstGeom>
          <a:noFill/>
          <a:ln>
            <a:noFill/>
          </a:ln>
        </p:spPr>
        <p:txBody>
          <a:bodyPr wrap="square" lIns="68580" tIns="34290" rIns="68580" bIns="34290" rtlCol="0" anchor="t" anchorCtr="0">
            <a:spAutoFit/>
          </a:bodyPr>
          <a:lstStyle/>
          <a:p>
            <a:pPr marL="285750" indent="-285750" defTabSz="457082">
              <a:buSzPct val="90000"/>
              <a:buFont typeface="Wingdings" charset="2"/>
              <a:buChar char="ü"/>
              <a:defRPr/>
            </a:pPr>
            <a:r>
              <a:rPr lang="en-US" sz="1400" kern="0" dirty="0" smtClean="0">
                <a:solidFill>
                  <a:schemeClr val="bg2"/>
                </a:solidFill>
              </a:rPr>
              <a:t>Review drivers for segmentation with stakeholders</a:t>
            </a:r>
          </a:p>
          <a:p>
            <a:pPr marL="285750" indent="-285750" defTabSz="457082">
              <a:buSzPct val="90000"/>
              <a:buFont typeface="Wingdings" charset="2"/>
              <a:buChar char="q"/>
              <a:defRPr/>
            </a:pPr>
            <a:endParaRPr lang="en-US" sz="1400" kern="0" dirty="0" smtClean="0">
              <a:solidFill>
                <a:schemeClr val="bg2"/>
              </a:solidFill>
            </a:endParaRPr>
          </a:p>
          <a:p>
            <a:pPr marL="285750" indent="-285750" defTabSz="457082">
              <a:buSzPct val="90000"/>
              <a:buFont typeface="Wingdings" charset="2"/>
              <a:buChar char="ü"/>
              <a:defRPr/>
            </a:pPr>
            <a:r>
              <a:rPr lang="en-US" sz="1400" kern="0" dirty="0" smtClean="0">
                <a:solidFill>
                  <a:schemeClr val="bg2"/>
                </a:solidFill>
              </a:rPr>
              <a:t>Gain insight into current state of environment</a:t>
            </a:r>
          </a:p>
          <a:p>
            <a:pPr marL="285750" indent="-285750" defTabSz="457082">
              <a:buSzPct val="90000"/>
              <a:buFont typeface="Wingdings" charset="2"/>
              <a:buChar char="ü"/>
              <a:defRPr/>
            </a:pPr>
            <a:endParaRPr lang="en-US" sz="1400" kern="0" dirty="0" smtClean="0">
              <a:solidFill>
                <a:schemeClr val="bg2"/>
              </a:solidFill>
            </a:endParaRPr>
          </a:p>
          <a:p>
            <a:pPr marL="285750" indent="-285750" defTabSz="457082">
              <a:buSzPct val="90000"/>
              <a:buFont typeface="Wingdings" charset="2"/>
              <a:buChar char="ü"/>
              <a:defRPr/>
            </a:pPr>
            <a:r>
              <a:rPr lang="en-US" sz="1400" kern="0" dirty="0" smtClean="0">
                <a:solidFill>
                  <a:schemeClr val="bg2"/>
                </a:solidFill>
              </a:rPr>
              <a:t>Facilitate discussions to broaden perspective of future state</a:t>
            </a:r>
          </a:p>
          <a:p>
            <a:pPr marL="171450" indent="-171450" defTabSz="457082">
              <a:buSzPct val="90000"/>
              <a:buFont typeface="Wingdings" charset="2"/>
              <a:buChar char="²"/>
              <a:defRPr/>
            </a:pPr>
            <a:endParaRPr lang="en-US" sz="1400" kern="0" dirty="0">
              <a:solidFill>
                <a:schemeClr val="bg2"/>
              </a:solidFill>
            </a:endParaRPr>
          </a:p>
        </p:txBody>
      </p:sp>
      <p:grpSp>
        <p:nvGrpSpPr>
          <p:cNvPr id="112" name="Group 111"/>
          <p:cNvGrpSpPr/>
          <p:nvPr/>
        </p:nvGrpSpPr>
        <p:grpSpPr>
          <a:xfrm>
            <a:off x="3335401" y="1939383"/>
            <a:ext cx="2478169" cy="2619952"/>
            <a:chOff x="190162" y="1392200"/>
            <a:chExt cx="4454030" cy="3246201"/>
          </a:xfrm>
        </p:grpSpPr>
        <p:cxnSp>
          <p:nvCxnSpPr>
            <p:cNvPr id="113" name="Straight Connector 112"/>
            <p:cNvCxnSpPr/>
            <p:nvPr/>
          </p:nvCxnSpPr>
          <p:spPr>
            <a:xfrm>
              <a:off x="190162" y="1392200"/>
              <a:ext cx="0" cy="3246201"/>
            </a:xfrm>
            <a:prstGeom prst="line">
              <a:avLst/>
            </a:prstGeom>
            <a:ln w="9525" cmpd="sng">
              <a:solidFill>
                <a:schemeClr val="accent1">
                  <a:lumMod val="75000"/>
                </a:schemeClr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/>
            <p:cNvCxnSpPr/>
            <p:nvPr/>
          </p:nvCxnSpPr>
          <p:spPr>
            <a:xfrm>
              <a:off x="4644192" y="1392200"/>
              <a:ext cx="0" cy="3246201"/>
            </a:xfrm>
            <a:prstGeom prst="line">
              <a:avLst/>
            </a:prstGeom>
            <a:ln w="9525" cmpd="sng">
              <a:solidFill>
                <a:schemeClr val="accent1">
                  <a:lumMod val="75000"/>
                </a:schemeClr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5" name="Straight Connector 114"/>
          <p:cNvCxnSpPr/>
          <p:nvPr/>
        </p:nvCxnSpPr>
        <p:spPr>
          <a:xfrm>
            <a:off x="3335400" y="4554297"/>
            <a:ext cx="2477026" cy="0"/>
          </a:xfrm>
          <a:prstGeom prst="line">
            <a:avLst/>
          </a:prstGeom>
          <a:ln w="9525" cmpd="sng">
            <a:solidFill>
              <a:schemeClr val="accent1">
                <a:lumMod val="75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6" name="TextBox 115"/>
          <p:cNvSpPr txBox="1"/>
          <p:nvPr/>
        </p:nvSpPr>
        <p:spPr>
          <a:xfrm flipH="1">
            <a:off x="3377579" y="1920615"/>
            <a:ext cx="2376501" cy="2654573"/>
          </a:xfrm>
          <a:prstGeom prst="rect">
            <a:avLst/>
          </a:prstGeom>
          <a:noFill/>
          <a:ln>
            <a:noFill/>
          </a:ln>
        </p:spPr>
        <p:txBody>
          <a:bodyPr wrap="square" lIns="68580" tIns="34290" rIns="68580" bIns="34290" rtlCol="0" anchor="t" anchorCtr="0">
            <a:spAutoFit/>
          </a:bodyPr>
          <a:lstStyle/>
          <a:p>
            <a:pPr marL="285750" indent="-285750" defTabSz="457082">
              <a:buSzPct val="90000"/>
              <a:buFont typeface="Wingdings" charset="2"/>
              <a:buChar char="ü"/>
              <a:defRPr/>
            </a:pPr>
            <a:r>
              <a:rPr lang="en-US" sz="1400" kern="0" dirty="0" smtClean="0">
                <a:solidFill>
                  <a:schemeClr val="bg2"/>
                </a:solidFill>
              </a:rPr>
              <a:t>Review workshop findings and overall approach</a:t>
            </a:r>
          </a:p>
          <a:p>
            <a:pPr marL="285750" indent="-285750" defTabSz="457082">
              <a:buSzPct val="90000"/>
              <a:buFont typeface="Wingdings" charset="2"/>
              <a:buChar char="ü"/>
              <a:defRPr/>
            </a:pPr>
            <a:endParaRPr lang="en-US" sz="1400" kern="0" dirty="0">
              <a:solidFill>
                <a:schemeClr val="bg2"/>
              </a:solidFill>
            </a:endParaRPr>
          </a:p>
          <a:p>
            <a:pPr marL="285750" indent="-285750" defTabSz="457082">
              <a:buSzPct val="90000"/>
              <a:buFont typeface="Wingdings" charset="2"/>
              <a:buChar char="ü"/>
              <a:defRPr/>
            </a:pPr>
            <a:r>
              <a:rPr lang="en-US" sz="1400" kern="0" dirty="0" smtClean="0">
                <a:solidFill>
                  <a:schemeClr val="bg2"/>
                </a:solidFill>
              </a:rPr>
              <a:t>Develop </a:t>
            </a:r>
            <a:r>
              <a:rPr lang="en-US" sz="1400" kern="0" dirty="0" smtClean="0">
                <a:solidFill>
                  <a:schemeClr val="bg2"/>
                </a:solidFill>
              </a:rPr>
              <a:t>POC</a:t>
            </a:r>
            <a:r>
              <a:rPr lang="en-US" sz="1400" kern="0" dirty="0" smtClean="0">
                <a:solidFill>
                  <a:schemeClr val="bg2"/>
                </a:solidFill>
              </a:rPr>
              <a:t> </a:t>
            </a:r>
            <a:r>
              <a:rPr lang="en-US" sz="1400" kern="0" dirty="0" smtClean="0">
                <a:solidFill>
                  <a:schemeClr val="bg2"/>
                </a:solidFill>
              </a:rPr>
              <a:t>vision that meets current and future needs</a:t>
            </a:r>
          </a:p>
          <a:p>
            <a:pPr marL="285750" indent="-285750" defTabSz="457082">
              <a:buSzPct val="90000"/>
              <a:buFont typeface="Wingdings" charset="2"/>
              <a:buChar char="ü"/>
              <a:defRPr/>
            </a:pPr>
            <a:endParaRPr lang="en-US" sz="1400" kern="0" dirty="0">
              <a:solidFill>
                <a:schemeClr val="bg2"/>
              </a:solidFill>
            </a:endParaRPr>
          </a:p>
          <a:p>
            <a:pPr marL="285750" indent="-285750" defTabSz="457082">
              <a:buSzPct val="90000"/>
              <a:buFont typeface="Wingdings" charset="2"/>
              <a:buChar char="ü"/>
              <a:defRPr/>
            </a:pPr>
            <a:r>
              <a:rPr lang="en-US" sz="1400" kern="0" dirty="0" smtClean="0">
                <a:solidFill>
                  <a:schemeClr val="bg2"/>
                </a:solidFill>
              </a:rPr>
              <a:t>Identify key strategic objectives to move toward future state</a:t>
            </a:r>
            <a:endParaRPr lang="en-US" sz="1400" kern="0" dirty="0">
              <a:solidFill>
                <a:schemeClr val="bg2"/>
              </a:solidFill>
            </a:endParaRPr>
          </a:p>
          <a:p>
            <a:pPr defTabSz="457082">
              <a:buSzPct val="90000"/>
              <a:defRPr/>
            </a:pPr>
            <a:endParaRPr lang="en-US" sz="1400" kern="0" dirty="0">
              <a:solidFill>
                <a:schemeClr val="bg2"/>
              </a:solidFill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6204445" y="1939389"/>
            <a:ext cx="2486310" cy="2635799"/>
            <a:chOff x="190162" y="1392200"/>
            <a:chExt cx="4468662" cy="3246201"/>
          </a:xfrm>
        </p:grpSpPr>
        <p:cxnSp>
          <p:nvCxnSpPr>
            <p:cNvPr id="118" name="Straight Connector 117"/>
            <p:cNvCxnSpPr/>
            <p:nvPr/>
          </p:nvCxnSpPr>
          <p:spPr>
            <a:xfrm>
              <a:off x="190162" y="1392200"/>
              <a:ext cx="0" cy="3246201"/>
            </a:xfrm>
            <a:prstGeom prst="line">
              <a:avLst/>
            </a:prstGeom>
            <a:ln w="9525" cmpd="sng">
              <a:solidFill>
                <a:schemeClr val="accent1">
                  <a:lumMod val="75000"/>
                </a:schemeClr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/>
            <p:cNvCxnSpPr/>
            <p:nvPr/>
          </p:nvCxnSpPr>
          <p:spPr>
            <a:xfrm>
              <a:off x="4658824" y="1392200"/>
              <a:ext cx="0" cy="3246201"/>
            </a:xfrm>
            <a:prstGeom prst="line">
              <a:avLst/>
            </a:prstGeom>
            <a:ln w="9525" cmpd="sng">
              <a:solidFill>
                <a:schemeClr val="accent1">
                  <a:lumMod val="75000"/>
                </a:schemeClr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0" name="Straight Connector 119"/>
          <p:cNvCxnSpPr/>
          <p:nvPr/>
        </p:nvCxnSpPr>
        <p:spPr>
          <a:xfrm>
            <a:off x="6199008" y="4575188"/>
            <a:ext cx="2491747" cy="0"/>
          </a:xfrm>
          <a:prstGeom prst="line">
            <a:avLst/>
          </a:prstGeom>
          <a:ln w="9525" cmpd="sng">
            <a:solidFill>
              <a:schemeClr val="accent1">
                <a:lumMod val="75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1" name="TextBox 120"/>
          <p:cNvSpPr txBox="1"/>
          <p:nvPr/>
        </p:nvSpPr>
        <p:spPr>
          <a:xfrm flipH="1">
            <a:off x="6254759" y="1920619"/>
            <a:ext cx="2342756" cy="2654573"/>
          </a:xfrm>
          <a:prstGeom prst="rect">
            <a:avLst/>
          </a:prstGeom>
          <a:noFill/>
          <a:ln>
            <a:noFill/>
          </a:ln>
        </p:spPr>
        <p:txBody>
          <a:bodyPr wrap="square" lIns="68580" tIns="34290" rIns="68580" bIns="34290" rtlCol="0" anchor="t" anchorCtr="0">
            <a:spAutoFit/>
          </a:bodyPr>
          <a:lstStyle/>
          <a:p>
            <a:pPr marL="285750" indent="-285750" defTabSz="457082">
              <a:buSzPct val="90000"/>
              <a:buFont typeface="Wingdings" charset="2"/>
              <a:buChar char="ü"/>
              <a:defRPr/>
            </a:pPr>
            <a:r>
              <a:rPr lang="en-US" sz="1400" kern="0" dirty="0" smtClean="0">
                <a:solidFill>
                  <a:schemeClr val="bg2"/>
                </a:solidFill>
              </a:rPr>
              <a:t>Summarize customer’s current state and workshop findings</a:t>
            </a:r>
            <a:endParaRPr lang="en-US" sz="1400" kern="0" dirty="0">
              <a:solidFill>
                <a:schemeClr val="bg2"/>
              </a:solidFill>
            </a:endParaRPr>
          </a:p>
          <a:p>
            <a:pPr marL="285750" indent="-285750" defTabSz="457082">
              <a:buSzPct val="90000"/>
              <a:buFont typeface="Wingdings" charset="2"/>
              <a:buChar char="ü"/>
              <a:defRPr/>
            </a:pPr>
            <a:endParaRPr lang="en-US" sz="1400" kern="0" dirty="0">
              <a:solidFill>
                <a:schemeClr val="bg2"/>
              </a:solidFill>
            </a:endParaRPr>
          </a:p>
          <a:p>
            <a:pPr marL="285750" indent="-285750" defTabSz="457082">
              <a:buSzPct val="90000"/>
              <a:buFont typeface="Wingdings" charset="2"/>
              <a:buChar char="ü"/>
              <a:defRPr/>
            </a:pPr>
            <a:r>
              <a:rPr lang="en-US" sz="1400" kern="0" dirty="0" smtClean="0">
                <a:solidFill>
                  <a:schemeClr val="bg2"/>
                </a:solidFill>
              </a:rPr>
              <a:t>Provide future state vision and tie to broader business goals</a:t>
            </a:r>
            <a:endParaRPr lang="en-US" sz="1400" kern="0" dirty="0">
              <a:solidFill>
                <a:schemeClr val="bg2"/>
              </a:solidFill>
            </a:endParaRPr>
          </a:p>
          <a:p>
            <a:pPr marL="285750" indent="-285750" defTabSz="457082">
              <a:buSzPct val="90000"/>
              <a:buFont typeface="Wingdings" charset="2"/>
              <a:buChar char="ü"/>
              <a:defRPr/>
            </a:pPr>
            <a:endParaRPr lang="en-US" sz="1400" kern="0" dirty="0">
              <a:solidFill>
                <a:schemeClr val="bg2"/>
              </a:solidFill>
            </a:endParaRPr>
          </a:p>
          <a:p>
            <a:pPr marL="285750" indent="-285750" defTabSz="457082">
              <a:buSzPct val="90000"/>
              <a:buFont typeface="Wingdings" charset="2"/>
              <a:buChar char="ü"/>
              <a:defRPr/>
            </a:pPr>
            <a:r>
              <a:rPr lang="en-US" sz="1400" kern="0" dirty="0" smtClean="0">
                <a:solidFill>
                  <a:schemeClr val="bg2"/>
                </a:solidFill>
              </a:rPr>
              <a:t>Recommend key strategic objectives to move toward future state</a:t>
            </a:r>
            <a:endParaRPr lang="en-US" sz="1400" kern="0" dirty="0">
              <a:solidFill>
                <a:schemeClr val="bg2"/>
              </a:solidFill>
            </a:endParaRPr>
          </a:p>
        </p:txBody>
      </p:sp>
      <p:sp>
        <p:nvSpPr>
          <p:cNvPr id="181" name="Rectangle 180"/>
          <p:cNvSpPr/>
          <p:nvPr/>
        </p:nvSpPr>
        <p:spPr>
          <a:xfrm rot="5400000">
            <a:off x="1365450" y="228772"/>
            <a:ext cx="652970" cy="2493687"/>
          </a:xfrm>
          <a:prstGeom prst="rect">
            <a:avLst/>
          </a:prstGeom>
          <a:solidFill>
            <a:srgbClr val="FBB330"/>
          </a:soli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137160" tIns="1005840" rtlCol="0" anchor="t"/>
          <a:lstStyle/>
          <a:p>
            <a:endParaRPr lang="en-US" sz="1500" dirty="0">
              <a:solidFill>
                <a:schemeClr val="accent1"/>
              </a:solidFill>
            </a:endParaRPr>
          </a:p>
        </p:txBody>
      </p:sp>
      <p:cxnSp>
        <p:nvCxnSpPr>
          <p:cNvPr id="182" name="Straight Connector 181"/>
          <p:cNvCxnSpPr/>
          <p:nvPr/>
        </p:nvCxnSpPr>
        <p:spPr>
          <a:xfrm>
            <a:off x="1203489" y="1195345"/>
            <a:ext cx="0" cy="556880"/>
          </a:xfrm>
          <a:prstGeom prst="line">
            <a:avLst/>
          </a:prstGeom>
          <a:ln w="9525" cmpd="sng">
            <a:solidFill>
              <a:srgbClr val="FFFFFF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3" name="TextBox 182"/>
          <p:cNvSpPr txBox="1"/>
          <p:nvPr/>
        </p:nvSpPr>
        <p:spPr>
          <a:xfrm>
            <a:off x="1245787" y="1310052"/>
            <a:ext cx="1615946" cy="307777"/>
          </a:xfrm>
          <a:prstGeom prst="rect">
            <a:avLst/>
          </a:prstGeom>
          <a:noFill/>
          <a:effectLst/>
        </p:spPr>
        <p:txBody>
          <a:bodyPr wrap="square" lIns="91440" tIns="0" rIns="91440" bIns="0" rtlCol="0" anchor="ctr">
            <a:spAutoFit/>
          </a:bodyPr>
          <a:lstStyle/>
          <a:p>
            <a:pPr defTabSz="457147">
              <a:defRPr/>
            </a:pPr>
            <a:r>
              <a:rPr lang="en-US" sz="2000" kern="0" dirty="0" smtClean="0">
                <a:latin typeface="CiscoSansTT Light"/>
              </a:rPr>
              <a:t>Discover</a:t>
            </a:r>
            <a:endParaRPr lang="en-US" sz="2000" kern="0" dirty="0">
              <a:latin typeface="CiscoSansTT Light"/>
            </a:endParaRPr>
          </a:p>
        </p:txBody>
      </p:sp>
      <p:sp>
        <p:nvSpPr>
          <p:cNvPr id="185" name="Oval 184"/>
          <p:cNvSpPr/>
          <p:nvPr/>
        </p:nvSpPr>
        <p:spPr>
          <a:xfrm>
            <a:off x="585098" y="1235280"/>
            <a:ext cx="487512" cy="487512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/>
          <a:p>
            <a:pPr defTabSz="457090">
              <a:defRPr/>
            </a:pPr>
            <a:endParaRPr lang="en-US" sz="1600" strike="sngStrike" kern="0" dirty="0" smtClean="0">
              <a:solidFill>
                <a:schemeClr val="tx1"/>
              </a:solidFill>
              <a:latin typeface="CiscoSans" pitchFamily="34" charset="0"/>
            </a:endParaRPr>
          </a:p>
        </p:txBody>
      </p:sp>
      <p:sp>
        <p:nvSpPr>
          <p:cNvPr id="186" name="Freeform 6"/>
          <p:cNvSpPr>
            <a:spLocks noEditPoints="1"/>
          </p:cNvSpPr>
          <p:nvPr/>
        </p:nvSpPr>
        <p:spPr bwMode="auto">
          <a:xfrm rot="2442411">
            <a:off x="764207" y="1324166"/>
            <a:ext cx="195805" cy="190532"/>
          </a:xfrm>
          <a:custGeom>
            <a:avLst/>
            <a:gdLst/>
            <a:ahLst/>
            <a:cxnLst>
              <a:cxn ang="0">
                <a:pos x="107" y="0"/>
              </a:cxn>
              <a:cxn ang="0">
                <a:pos x="0" y="107"/>
              </a:cxn>
              <a:cxn ang="0">
                <a:pos x="107" y="214"/>
              </a:cxn>
              <a:cxn ang="0">
                <a:pos x="214" y="107"/>
              </a:cxn>
              <a:cxn ang="0">
                <a:pos x="107" y="0"/>
              </a:cxn>
              <a:cxn ang="0">
                <a:pos x="107" y="184"/>
              </a:cxn>
              <a:cxn ang="0">
                <a:pos x="31" y="107"/>
              </a:cxn>
              <a:cxn ang="0">
                <a:pos x="107" y="31"/>
              </a:cxn>
              <a:cxn ang="0">
                <a:pos x="184" y="107"/>
              </a:cxn>
              <a:cxn ang="0">
                <a:pos x="107" y="184"/>
              </a:cxn>
            </a:cxnLst>
            <a:rect l="0" t="0" r="r" b="b"/>
            <a:pathLst>
              <a:path w="214" h="214">
                <a:moveTo>
                  <a:pt x="107" y="0"/>
                </a:moveTo>
                <a:cubicBezTo>
                  <a:pt x="48" y="0"/>
                  <a:pt x="0" y="48"/>
                  <a:pt x="0" y="107"/>
                </a:cubicBezTo>
                <a:cubicBezTo>
                  <a:pt x="0" y="166"/>
                  <a:pt x="48" y="214"/>
                  <a:pt x="107" y="214"/>
                </a:cubicBezTo>
                <a:cubicBezTo>
                  <a:pt x="166" y="214"/>
                  <a:pt x="214" y="166"/>
                  <a:pt x="214" y="107"/>
                </a:cubicBezTo>
                <a:cubicBezTo>
                  <a:pt x="214" y="48"/>
                  <a:pt x="166" y="0"/>
                  <a:pt x="107" y="0"/>
                </a:cubicBezTo>
                <a:close/>
                <a:moveTo>
                  <a:pt x="107" y="184"/>
                </a:moveTo>
                <a:cubicBezTo>
                  <a:pt x="65" y="184"/>
                  <a:pt x="31" y="149"/>
                  <a:pt x="31" y="107"/>
                </a:cubicBezTo>
                <a:cubicBezTo>
                  <a:pt x="31" y="65"/>
                  <a:pt x="65" y="31"/>
                  <a:pt x="107" y="31"/>
                </a:cubicBezTo>
                <a:cubicBezTo>
                  <a:pt x="149" y="31"/>
                  <a:pt x="184" y="65"/>
                  <a:pt x="184" y="107"/>
                </a:cubicBezTo>
                <a:cubicBezTo>
                  <a:pt x="184" y="149"/>
                  <a:pt x="149" y="184"/>
                  <a:pt x="107" y="184"/>
                </a:cubicBezTo>
                <a:close/>
              </a:path>
            </a:pathLst>
          </a:custGeom>
          <a:solidFill>
            <a:srgbClr val="FBB33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accent1"/>
              </a:solidFill>
              <a:latin typeface="Arial"/>
            </a:endParaRPr>
          </a:p>
        </p:txBody>
      </p:sp>
      <p:sp>
        <p:nvSpPr>
          <p:cNvPr id="187" name="Freeform 8"/>
          <p:cNvSpPr>
            <a:spLocks/>
          </p:cNvSpPr>
          <p:nvPr/>
        </p:nvSpPr>
        <p:spPr bwMode="auto">
          <a:xfrm rot="21342411">
            <a:off x="671234" y="1495623"/>
            <a:ext cx="136432" cy="132757"/>
          </a:xfrm>
          <a:custGeom>
            <a:avLst/>
            <a:gdLst/>
            <a:ahLst/>
            <a:cxnLst>
              <a:cxn ang="0">
                <a:pos x="107" y="0"/>
              </a:cxn>
              <a:cxn ang="0">
                <a:pos x="12" y="92"/>
              </a:cxn>
              <a:cxn ang="0">
                <a:pos x="12" y="135"/>
              </a:cxn>
              <a:cxn ang="0">
                <a:pos x="55" y="136"/>
              </a:cxn>
              <a:cxn ang="0">
                <a:pos x="150" y="44"/>
              </a:cxn>
              <a:cxn ang="0">
                <a:pos x="107" y="0"/>
              </a:cxn>
            </a:cxnLst>
            <a:rect l="0" t="0" r="r" b="b"/>
            <a:pathLst>
              <a:path w="150" h="148">
                <a:moveTo>
                  <a:pt x="107" y="0"/>
                </a:moveTo>
                <a:cubicBezTo>
                  <a:pt x="12" y="92"/>
                  <a:pt x="12" y="92"/>
                  <a:pt x="12" y="92"/>
                </a:cubicBezTo>
                <a:cubicBezTo>
                  <a:pt x="0" y="104"/>
                  <a:pt x="0" y="123"/>
                  <a:pt x="12" y="135"/>
                </a:cubicBezTo>
                <a:cubicBezTo>
                  <a:pt x="23" y="147"/>
                  <a:pt x="43" y="148"/>
                  <a:pt x="55" y="136"/>
                </a:cubicBezTo>
                <a:cubicBezTo>
                  <a:pt x="150" y="44"/>
                  <a:pt x="150" y="44"/>
                  <a:pt x="150" y="44"/>
                </a:cubicBezTo>
                <a:lnTo>
                  <a:pt x="107" y="0"/>
                </a:lnTo>
                <a:close/>
              </a:path>
            </a:pathLst>
          </a:custGeom>
          <a:solidFill>
            <a:srgbClr val="FBB33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accent1"/>
              </a:solidFill>
              <a:latin typeface="Arial"/>
            </a:endParaRPr>
          </a:p>
        </p:txBody>
      </p:sp>
      <p:sp>
        <p:nvSpPr>
          <p:cNvPr id="190" name="Rectangle 189"/>
          <p:cNvSpPr/>
          <p:nvPr/>
        </p:nvSpPr>
        <p:spPr>
          <a:xfrm rot="5400000">
            <a:off x="4248777" y="230317"/>
            <a:ext cx="652971" cy="2490599"/>
          </a:xfrm>
          <a:prstGeom prst="rect">
            <a:avLst/>
          </a:prstGeom>
          <a:solidFill>
            <a:srgbClr val="1AC3EC"/>
          </a:soli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137160" tIns="1005840" rtlCol="0" anchor="t"/>
          <a:lstStyle/>
          <a:p>
            <a:endParaRPr lang="en-US" sz="1500" dirty="0">
              <a:solidFill>
                <a:schemeClr val="accent1"/>
              </a:solidFill>
            </a:endParaRPr>
          </a:p>
        </p:txBody>
      </p:sp>
      <p:cxnSp>
        <p:nvCxnSpPr>
          <p:cNvPr id="191" name="Straight Connector 190"/>
          <p:cNvCxnSpPr/>
          <p:nvPr/>
        </p:nvCxnSpPr>
        <p:spPr>
          <a:xfrm>
            <a:off x="4088361" y="1195348"/>
            <a:ext cx="0" cy="556880"/>
          </a:xfrm>
          <a:prstGeom prst="line">
            <a:avLst/>
          </a:prstGeom>
          <a:ln w="9525" cmpd="sng">
            <a:solidFill>
              <a:srgbClr val="FFFFFF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2" name="TextBox 191"/>
          <p:cNvSpPr txBox="1"/>
          <p:nvPr/>
        </p:nvSpPr>
        <p:spPr>
          <a:xfrm>
            <a:off x="4130663" y="1310054"/>
            <a:ext cx="1363939" cy="307777"/>
          </a:xfrm>
          <a:prstGeom prst="rect">
            <a:avLst/>
          </a:prstGeom>
          <a:noFill/>
          <a:effectLst/>
        </p:spPr>
        <p:txBody>
          <a:bodyPr wrap="square" lIns="91440" tIns="0" rIns="91440" bIns="0" rtlCol="0" anchor="ctr">
            <a:spAutoFit/>
          </a:bodyPr>
          <a:lstStyle/>
          <a:p>
            <a:pPr defTabSz="457147">
              <a:defRPr/>
            </a:pPr>
            <a:r>
              <a:rPr lang="en-US" sz="2000" kern="0" dirty="0" smtClean="0">
                <a:latin typeface="CiscoSansTT Light"/>
              </a:rPr>
              <a:t>Analyze</a:t>
            </a:r>
            <a:endParaRPr lang="en-US" sz="2000" kern="0" dirty="0">
              <a:latin typeface="CiscoSansTT Light"/>
            </a:endParaRPr>
          </a:p>
        </p:txBody>
      </p:sp>
      <p:sp>
        <p:nvSpPr>
          <p:cNvPr id="193" name="Oval 192"/>
          <p:cNvSpPr/>
          <p:nvPr/>
        </p:nvSpPr>
        <p:spPr>
          <a:xfrm>
            <a:off x="3469970" y="1235282"/>
            <a:ext cx="487512" cy="487512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/>
          <a:p>
            <a:pPr defTabSz="457090">
              <a:defRPr/>
            </a:pPr>
            <a:endParaRPr lang="en-US" sz="1600" strike="sngStrike" kern="0" dirty="0" smtClean="0">
              <a:solidFill>
                <a:schemeClr val="accent1"/>
              </a:solidFill>
              <a:latin typeface="CiscoSans" pitchFamily="34" charset="0"/>
            </a:endParaRPr>
          </a:p>
        </p:txBody>
      </p:sp>
      <p:sp>
        <p:nvSpPr>
          <p:cNvPr id="202" name="Rectangle 201"/>
          <p:cNvSpPr/>
          <p:nvPr/>
        </p:nvSpPr>
        <p:spPr>
          <a:xfrm rot="5400000">
            <a:off x="7116183" y="224068"/>
            <a:ext cx="660862" cy="2495212"/>
          </a:xfrm>
          <a:prstGeom prst="rect">
            <a:avLst/>
          </a:prstGeom>
          <a:solidFill>
            <a:srgbClr val="7DC55C"/>
          </a:soli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137160" tIns="1005840" rtlCol="0" anchor="t"/>
          <a:lstStyle/>
          <a:p>
            <a:endParaRPr lang="en-US" sz="1500" dirty="0">
              <a:solidFill>
                <a:schemeClr val="accent1"/>
              </a:solidFill>
            </a:endParaRPr>
          </a:p>
        </p:txBody>
      </p:sp>
      <p:cxnSp>
        <p:nvCxnSpPr>
          <p:cNvPr id="203" name="Straight Connector 202"/>
          <p:cNvCxnSpPr/>
          <p:nvPr/>
        </p:nvCxnSpPr>
        <p:spPr>
          <a:xfrm>
            <a:off x="6957406" y="1195351"/>
            <a:ext cx="0" cy="556880"/>
          </a:xfrm>
          <a:prstGeom prst="line">
            <a:avLst/>
          </a:prstGeom>
          <a:ln w="9525" cmpd="sng">
            <a:solidFill>
              <a:srgbClr val="FFFFFF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4" name="TextBox 203"/>
          <p:cNvSpPr txBox="1"/>
          <p:nvPr/>
        </p:nvSpPr>
        <p:spPr>
          <a:xfrm>
            <a:off x="7127722" y="1303962"/>
            <a:ext cx="1831669" cy="307777"/>
          </a:xfrm>
          <a:prstGeom prst="rect">
            <a:avLst/>
          </a:prstGeom>
          <a:noFill/>
          <a:effectLst/>
        </p:spPr>
        <p:txBody>
          <a:bodyPr wrap="square" lIns="91440" tIns="0" rIns="91440" bIns="0" rtlCol="0" anchor="ctr">
            <a:spAutoFit/>
          </a:bodyPr>
          <a:lstStyle/>
          <a:p>
            <a:pPr defTabSz="457147">
              <a:defRPr/>
            </a:pPr>
            <a:r>
              <a:rPr lang="en-US" sz="2000" kern="0" dirty="0" smtClean="0">
                <a:latin typeface="CiscoSansTT Light"/>
              </a:rPr>
              <a:t>Report</a:t>
            </a:r>
            <a:endParaRPr lang="en-US" sz="2000" kern="0" dirty="0">
              <a:latin typeface="CiscoSansTT Light"/>
            </a:endParaRPr>
          </a:p>
        </p:txBody>
      </p:sp>
      <p:sp>
        <p:nvSpPr>
          <p:cNvPr id="205" name="Oval 204"/>
          <p:cNvSpPr/>
          <p:nvPr/>
        </p:nvSpPr>
        <p:spPr>
          <a:xfrm>
            <a:off x="6339015" y="1235286"/>
            <a:ext cx="487512" cy="487512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/>
          <a:p>
            <a:pPr defTabSz="457090">
              <a:defRPr/>
            </a:pPr>
            <a:endParaRPr lang="en-US" sz="1600" strike="sngStrike" kern="0" dirty="0" smtClean="0">
              <a:solidFill>
                <a:schemeClr val="accent1"/>
              </a:solidFill>
              <a:latin typeface="CiscoSans" pitchFamily="34" charset="0"/>
            </a:endParaRPr>
          </a:p>
        </p:txBody>
      </p:sp>
      <p:sp>
        <p:nvSpPr>
          <p:cNvPr id="206" name="Freeform 63"/>
          <p:cNvSpPr>
            <a:spLocks noEditPoints="1"/>
          </p:cNvSpPr>
          <p:nvPr/>
        </p:nvSpPr>
        <p:spPr bwMode="auto">
          <a:xfrm>
            <a:off x="3581281" y="1356822"/>
            <a:ext cx="256032" cy="256032"/>
          </a:xfrm>
          <a:custGeom>
            <a:avLst/>
            <a:gdLst/>
            <a:ahLst/>
            <a:cxnLst>
              <a:cxn ang="0">
                <a:pos x="71" y="91"/>
              </a:cxn>
              <a:cxn ang="0">
                <a:pos x="10" y="31"/>
              </a:cxn>
              <a:cxn ang="0">
                <a:pos x="10" y="23"/>
              </a:cxn>
              <a:cxn ang="0">
                <a:pos x="18" y="23"/>
              </a:cxn>
              <a:cxn ang="0">
                <a:pos x="78" y="84"/>
              </a:cxn>
              <a:cxn ang="0">
                <a:pos x="83" y="79"/>
              </a:cxn>
              <a:cxn ang="0">
                <a:pos x="23" y="19"/>
              </a:cxn>
              <a:cxn ang="0">
                <a:pos x="23" y="11"/>
              </a:cxn>
              <a:cxn ang="0">
                <a:pos x="30" y="11"/>
              </a:cxn>
              <a:cxn ang="0">
                <a:pos x="91" y="72"/>
              </a:cxn>
              <a:cxn ang="0">
                <a:pos x="98" y="65"/>
              </a:cxn>
              <a:cxn ang="0">
                <a:pos x="40" y="7"/>
              </a:cxn>
              <a:cxn ang="0">
                <a:pos x="10" y="10"/>
              </a:cxn>
              <a:cxn ang="0">
                <a:pos x="8" y="39"/>
              </a:cxn>
              <a:cxn ang="0">
                <a:pos x="66" y="97"/>
              </a:cxn>
              <a:cxn ang="0">
                <a:pos x="71" y="91"/>
              </a:cxn>
              <a:cxn ang="0">
                <a:pos x="211" y="200"/>
              </a:cxn>
              <a:cxn ang="0">
                <a:pos x="194" y="175"/>
              </a:cxn>
              <a:cxn ang="0">
                <a:pos x="189" y="177"/>
              </a:cxn>
              <a:cxn ang="0">
                <a:pos x="189" y="176"/>
              </a:cxn>
              <a:cxn ang="0">
                <a:pos x="138" y="125"/>
              </a:cxn>
              <a:cxn ang="0">
                <a:pos x="126" y="137"/>
              </a:cxn>
              <a:cxn ang="0">
                <a:pos x="177" y="188"/>
              </a:cxn>
              <a:cxn ang="0">
                <a:pos x="178" y="189"/>
              </a:cxn>
              <a:cxn ang="0">
                <a:pos x="176" y="193"/>
              </a:cxn>
              <a:cxn ang="0">
                <a:pos x="201" y="210"/>
              </a:cxn>
              <a:cxn ang="0">
                <a:pos x="207" y="206"/>
              </a:cxn>
              <a:cxn ang="0">
                <a:pos x="211" y="200"/>
              </a:cxn>
              <a:cxn ang="0">
                <a:pos x="152" y="101"/>
              </a:cxn>
              <a:cxn ang="0">
                <a:pos x="190" y="88"/>
              </a:cxn>
              <a:cxn ang="0">
                <a:pos x="198" y="32"/>
              </a:cxn>
              <a:cxn ang="0">
                <a:pos x="164" y="65"/>
              </a:cxn>
              <a:cxn ang="0">
                <a:pos x="148" y="49"/>
              </a:cxn>
              <a:cxn ang="0">
                <a:pos x="181" y="16"/>
              </a:cxn>
              <a:cxn ang="0">
                <a:pos x="125" y="23"/>
              </a:cxn>
              <a:cxn ang="0">
                <a:pos x="112" y="61"/>
              </a:cxn>
              <a:cxn ang="0">
                <a:pos x="107" y="66"/>
              </a:cxn>
              <a:cxn ang="0">
                <a:pos x="18" y="154"/>
              </a:cxn>
              <a:cxn ang="0">
                <a:pos x="18" y="195"/>
              </a:cxn>
              <a:cxn ang="0">
                <a:pos x="59" y="195"/>
              </a:cxn>
              <a:cxn ang="0">
                <a:pos x="147" y="106"/>
              </a:cxn>
              <a:cxn ang="0">
                <a:pos x="152" y="101"/>
              </a:cxn>
              <a:cxn ang="0">
                <a:pos x="48" y="178"/>
              </a:cxn>
              <a:cxn ang="0">
                <a:pos x="35" y="178"/>
              </a:cxn>
              <a:cxn ang="0">
                <a:pos x="35" y="165"/>
              </a:cxn>
              <a:cxn ang="0">
                <a:pos x="48" y="165"/>
              </a:cxn>
              <a:cxn ang="0">
                <a:pos x="48" y="178"/>
              </a:cxn>
            </a:cxnLst>
            <a:rect l="0" t="0" r="r" b="b"/>
            <a:pathLst>
              <a:path w="212" h="211">
                <a:moveTo>
                  <a:pt x="71" y="91"/>
                </a:moveTo>
                <a:cubicBezTo>
                  <a:pt x="10" y="31"/>
                  <a:pt x="10" y="31"/>
                  <a:pt x="10" y="31"/>
                </a:cubicBezTo>
                <a:cubicBezTo>
                  <a:pt x="8" y="29"/>
                  <a:pt x="8" y="26"/>
                  <a:pt x="10" y="23"/>
                </a:cubicBezTo>
                <a:cubicBezTo>
                  <a:pt x="12" y="21"/>
                  <a:pt x="16" y="21"/>
                  <a:pt x="18" y="23"/>
                </a:cubicBezTo>
                <a:cubicBezTo>
                  <a:pt x="78" y="84"/>
                  <a:pt x="78" y="84"/>
                  <a:pt x="78" y="84"/>
                </a:cubicBezTo>
                <a:cubicBezTo>
                  <a:pt x="83" y="79"/>
                  <a:pt x="83" y="79"/>
                  <a:pt x="83" y="79"/>
                </a:cubicBezTo>
                <a:cubicBezTo>
                  <a:pt x="23" y="19"/>
                  <a:pt x="23" y="19"/>
                  <a:pt x="23" y="19"/>
                </a:cubicBezTo>
                <a:cubicBezTo>
                  <a:pt x="21" y="17"/>
                  <a:pt x="21" y="13"/>
                  <a:pt x="23" y="11"/>
                </a:cubicBezTo>
                <a:cubicBezTo>
                  <a:pt x="25" y="9"/>
                  <a:pt x="28" y="9"/>
                  <a:pt x="30" y="11"/>
                </a:cubicBezTo>
                <a:cubicBezTo>
                  <a:pt x="91" y="72"/>
                  <a:pt x="91" y="72"/>
                  <a:pt x="91" y="72"/>
                </a:cubicBezTo>
                <a:cubicBezTo>
                  <a:pt x="98" y="65"/>
                  <a:pt x="98" y="65"/>
                  <a:pt x="98" y="65"/>
                </a:cubicBezTo>
                <a:cubicBezTo>
                  <a:pt x="40" y="7"/>
                  <a:pt x="40" y="7"/>
                  <a:pt x="40" y="7"/>
                </a:cubicBezTo>
                <a:cubicBezTo>
                  <a:pt x="32" y="0"/>
                  <a:pt x="19" y="1"/>
                  <a:pt x="10" y="10"/>
                </a:cubicBezTo>
                <a:cubicBezTo>
                  <a:pt x="2" y="19"/>
                  <a:pt x="0" y="32"/>
                  <a:pt x="8" y="39"/>
                </a:cubicBezTo>
                <a:cubicBezTo>
                  <a:pt x="66" y="97"/>
                  <a:pt x="66" y="97"/>
                  <a:pt x="66" y="97"/>
                </a:cubicBezTo>
                <a:lnTo>
                  <a:pt x="71" y="91"/>
                </a:lnTo>
                <a:close/>
                <a:moveTo>
                  <a:pt x="211" y="200"/>
                </a:moveTo>
                <a:cubicBezTo>
                  <a:pt x="194" y="175"/>
                  <a:pt x="194" y="175"/>
                  <a:pt x="194" y="175"/>
                </a:cubicBezTo>
                <a:cubicBezTo>
                  <a:pt x="193" y="174"/>
                  <a:pt x="192" y="175"/>
                  <a:pt x="189" y="177"/>
                </a:cubicBezTo>
                <a:cubicBezTo>
                  <a:pt x="189" y="177"/>
                  <a:pt x="189" y="177"/>
                  <a:pt x="189" y="176"/>
                </a:cubicBezTo>
                <a:cubicBezTo>
                  <a:pt x="138" y="125"/>
                  <a:pt x="138" y="125"/>
                  <a:pt x="138" y="125"/>
                </a:cubicBezTo>
                <a:cubicBezTo>
                  <a:pt x="126" y="137"/>
                  <a:pt x="126" y="137"/>
                  <a:pt x="126" y="137"/>
                </a:cubicBezTo>
                <a:cubicBezTo>
                  <a:pt x="177" y="188"/>
                  <a:pt x="177" y="188"/>
                  <a:pt x="177" y="188"/>
                </a:cubicBezTo>
                <a:cubicBezTo>
                  <a:pt x="177" y="189"/>
                  <a:pt x="177" y="189"/>
                  <a:pt x="178" y="189"/>
                </a:cubicBezTo>
                <a:cubicBezTo>
                  <a:pt x="176" y="191"/>
                  <a:pt x="175" y="193"/>
                  <a:pt x="176" y="193"/>
                </a:cubicBezTo>
                <a:cubicBezTo>
                  <a:pt x="201" y="210"/>
                  <a:pt x="201" y="210"/>
                  <a:pt x="201" y="210"/>
                </a:cubicBezTo>
                <a:cubicBezTo>
                  <a:pt x="202" y="211"/>
                  <a:pt x="205" y="209"/>
                  <a:pt x="207" y="206"/>
                </a:cubicBezTo>
                <a:cubicBezTo>
                  <a:pt x="210" y="204"/>
                  <a:pt x="212" y="201"/>
                  <a:pt x="211" y="200"/>
                </a:cubicBezTo>
                <a:close/>
                <a:moveTo>
                  <a:pt x="152" y="101"/>
                </a:moveTo>
                <a:cubicBezTo>
                  <a:pt x="165" y="103"/>
                  <a:pt x="180" y="98"/>
                  <a:pt x="190" y="88"/>
                </a:cubicBezTo>
                <a:cubicBezTo>
                  <a:pt x="206" y="73"/>
                  <a:pt x="208" y="49"/>
                  <a:pt x="198" y="32"/>
                </a:cubicBezTo>
                <a:cubicBezTo>
                  <a:pt x="164" y="65"/>
                  <a:pt x="164" y="65"/>
                  <a:pt x="164" y="65"/>
                </a:cubicBezTo>
                <a:cubicBezTo>
                  <a:pt x="148" y="49"/>
                  <a:pt x="148" y="49"/>
                  <a:pt x="148" y="49"/>
                </a:cubicBezTo>
                <a:cubicBezTo>
                  <a:pt x="181" y="16"/>
                  <a:pt x="181" y="16"/>
                  <a:pt x="181" y="16"/>
                </a:cubicBezTo>
                <a:cubicBezTo>
                  <a:pt x="164" y="5"/>
                  <a:pt x="141" y="7"/>
                  <a:pt x="125" y="23"/>
                </a:cubicBezTo>
                <a:cubicBezTo>
                  <a:pt x="115" y="33"/>
                  <a:pt x="111" y="48"/>
                  <a:pt x="112" y="61"/>
                </a:cubicBezTo>
                <a:cubicBezTo>
                  <a:pt x="110" y="63"/>
                  <a:pt x="108" y="64"/>
                  <a:pt x="107" y="66"/>
                </a:cubicBezTo>
                <a:cubicBezTo>
                  <a:pt x="18" y="154"/>
                  <a:pt x="18" y="154"/>
                  <a:pt x="18" y="154"/>
                </a:cubicBezTo>
                <a:cubicBezTo>
                  <a:pt x="7" y="165"/>
                  <a:pt x="7" y="184"/>
                  <a:pt x="18" y="195"/>
                </a:cubicBezTo>
                <a:cubicBezTo>
                  <a:pt x="29" y="206"/>
                  <a:pt x="48" y="206"/>
                  <a:pt x="59" y="195"/>
                </a:cubicBezTo>
                <a:cubicBezTo>
                  <a:pt x="147" y="106"/>
                  <a:pt x="147" y="106"/>
                  <a:pt x="147" y="106"/>
                </a:cubicBezTo>
                <a:cubicBezTo>
                  <a:pt x="149" y="105"/>
                  <a:pt x="151" y="103"/>
                  <a:pt x="152" y="101"/>
                </a:cubicBezTo>
                <a:close/>
                <a:moveTo>
                  <a:pt x="48" y="178"/>
                </a:moveTo>
                <a:cubicBezTo>
                  <a:pt x="45" y="182"/>
                  <a:pt x="39" y="182"/>
                  <a:pt x="35" y="178"/>
                </a:cubicBezTo>
                <a:cubicBezTo>
                  <a:pt x="31" y="175"/>
                  <a:pt x="31" y="169"/>
                  <a:pt x="35" y="165"/>
                </a:cubicBezTo>
                <a:cubicBezTo>
                  <a:pt x="39" y="161"/>
                  <a:pt x="45" y="161"/>
                  <a:pt x="48" y="165"/>
                </a:cubicBezTo>
                <a:cubicBezTo>
                  <a:pt x="52" y="169"/>
                  <a:pt x="52" y="175"/>
                  <a:pt x="48" y="178"/>
                </a:cubicBezTo>
                <a:close/>
              </a:path>
            </a:pathLst>
          </a:custGeom>
          <a:solidFill>
            <a:srgbClr val="1AC3EC"/>
          </a:solidFill>
          <a:ln>
            <a:noFill/>
          </a:ln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/>
          <a:p>
            <a:pPr defTabSz="342818"/>
            <a:endParaRPr lang="en-US" sz="1400" strike="sngStrike">
              <a:solidFill>
                <a:schemeClr val="accent1"/>
              </a:solidFill>
              <a:latin typeface="CiscoSansTT"/>
            </a:endParaRPr>
          </a:p>
        </p:txBody>
      </p:sp>
      <p:sp>
        <p:nvSpPr>
          <p:cNvPr id="194" name="Freeform 193"/>
          <p:cNvSpPr>
            <a:spLocks/>
          </p:cNvSpPr>
          <p:nvPr/>
        </p:nvSpPr>
        <p:spPr bwMode="auto">
          <a:xfrm>
            <a:off x="6447426" y="1348144"/>
            <a:ext cx="253960" cy="268022"/>
          </a:xfrm>
          <a:custGeom>
            <a:avLst/>
            <a:gdLst>
              <a:gd name="T0" fmla="*/ 95 w 98"/>
              <a:gd name="T1" fmla="*/ 0 h 93"/>
              <a:gd name="T2" fmla="*/ 98 w 98"/>
              <a:gd name="T3" fmla="*/ 4 h 93"/>
              <a:gd name="T4" fmla="*/ 64 w 98"/>
              <a:gd name="T5" fmla="*/ 39 h 93"/>
              <a:gd name="T6" fmla="*/ 36 w 98"/>
              <a:gd name="T7" fmla="*/ 83 h 93"/>
              <a:gd name="T8" fmla="*/ 31 w 98"/>
              <a:gd name="T9" fmla="*/ 86 h 93"/>
              <a:gd name="T10" fmla="*/ 22 w 98"/>
              <a:gd name="T11" fmla="*/ 93 h 93"/>
              <a:gd name="T12" fmla="*/ 18 w 98"/>
              <a:gd name="T13" fmla="*/ 82 h 93"/>
              <a:gd name="T14" fmla="*/ 16 w 98"/>
              <a:gd name="T15" fmla="*/ 77 h 93"/>
              <a:gd name="T16" fmla="*/ 8 w 98"/>
              <a:gd name="T17" fmla="*/ 63 h 93"/>
              <a:gd name="T18" fmla="*/ 0 w 98"/>
              <a:gd name="T19" fmla="*/ 57 h 93"/>
              <a:gd name="T20" fmla="*/ 14 w 98"/>
              <a:gd name="T21" fmla="*/ 49 h 93"/>
              <a:gd name="T22" fmla="*/ 26 w 98"/>
              <a:gd name="T23" fmla="*/ 63 h 93"/>
              <a:gd name="T24" fmla="*/ 28 w 98"/>
              <a:gd name="T25" fmla="*/ 68 h 93"/>
              <a:gd name="T26" fmla="*/ 59 w 98"/>
              <a:gd name="T27" fmla="*/ 29 h 93"/>
              <a:gd name="T28" fmla="*/ 95 w 98"/>
              <a:gd name="T29" fmla="*/ 0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8" h="93">
                <a:moveTo>
                  <a:pt x="95" y="0"/>
                </a:moveTo>
                <a:cubicBezTo>
                  <a:pt x="98" y="4"/>
                  <a:pt x="98" y="4"/>
                  <a:pt x="98" y="4"/>
                </a:cubicBezTo>
                <a:cubicBezTo>
                  <a:pt x="88" y="11"/>
                  <a:pt x="76" y="23"/>
                  <a:pt x="64" y="39"/>
                </a:cubicBezTo>
                <a:cubicBezTo>
                  <a:pt x="52" y="54"/>
                  <a:pt x="42" y="69"/>
                  <a:pt x="36" y="83"/>
                </a:cubicBezTo>
                <a:cubicBezTo>
                  <a:pt x="31" y="86"/>
                  <a:pt x="31" y="86"/>
                  <a:pt x="31" y="86"/>
                </a:cubicBezTo>
                <a:cubicBezTo>
                  <a:pt x="26" y="89"/>
                  <a:pt x="24" y="91"/>
                  <a:pt x="22" y="93"/>
                </a:cubicBezTo>
                <a:cubicBezTo>
                  <a:pt x="21" y="91"/>
                  <a:pt x="20" y="87"/>
                  <a:pt x="18" y="82"/>
                </a:cubicBezTo>
                <a:cubicBezTo>
                  <a:pt x="16" y="77"/>
                  <a:pt x="16" y="77"/>
                  <a:pt x="16" y="77"/>
                </a:cubicBezTo>
                <a:cubicBezTo>
                  <a:pt x="13" y="71"/>
                  <a:pt x="11" y="66"/>
                  <a:pt x="8" y="63"/>
                </a:cubicBezTo>
                <a:cubicBezTo>
                  <a:pt x="6" y="60"/>
                  <a:pt x="3" y="58"/>
                  <a:pt x="0" y="57"/>
                </a:cubicBezTo>
                <a:cubicBezTo>
                  <a:pt x="5" y="51"/>
                  <a:pt x="10" y="49"/>
                  <a:pt x="14" y="49"/>
                </a:cubicBezTo>
                <a:cubicBezTo>
                  <a:pt x="18" y="49"/>
                  <a:pt x="22" y="54"/>
                  <a:pt x="26" y="63"/>
                </a:cubicBezTo>
                <a:cubicBezTo>
                  <a:pt x="28" y="68"/>
                  <a:pt x="28" y="68"/>
                  <a:pt x="28" y="68"/>
                </a:cubicBezTo>
                <a:cubicBezTo>
                  <a:pt x="36" y="55"/>
                  <a:pt x="46" y="42"/>
                  <a:pt x="59" y="29"/>
                </a:cubicBezTo>
                <a:cubicBezTo>
                  <a:pt x="71" y="17"/>
                  <a:pt x="83" y="7"/>
                  <a:pt x="95" y="0"/>
                </a:cubicBezTo>
                <a:close/>
              </a:path>
            </a:pathLst>
          </a:custGeom>
          <a:solidFill>
            <a:srgbClr val="7DC55C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1448" tIns="45726" rIns="91448" bIns="45726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lnSpc>
                <a:spcPct val="90000"/>
              </a:lnSpc>
              <a:spcAft>
                <a:spcPts val="225"/>
              </a:spcAft>
              <a:defRPr/>
            </a:pPr>
            <a:endParaRPr lang="en-US" sz="1400">
              <a:solidFill>
                <a:schemeClr val="accent1"/>
              </a:solidFill>
              <a:latin typeface="Arial"/>
            </a:endParaRPr>
          </a:p>
        </p:txBody>
      </p:sp>
      <p:sp>
        <p:nvSpPr>
          <p:cNvPr id="35" name="Title 2"/>
          <p:cNvSpPr>
            <a:spLocks noGrp="1"/>
          </p:cNvSpPr>
          <p:nvPr>
            <p:ph type="title"/>
          </p:nvPr>
        </p:nvSpPr>
        <p:spPr>
          <a:xfrm>
            <a:off x="437766" y="341313"/>
            <a:ext cx="8345488" cy="731837"/>
          </a:xfrm>
        </p:spPr>
        <p:txBody>
          <a:bodyPr/>
          <a:lstStyle/>
          <a:p>
            <a:r>
              <a:rPr lang="en-US" dirty="0" smtClean="0">
                <a:solidFill>
                  <a:srgbClr val="005073"/>
                </a:solidFill>
              </a:rPr>
              <a:t>Initial </a:t>
            </a:r>
            <a:r>
              <a:rPr lang="en-US" dirty="0" smtClean="0">
                <a:solidFill>
                  <a:srgbClr val="005073"/>
                </a:solidFill>
              </a:rPr>
              <a:t>Approach</a:t>
            </a:r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445091" y="1141243"/>
            <a:ext cx="2493688" cy="3433945"/>
          </a:xfrm>
          <a:prstGeom prst="rect">
            <a:avLst/>
          </a:prstGeom>
          <a:solidFill>
            <a:schemeClr val="tx1">
              <a:lumMod val="85000"/>
              <a:alpha val="78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36" name="Rectangle 35"/>
          <p:cNvSpPr/>
          <p:nvPr/>
        </p:nvSpPr>
        <p:spPr>
          <a:xfrm>
            <a:off x="6199008" y="1120350"/>
            <a:ext cx="2493688" cy="3433945"/>
          </a:xfrm>
          <a:prstGeom prst="rect">
            <a:avLst/>
          </a:prstGeom>
          <a:solidFill>
            <a:schemeClr val="accent2">
              <a:lumMod val="60000"/>
              <a:lumOff val="40000"/>
              <a:alpha val="34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620931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4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5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500"/>
                            </p:stCondLst>
                            <p:childTnLst>
                              <p:par>
                                <p:cTn id="34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6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1" grpId="0"/>
      <p:bldP spid="116" grpId="0"/>
      <p:bldP spid="12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5300" y="3183260"/>
            <a:ext cx="1559064" cy="102495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19826" y="1524923"/>
            <a:ext cx="1735519" cy="128193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14187" y="3761067"/>
            <a:ext cx="1164921" cy="961861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185173" y="4596902"/>
            <a:ext cx="7006680" cy="48309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07" fontAlgn="auto">
              <a:spcBef>
                <a:spcPts val="0"/>
              </a:spcBef>
              <a:spcAft>
                <a:spcPts val="0"/>
              </a:spcAft>
            </a:pPr>
            <a:endParaRPr lang="en-US" sz="1350" dirty="0" smtClean="0">
              <a:solidFill>
                <a:srgbClr val="FFFFFF"/>
              </a:solidFill>
            </a:endParaRPr>
          </a:p>
        </p:txBody>
      </p:sp>
      <p:sp>
        <p:nvSpPr>
          <p:cNvPr id="2234" name="Oval 2233"/>
          <p:cNvSpPr/>
          <p:nvPr/>
        </p:nvSpPr>
        <p:spPr>
          <a:xfrm>
            <a:off x="1581941" y="1878982"/>
            <a:ext cx="932452" cy="932450"/>
          </a:xfrm>
          <a:prstGeom prst="ellipse">
            <a:avLst/>
          </a:prstGeom>
          <a:gradFill flip="none" rotWithShape="1">
            <a:gsLst>
              <a:gs pos="1000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</a:gsLst>
            <a:lin ang="5400000" scaled="0"/>
            <a:tileRect/>
          </a:gra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676767"/>
              </a:solidFill>
              <a:cs typeface="Arial"/>
            </a:endParaRPr>
          </a:p>
        </p:txBody>
      </p:sp>
      <p:sp>
        <p:nvSpPr>
          <p:cNvPr id="2235" name="Oval 2234"/>
          <p:cNvSpPr/>
          <p:nvPr/>
        </p:nvSpPr>
        <p:spPr>
          <a:xfrm>
            <a:off x="1631648" y="1927755"/>
            <a:ext cx="832687" cy="832687"/>
          </a:xfrm>
          <a:prstGeom prst="ellipse">
            <a:avLst/>
          </a:prstGeom>
          <a:gradFill>
            <a:gsLst>
              <a:gs pos="0">
                <a:srgbClr val="57B84D"/>
              </a:gs>
              <a:gs pos="100000">
                <a:srgbClr val="398B36"/>
              </a:gs>
            </a:gsLst>
            <a:lin ang="5400000" scaled="0"/>
          </a:gra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457143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479" name="Freeform 6"/>
          <p:cNvSpPr>
            <a:spLocks noEditPoints="1"/>
          </p:cNvSpPr>
          <p:nvPr/>
        </p:nvSpPr>
        <p:spPr bwMode="auto">
          <a:xfrm>
            <a:off x="1938239" y="2178780"/>
            <a:ext cx="225951" cy="364085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80" name="Oval 7"/>
          <p:cNvSpPr>
            <a:spLocks noChangeArrowheads="1"/>
          </p:cNvSpPr>
          <p:nvPr/>
        </p:nvSpPr>
        <p:spPr bwMode="auto">
          <a:xfrm>
            <a:off x="2123412" y="2413531"/>
            <a:ext cx="16965" cy="16965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81" name="Oval 8"/>
          <p:cNvSpPr>
            <a:spLocks noChangeArrowheads="1"/>
          </p:cNvSpPr>
          <p:nvPr/>
        </p:nvSpPr>
        <p:spPr bwMode="auto">
          <a:xfrm>
            <a:off x="2074691" y="2413531"/>
            <a:ext cx="16965" cy="16965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82" name="Oval 9"/>
          <p:cNvSpPr>
            <a:spLocks noChangeArrowheads="1"/>
          </p:cNvSpPr>
          <p:nvPr/>
        </p:nvSpPr>
        <p:spPr bwMode="auto">
          <a:xfrm>
            <a:off x="1965702" y="2413531"/>
            <a:ext cx="16965" cy="16965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83" name="Oval 10"/>
          <p:cNvSpPr>
            <a:spLocks noChangeArrowheads="1"/>
          </p:cNvSpPr>
          <p:nvPr/>
        </p:nvSpPr>
        <p:spPr bwMode="auto">
          <a:xfrm>
            <a:off x="2099501" y="2413531"/>
            <a:ext cx="16965" cy="16965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84" name="Oval 11"/>
          <p:cNvSpPr>
            <a:spLocks noChangeArrowheads="1"/>
          </p:cNvSpPr>
          <p:nvPr/>
        </p:nvSpPr>
        <p:spPr bwMode="auto">
          <a:xfrm>
            <a:off x="2074691" y="2210671"/>
            <a:ext cx="16965" cy="16965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85" name="Oval 12"/>
          <p:cNvSpPr>
            <a:spLocks noChangeArrowheads="1"/>
          </p:cNvSpPr>
          <p:nvPr/>
        </p:nvSpPr>
        <p:spPr bwMode="auto">
          <a:xfrm>
            <a:off x="2099501" y="2210671"/>
            <a:ext cx="16965" cy="16965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86" name="Oval 13"/>
          <p:cNvSpPr>
            <a:spLocks noChangeArrowheads="1"/>
          </p:cNvSpPr>
          <p:nvPr/>
        </p:nvSpPr>
        <p:spPr bwMode="auto">
          <a:xfrm>
            <a:off x="1965702" y="2262936"/>
            <a:ext cx="16965" cy="16965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87" name="Oval 14"/>
          <p:cNvSpPr>
            <a:spLocks noChangeArrowheads="1"/>
          </p:cNvSpPr>
          <p:nvPr/>
        </p:nvSpPr>
        <p:spPr bwMode="auto">
          <a:xfrm>
            <a:off x="2123412" y="2313429"/>
            <a:ext cx="16965" cy="16965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88" name="Oval 15"/>
          <p:cNvSpPr>
            <a:spLocks noChangeArrowheads="1"/>
          </p:cNvSpPr>
          <p:nvPr/>
        </p:nvSpPr>
        <p:spPr bwMode="auto">
          <a:xfrm>
            <a:off x="2099501" y="2262936"/>
            <a:ext cx="16965" cy="16965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89" name="Oval 16"/>
          <p:cNvSpPr>
            <a:spLocks noChangeArrowheads="1"/>
          </p:cNvSpPr>
          <p:nvPr/>
        </p:nvSpPr>
        <p:spPr bwMode="auto">
          <a:xfrm>
            <a:off x="1965702" y="2210671"/>
            <a:ext cx="16965" cy="16965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90" name="Oval 17"/>
          <p:cNvSpPr>
            <a:spLocks noChangeArrowheads="1"/>
          </p:cNvSpPr>
          <p:nvPr/>
        </p:nvSpPr>
        <p:spPr bwMode="auto">
          <a:xfrm>
            <a:off x="2074691" y="2262936"/>
            <a:ext cx="16965" cy="16965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91" name="Oval 18"/>
          <p:cNvSpPr>
            <a:spLocks noChangeArrowheads="1"/>
          </p:cNvSpPr>
          <p:nvPr/>
        </p:nvSpPr>
        <p:spPr bwMode="auto">
          <a:xfrm>
            <a:off x="2123412" y="2262936"/>
            <a:ext cx="16965" cy="16965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92" name="Oval 19"/>
          <p:cNvSpPr>
            <a:spLocks noChangeArrowheads="1"/>
          </p:cNvSpPr>
          <p:nvPr/>
        </p:nvSpPr>
        <p:spPr bwMode="auto">
          <a:xfrm>
            <a:off x="2099501" y="2313429"/>
            <a:ext cx="16965" cy="16965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93" name="Oval 20"/>
          <p:cNvSpPr>
            <a:spLocks noChangeArrowheads="1"/>
          </p:cNvSpPr>
          <p:nvPr/>
        </p:nvSpPr>
        <p:spPr bwMode="auto">
          <a:xfrm>
            <a:off x="2123412" y="2210671"/>
            <a:ext cx="16965" cy="16965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94" name="Oval 21"/>
          <p:cNvSpPr>
            <a:spLocks noChangeArrowheads="1"/>
          </p:cNvSpPr>
          <p:nvPr/>
        </p:nvSpPr>
        <p:spPr bwMode="auto">
          <a:xfrm>
            <a:off x="2074691" y="2363037"/>
            <a:ext cx="16965" cy="16965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95" name="Oval 22"/>
          <p:cNvSpPr>
            <a:spLocks noChangeArrowheads="1"/>
          </p:cNvSpPr>
          <p:nvPr/>
        </p:nvSpPr>
        <p:spPr bwMode="auto">
          <a:xfrm>
            <a:off x="1965702" y="2363037"/>
            <a:ext cx="16965" cy="16965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96" name="Oval 23"/>
          <p:cNvSpPr>
            <a:spLocks noChangeArrowheads="1"/>
          </p:cNvSpPr>
          <p:nvPr/>
        </p:nvSpPr>
        <p:spPr bwMode="auto">
          <a:xfrm>
            <a:off x="2123412" y="2363037"/>
            <a:ext cx="16965" cy="16965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97" name="Oval 24"/>
          <p:cNvSpPr>
            <a:spLocks noChangeArrowheads="1"/>
          </p:cNvSpPr>
          <p:nvPr/>
        </p:nvSpPr>
        <p:spPr bwMode="auto">
          <a:xfrm>
            <a:off x="2099501" y="2363037"/>
            <a:ext cx="16965" cy="16965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98" name="Oval 25"/>
          <p:cNvSpPr>
            <a:spLocks noChangeArrowheads="1"/>
          </p:cNvSpPr>
          <p:nvPr/>
        </p:nvSpPr>
        <p:spPr bwMode="auto">
          <a:xfrm>
            <a:off x="2074691" y="2313429"/>
            <a:ext cx="16965" cy="16965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99" name="Oval 26"/>
          <p:cNvSpPr>
            <a:spLocks noChangeArrowheads="1"/>
          </p:cNvSpPr>
          <p:nvPr/>
        </p:nvSpPr>
        <p:spPr bwMode="auto">
          <a:xfrm>
            <a:off x="1965702" y="2313429"/>
            <a:ext cx="16965" cy="16965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58" name="Freeform 6"/>
          <p:cNvSpPr>
            <a:spLocks noEditPoints="1"/>
          </p:cNvSpPr>
          <p:nvPr/>
        </p:nvSpPr>
        <p:spPr bwMode="auto">
          <a:xfrm>
            <a:off x="2162754" y="2212954"/>
            <a:ext cx="187813" cy="302631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59" name="Oval 7"/>
          <p:cNvSpPr>
            <a:spLocks noChangeArrowheads="1"/>
          </p:cNvSpPr>
          <p:nvPr/>
        </p:nvSpPr>
        <p:spPr bwMode="auto">
          <a:xfrm>
            <a:off x="2302716" y="2408081"/>
            <a:ext cx="14102" cy="1410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60" name="Oval 8"/>
          <p:cNvSpPr>
            <a:spLocks noChangeArrowheads="1"/>
          </p:cNvSpPr>
          <p:nvPr/>
        </p:nvSpPr>
        <p:spPr bwMode="auto">
          <a:xfrm>
            <a:off x="2262219" y="2408081"/>
            <a:ext cx="14102" cy="1410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61" name="Oval 9"/>
          <p:cNvSpPr>
            <a:spLocks noChangeArrowheads="1"/>
          </p:cNvSpPr>
          <p:nvPr/>
        </p:nvSpPr>
        <p:spPr bwMode="auto">
          <a:xfrm>
            <a:off x="2171626" y="2408081"/>
            <a:ext cx="14102" cy="1410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62" name="Oval 10"/>
          <p:cNvSpPr>
            <a:spLocks noChangeArrowheads="1"/>
          </p:cNvSpPr>
          <p:nvPr/>
        </p:nvSpPr>
        <p:spPr bwMode="auto">
          <a:xfrm>
            <a:off x="2282841" y="2408081"/>
            <a:ext cx="14102" cy="1410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63" name="Oval 11"/>
          <p:cNvSpPr>
            <a:spLocks noChangeArrowheads="1"/>
          </p:cNvSpPr>
          <p:nvPr/>
        </p:nvSpPr>
        <p:spPr bwMode="auto">
          <a:xfrm>
            <a:off x="2262219" y="2239462"/>
            <a:ext cx="14102" cy="1410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64" name="Oval 12"/>
          <p:cNvSpPr>
            <a:spLocks noChangeArrowheads="1"/>
          </p:cNvSpPr>
          <p:nvPr/>
        </p:nvSpPr>
        <p:spPr bwMode="auto">
          <a:xfrm>
            <a:off x="2282841" y="2239462"/>
            <a:ext cx="14102" cy="1410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65" name="Oval 13"/>
          <p:cNvSpPr>
            <a:spLocks noChangeArrowheads="1"/>
          </p:cNvSpPr>
          <p:nvPr/>
        </p:nvSpPr>
        <p:spPr bwMode="auto">
          <a:xfrm>
            <a:off x="2171626" y="2282905"/>
            <a:ext cx="14102" cy="1410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66" name="Oval 14"/>
          <p:cNvSpPr>
            <a:spLocks noChangeArrowheads="1"/>
          </p:cNvSpPr>
          <p:nvPr/>
        </p:nvSpPr>
        <p:spPr bwMode="auto">
          <a:xfrm>
            <a:off x="2302716" y="2324876"/>
            <a:ext cx="14102" cy="1410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67" name="Oval 15"/>
          <p:cNvSpPr>
            <a:spLocks noChangeArrowheads="1"/>
          </p:cNvSpPr>
          <p:nvPr/>
        </p:nvSpPr>
        <p:spPr bwMode="auto">
          <a:xfrm>
            <a:off x="2282841" y="2282905"/>
            <a:ext cx="14102" cy="1410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68" name="Oval 16"/>
          <p:cNvSpPr>
            <a:spLocks noChangeArrowheads="1"/>
          </p:cNvSpPr>
          <p:nvPr/>
        </p:nvSpPr>
        <p:spPr bwMode="auto">
          <a:xfrm>
            <a:off x="2171626" y="2239462"/>
            <a:ext cx="14102" cy="1410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69" name="Oval 17"/>
          <p:cNvSpPr>
            <a:spLocks noChangeArrowheads="1"/>
          </p:cNvSpPr>
          <p:nvPr/>
        </p:nvSpPr>
        <p:spPr bwMode="auto">
          <a:xfrm>
            <a:off x="2262219" y="2282905"/>
            <a:ext cx="14102" cy="1410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70" name="Oval 18"/>
          <p:cNvSpPr>
            <a:spLocks noChangeArrowheads="1"/>
          </p:cNvSpPr>
          <p:nvPr/>
        </p:nvSpPr>
        <p:spPr bwMode="auto">
          <a:xfrm>
            <a:off x="2302716" y="2282905"/>
            <a:ext cx="14102" cy="1410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71" name="Oval 19"/>
          <p:cNvSpPr>
            <a:spLocks noChangeArrowheads="1"/>
          </p:cNvSpPr>
          <p:nvPr/>
        </p:nvSpPr>
        <p:spPr bwMode="auto">
          <a:xfrm>
            <a:off x="2282841" y="2324876"/>
            <a:ext cx="14102" cy="1410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72" name="Oval 20"/>
          <p:cNvSpPr>
            <a:spLocks noChangeArrowheads="1"/>
          </p:cNvSpPr>
          <p:nvPr/>
        </p:nvSpPr>
        <p:spPr bwMode="auto">
          <a:xfrm>
            <a:off x="2302716" y="2239462"/>
            <a:ext cx="14102" cy="1410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73" name="Oval 21"/>
          <p:cNvSpPr>
            <a:spLocks noChangeArrowheads="1"/>
          </p:cNvSpPr>
          <p:nvPr/>
        </p:nvSpPr>
        <p:spPr bwMode="auto">
          <a:xfrm>
            <a:off x="2262219" y="2366110"/>
            <a:ext cx="14102" cy="1410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74" name="Oval 22"/>
          <p:cNvSpPr>
            <a:spLocks noChangeArrowheads="1"/>
          </p:cNvSpPr>
          <p:nvPr/>
        </p:nvSpPr>
        <p:spPr bwMode="auto">
          <a:xfrm>
            <a:off x="2171626" y="2366110"/>
            <a:ext cx="14102" cy="1410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75" name="Oval 23"/>
          <p:cNvSpPr>
            <a:spLocks noChangeArrowheads="1"/>
          </p:cNvSpPr>
          <p:nvPr/>
        </p:nvSpPr>
        <p:spPr bwMode="auto">
          <a:xfrm>
            <a:off x="2302716" y="2366110"/>
            <a:ext cx="14102" cy="1410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76" name="Oval 24"/>
          <p:cNvSpPr>
            <a:spLocks noChangeArrowheads="1"/>
          </p:cNvSpPr>
          <p:nvPr/>
        </p:nvSpPr>
        <p:spPr bwMode="auto">
          <a:xfrm>
            <a:off x="2282841" y="2366110"/>
            <a:ext cx="14102" cy="1410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77" name="Oval 25"/>
          <p:cNvSpPr>
            <a:spLocks noChangeArrowheads="1"/>
          </p:cNvSpPr>
          <p:nvPr/>
        </p:nvSpPr>
        <p:spPr bwMode="auto">
          <a:xfrm>
            <a:off x="2262219" y="2324876"/>
            <a:ext cx="14102" cy="1410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78" name="Oval 26"/>
          <p:cNvSpPr>
            <a:spLocks noChangeArrowheads="1"/>
          </p:cNvSpPr>
          <p:nvPr/>
        </p:nvSpPr>
        <p:spPr bwMode="auto">
          <a:xfrm>
            <a:off x="2171626" y="2324876"/>
            <a:ext cx="14102" cy="1410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04" name="Freeform 6"/>
          <p:cNvSpPr>
            <a:spLocks noEditPoints="1"/>
          </p:cNvSpPr>
          <p:nvPr/>
        </p:nvSpPr>
        <p:spPr bwMode="auto">
          <a:xfrm>
            <a:off x="1754172" y="2212954"/>
            <a:ext cx="187812" cy="302631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05" name="Oval 7"/>
          <p:cNvSpPr>
            <a:spLocks noChangeArrowheads="1"/>
          </p:cNvSpPr>
          <p:nvPr/>
        </p:nvSpPr>
        <p:spPr bwMode="auto">
          <a:xfrm>
            <a:off x="1908089" y="2408081"/>
            <a:ext cx="14101" cy="1410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06" name="Oval 8"/>
          <p:cNvSpPr>
            <a:spLocks noChangeArrowheads="1"/>
          </p:cNvSpPr>
          <p:nvPr/>
        </p:nvSpPr>
        <p:spPr bwMode="auto">
          <a:xfrm>
            <a:off x="1867592" y="2408081"/>
            <a:ext cx="14101" cy="1410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07" name="Oval 9"/>
          <p:cNvSpPr>
            <a:spLocks noChangeArrowheads="1"/>
          </p:cNvSpPr>
          <p:nvPr/>
        </p:nvSpPr>
        <p:spPr bwMode="auto">
          <a:xfrm>
            <a:off x="1777000" y="2408081"/>
            <a:ext cx="14101" cy="1410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73" name="Oval 10"/>
          <p:cNvSpPr>
            <a:spLocks noChangeArrowheads="1"/>
          </p:cNvSpPr>
          <p:nvPr/>
        </p:nvSpPr>
        <p:spPr bwMode="auto">
          <a:xfrm>
            <a:off x="1888214" y="2408081"/>
            <a:ext cx="14101" cy="1410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74" name="Oval 11"/>
          <p:cNvSpPr>
            <a:spLocks noChangeArrowheads="1"/>
          </p:cNvSpPr>
          <p:nvPr/>
        </p:nvSpPr>
        <p:spPr bwMode="auto">
          <a:xfrm>
            <a:off x="1867592" y="2239462"/>
            <a:ext cx="14101" cy="1410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75" name="Oval 12"/>
          <p:cNvSpPr>
            <a:spLocks noChangeArrowheads="1"/>
          </p:cNvSpPr>
          <p:nvPr/>
        </p:nvSpPr>
        <p:spPr bwMode="auto">
          <a:xfrm>
            <a:off x="1888214" y="2239462"/>
            <a:ext cx="14101" cy="1410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76" name="Oval 13"/>
          <p:cNvSpPr>
            <a:spLocks noChangeArrowheads="1"/>
          </p:cNvSpPr>
          <p:nvPr/>
        </p:nvSpPr>
        <p:spPr bwMode="auto">
          <a:xfrm>
            <a:off x="1777000" y="2282905"/>
            <a:ext cx="14101" cy="1410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77" name="Oval 14"/>
          <p:cNvSpPr>
            <a:spLocks noChangeArrowheads="1"/>
          </p:cNvSpPr>
          <p:nvPr/>
        </p:nvSpPr>
        <p:spPr bwMode="auto">
          <a:xfrm>
            <a:off x="1908089" y="2324876"/>
            <a:ext cx="14101" cy="1410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43" name="Oval 15"/>
          <p:cNvSpPr>
            <a:spLocks noChangeArrowheads="1"/>
          </p:cNvSpPr>
          <p:nvPr/>
        </p:nvSpPr>
        <p:spPr bwMode="auto">
          <a:xfrm>
            <a:off x="1888214" y="2282905"/>
            <a:ext cx="14101" cy="1410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44" name="Oval 16"/>
          <p:cNvSpPr>
            <a:spLocks noChangeArrowheads="1"/>
          </p:cNvSpPr>
          <p:nvPr/>
        </p:nvSpPr>
        <p:spPr bwMode="auto">
          <a:xfrm>
            <a:off x="1777000" y="2239462"/>
            <a:ext cx="14101" cy="1410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45" name="Oval 17"/>
          <p:cNvSpPr>
            <a:spLocks noChangeArrowheads="1"/>
          </p:cNvSpPr>
          <p:nvPr/>
        </p:nvSpPr>
        <p:spPr bwMode="auto">
          <a:xfrm>
            <a:off x="1867592" y="2282905"/>
            <a:ext cx="14101" cy="1410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46" name="Oval 18"/>
          <p:cNvSpPr>
            <a:spLocks noChangeArrowheads="1"/>
          </p:cNvSpPr>
          <p:nvPr/>
        </p:nvSpPr>
        <p:spPr bwMode="auto">
          <a:xfrm>
            <a:off x="1908089" y="2282905"/>
            <a:ext cx="14101" cy="1410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47" name="Oval 19"/>
          <p:cNvSpPr>
            <a:spLocks noChangeArrowheads="1"/>
          </p:cNvSpPr>
          <p:nvPr/>
        </p:nvSpPr>
        <p:spPr bwMode="auto">
          <a:xfrm>
            <a:off x="1888214" y="2324876"/>
            <a:ext cx="14101" cy="1410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48" name="Oval 20"/>
          <p:cNvSpPr>
            <a:spLocks noChangeArrowheads="1"/>
          </p:cNvSpPr>
          <p:nvPr/>
        </p:nvSpPr>
        <p:spPr bwMode="auto">
          <a:xfrm>
            <a:off x="1908089" y="2239462"/>
            <a:ext cx="14101" cy="1410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49" name="Oval 21"/>
          <p:cNvSpPr>
            <a:spLocks noChangeArrowheads="1"/>
          </p:cNvSpPr>
          <p:nvPr/>
        </p:nvSpPr>
        <p:spPr bwMode="auto">
          <a:xfrm>
            <a:off x="1867592" y="2366110"/>
            <a:ext cx="14101" cy="1410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50" name="Oval 22"/>
          <p:cNvSpPr>
            <a:spLocks noChangeArrowheads="1"/>
          </p:cNvSpPr>
          <p:nvPr/>
        </p:nvSpPr>
        <p:spPr bwMode="auto">
          <a:xfrm>
            <a:off x="1777000" y="2366110"/>
            <a:ext cx="14101" cy="1410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54" name="Oval 23"/>
          <p:cNvSpPr>
            <a:spLocks noChangeArrowheads="1"/>
          </p:cNvSpPr>
          <p:nvPr/>
        </p:nvSpPr>
        <p:spPr bwMode="auto">
          <a:xfrm>
            <a:off x="1908089" y="2366110"/>
            <a:ext cx="14101" cy="1410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55" name="Oval 24"/>
          <p:cNvSpPr>
            <a:spLocks noChangeArrowheads="1"/>
          </p:cNvSpPr>
          <p:nvPr/>
        </p:nvSpPr>
        <p:spPr bwMode="auto">
          <a:xfrm>
            <a:off x="1888214" y="2366110"/>
            <a:ext cx="14101" cy="1410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56" name="Oval 25"/>
          <p:cNvSpPr>
            <a:spLocks noChangeArrowheads="1"/>
          </p:cNvSpPr>
          <p:nvPr/>
        </p:nvSpPr>
        <p:spPr bwMode="auto">
          <a:xfrm>
            <a:off x="1867592" y="2324876"/>
            <a:ext cx="14101" cy="1410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57" name="Oval 26"/>
          <p:cNvSpPr>
            <a:spLocks noChangeArrowheads="1"/>
          </p:cNvSpPr>
          <p:nvPr/>
        </p:nvSpPr>
        <p:spPr bwMode="auto">
          <a:xfrm>
            <a:off x="1777000" y="2324876"/>
            <a:ext cx="14101" cy="1410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906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506" name="Oval 2505"/>
          <p:cNvSpPr/>
          <p:nvPr/>
        </p:nvSpPr>
        <p:spPr>
          <a:xfrm>
            <a:off x="1581941" y="823023"/>
            <a:ext cx="932452" cy="932450"/>
          </a:xfrm>
          <a:prstGeom prst="ellipse">
            <a:avLst/>
          </a:prstGeom>
          <a:gradFill flip="none" rotWithShape="1">
            <a:gsLst>
              <a:gs pos="1000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</a:gsLst>
            <a:lin ang="5400000" scaled="0"/>
            <a:tileRect/>
          </a:gra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676767"/>
              </a:solidFill>
              <a:cs typeface="Arial"/>
            </a:endParaRPr>
          </a:p>
        </p:txBody>
      </p:sp>
      <p:sp>
        <p:nvSpPr>
          <p:cNvPr id="2507" name="Oval 2506"/>
          <p:cNvSpPr/>
          <p:nvPr/>
        </p:nvSpPr>
        <p:spPr>
          <a:xfrm>
            <a:off x="1631648" y="871796"/>
            <a:ext cx="832687" cy="832687"/>
          </a:xfrm>
          <a:prstGeom prst="ellipse">
            <a:avLst/>
          </a:prstGeom>
          <a:gradFill>
            <a:gsLst>
              <a:gs pos="100000">
                <a:srgbClr val="AF8A2A"/>
              </a:gs>
              <a:gs pos="15000">
                <a:srgbClr val="E9B838"/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t" anchorCtr="0" compatLnSpc="1">
            <a:prstTxWarp prst="textNoShape">
              <a:avLst/>
            </a:prstTxWarp>
          </a:bodyPr>
          <a:lstStyle/>
          <a:p>
            <a:pPr defTabSz="514350"/>
            <a:endParaRPr lang="en-US" sz="1400" dirty="0">
              <a:solidFill>
                <a:srgbClr val="FFFFFF"/>
              </a:solidFill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2510" name="Oval 2509"/>
          <p:cNvSpPr/>
          <p:nvPr/>
        </p:nvSpPr>
        <p:spPr>
          <a:xfrm>
            <a:off x="1581563" y="2934824"/>
            <a:ext cx="933208" cy="938546"/>
          </a:xfrm>
          <a:prstGeom prst="ellipse">
            <a:avLst/>
          </a:prstGeom>
          <a:gradFill flip="none" rotWithShape="1">
            <a:gsLst>
              <a:gs pos="1000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</a:gsLst>
            <a:lin ang="5400000" scaled="0"/>
            <a:tileRect/>
          </a:gra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676767"/>
              </a:solidFill>
              <a:cs typeface="Arial"/>
            </a:endParaRPr>
          </a:p>
        </p:txBody>
      </p:sp>
      <p:sp>
        <p:nvSpPr>
          <p:cNvPr id="2511" name="Oval 2510"/>
          <p:cNvSpPr/>
          <p:nvPr/>
        </p:nvSpPr>
        <p:spPr>
          <a:xfrm>
            <a:off x="1631316" y="2983945"/>
            <a:ext cx="833362" cy="838129"/>
          </a:xfrm>
          <a:prstGeom prst="ellipse">
            <a:avLst/>
          </a:prstGeom>
          <a:gradFill>
            <a:gsLst>
              <a:gs pos="0">
                <a:srgbClr val="00BCFF"/>
              </a:gs>
              <a:gs pos="100000">
                <a:schemeClr val="accent1"/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t" anchorCtr="0" compatLnSpc="1">
            <a:prstTxWarp prst="textNoShape">
              <a:avLst/>
            </a:prstTxWarp>
          </a:bodyPr>
          <a:lstStyle/>
          <a:p>
            <a:pPr defTabSz="514350"/>
            <a:endParaRPr lang="en-US" sz="1400" dirty="0">
              <a:solidFill>
                <a:srgbClr val="FFFFFF"/>
              </a:solidFill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2512" name="Freeform 2511"/>
          <p:cNvSpPr>
            <a:spLocks noChangeArrowheads="1"/>
          </p:cNvSpPr>
          <p:nvPr/>
        </p:nvSpPr>
        <p:spPr bwMode="auto">
          <a:xfrm>
            <a:off x="1787727" y="3220621"/>
            <a:ext cx="513238" cy="399185"/>
          </a:xfrm>
          <a:custGeom>
            <a:avLst/>
            <a:gdLst/>
            <a:ahLst/>
            <a:cxnLst>
              <a:cxn ang="0">
                <a:pos x="1068" y="447"/>
              </a:cxn>
              <a:cxn ang="0">
                <a:pos x="1070" y="447"/>
              </a:cxn>
              <a:cxn ang="0">
                <a:pos x="1070" y="285"/>
              </a:cxn>
              <a:cxn ang="0">
                <a:pos x="813" y="325"/>
              </a:cxn>
              <a:cxn ang="0">
                <a:pos x="813" y="298"/>
              </a:cxn>
              <a:cxn ang="0">
                <a:pos x="1066" y="256"/>
              </a:cxn>
              <a:cxn ang="0">
                <a:pos x="1069" y="255"/>
              </a:cxn>
              <a:cxn ang="0">
                <a:pos x="1069" y="76"/>
              </a:cxn>
              <a:cxn ang="0">
                <a:pos x="800" y="0"/>
              </a:cxn>
              <a:cxn ang="0">
                <a:pos x="535" y="62"/>
              </a:cxn>
              <a:cxn ang="0">
                <a:pos x="269" y="0"/>
              </a:cxn>
              <a:cxn ang="0">
                <a:pos x="0" y="76"/>
              </a:cxn>
              <a:cxn ang="0">
                <a:pos x="0" y="255"/>
              </a:cxn>
              <a:cxn ang="0">
                <a:pos x="3" y="256"/>
              </a:cxn>
              <a:cxn ang="0">
                <a:pos x="250" y="297"/>
              </a:cxn>
              <a:cxn ang="0">
                <a:pos x="250" y="325"/>
              </a:cxn>
              <a:cxn ang="0">
                <a:pos x="1" y="285"/>
              </a:cxn>
              <a:cxn ang="0">
                <a:pos x="1" y="449"/>
              </a:cxn>
              <a:cxn ang="0">
                <a:pos x="250" y="492"/>
              </a:cxn>
              <a:cxn ang="0">
                <a:pos x="250" y="520"/>
              </a:cxn>
              <a:cxn ang="0">
                <a:pos x="0" y="477"/>
              </a:cxn>
              <a:cxn ang="0">
                <a:pos x="0" y="617"/>
              </a:cxn>
              <a:cxn ang="0">
                <a:pos x="250" y="692"/>
              </a:cxn>
              <a:cxn ang="0">
                <a:pos x="250" y="751"/>
              </a:cxn>
              <a:cxn ang="0">
                <a:pos x="532" y="831"/>
              </a:cxn>
              <a:cxn ang="0">
                <a:pos x="813" y="751"/>
              </a:cxn>
              <a:cxn ang="0">
                <a:pos x="813" y="693"/>
              </a:cxn>
              <a:cxn ang="0">
                <a:pos x="1069" y="617"/>
              </a:cxn>
              <a:cxn ang="0">
                <a:pos x="1069" y="477"/>
              </a:cxn>
              <a:cxn ang="0">
                <a:pos x="813" y="521"/>
              </a:cxn>
              <a:cxn ang="0">
                <a:pos x="813" y="493"/>
              </a:cxn>
              <a:cxn ang="0">
                <a:pos x="1068" y="447"/>
              </a:cxn>
              <a:cxn ang="0">
                <a:pos x="282" y="184"/>
              </a:cxn>
              <a:cxn ang="0">
                <a:pos x="531" y="139"/>
              </a:cxn>
              <a:cxn ang="0">
                <a:pos x="780" y="184"/>
              </a:cxn>
              <a:cxn ang="0">
                <a:pos x="531" y="230"/>
              </a:cxn>
              <a:cxn ang="0">
                <a:pos x="282" y="184"/>
              </a:cxn>
              <a:cxn ang="0">
                <a:pos x="799" y="32"/>
              </a:cxn>
              <a:cxn ang="0">
                <a:pos x="1037" y="76"/>
              </a:cxn>
              <a:cxn ang="0">
                <a:pos x="799" y="119"/>
              </a:cxn>
              <a:cxn ang="0">
                <a:pos x="563" y="76"/>
              </a:cxn>
              <a:cxn ang="0">
                <a:pos x="799" y="32"/>
              </a:cxn>
              <a:cxn ang="0">
                <a:pos x="31" y="76"/>
              </a:cxn>
              <a:cxn ang="0">
                <a:pos x="269" y="32"/>
              </a:cxn>
              <a:cxn ang="0">
                <a:pos x="507" y="76"/>
              </a:cxn>
              <a:cxn ang="0">
                <a:pos x="269" y="119"/>
              </a:cxn>
              <a:cxn ang="0">
                <a:pos x="31" y="76"/>
              </a:cxn>
              <a:cxn ang="0">
                <a:pos x="813" y="604"/>
              </a:cxn>
              <a:cxn ang="0">
                <a:pos x="542" y="651"/>
              </a:cxn>
              <a:cxn ang="0">
                <a:pos x="250" y="605"/>
              </a:cxn>
              <a:cxn ang="0">
                <a:pos x="250" y="575"/>
              </a:cxn>
              <a:cxn ang="0">
                <a:pos x="810" y="574"/>
              </a:cxn>
              <a:cxn ang="0">
                <a:pos x="813" y="573"/>
              </a:cxn>
              <a:cxn ang="0">
                <a:pos x="813" y="604"/>
              </a:cxn>
              <a:cxn ang="0">
                <a:pos x="542" y="446"/>
              </a:cxn>
              <a:cxn ang="0">
                <a:pos x="250" y="403"/>
              </a:cxn>
              <a:cxn ang="0">
                <a:pos x="250" y="372"/>
              </a:cxn>
              <a:cxn ang="0">
                <a:pos x="253" y="373"/>
              </a:cxn>
              <a:cxn ang="0">
                <a:pos x="810" y="373"/>
              </a:cxn>
              <a:cxn ang="0">
                <a:pos x="813" y="373"/>
              </a:cxn>
              <a:cxn ang="0">
                <a:pos x="813" y="403"/>
              </a:cxn>
              <a:cxn ang="0">
                <a:pos x="542" y="446"/>
              </a:cxn>
            </a:cxnLst>
            <a:rect l="0" t="0" r="r" b="b"/>
            <a:pathLst>
              <a:path w="1071" h="832">
                <a:moveTo>
                  <a:pt x="1068" y="447"/>
                </a:moveTo>
                <a:cubicBezTo>
                  <a:pt x="1068" y="447"/>
                  <a:pt x="1069" y="447"/>
                  <a:pt x="1070" y="447"/>
                </a:cubicBezTo>
                <a:lnTo>
                  <a:pt x="1070" y="285"/>
                </a:lnTo>
                <a:cubicBezTo>
                  <a:pt x="982" y="314"/>
                  <a:pt x="893" y="325"/>
                  <a:pt x="813" y="325"/>
                </a:cubicBezTo>
                <a:lnTo>
                  <a:pt x="813" y="298"/>
                </a:lnTo>
                <a:cubicBezTo>
                  <a:pt x="891" y="298"/>
                  <a:pt x="979" y="287"/>
                  <a:pt x="1066" y="256"/>
                </a:cubicBezTo>
                <a:cubicBezTo>
                  <a:pt x="1067" y="256"/>
                  <a:pt x="1068" y="255"/>
                  <a:pt x="1069" y="255"/>
                </a:cubicBezTo>
                <a:lnTo>
                  <a:pt x="1069" y="76"/>
                </a:lnTo>
                <a:cubicBezTo>
                  <a:pt x="1069" y="1"/>
                  <a:pt x="811" y="0"/>
                  <a:pt x="800" y="0"/>
                </a:cubicBezTo>
                <a:cubicBezTo>
                  <a:pt x="790" y="0"/>
                  <a:pt x="566" y="1"/>
                  <a:pt x="535" y="62"/>
                </a:cubicBezTo>
                <a:cubicBezTo>
                  <a:pt x="504" y="1"/>
                  <a:pt x="280" y="0"/>
                  <a:pt x="269" y="0"/>
                </a:cubicBezTo>
                <a:cubicBezTo>
                  <a:pt x="258" y="0"/>
                  <a:pt x="0" y="1"/>
                  <a:pt x="0" y="76"/>
                </a:cubicBezTo>
                <a:lnTo>
                  <a:pt x="0" y="255"/>
                </a:lnTo>
                <a:cubicBezTo>
                  <a:pt x="2" y="255"/>
                  <a:pt x="2" y="255"/>
                  <a:pt x="3" y="256"/>
                </a:cubicBezTo>
                <a:cubicBezTo>
                  <a:pt x="10" y="259"/>
                  <a:pt x="112" y="292"/>
                  <a:pt x="250" y="297"/>
                </a:cubicBezTo>
                <a:lnTo>
                  <a:pt x="250" y="325"/>
                </a:lnTo>
                <a:cubicBezTo>
                  <a:pt x="130" y="321"/>
                  <a:pt x="35" y="296"/>
                  <a:pt x="1" y="285"/>
                </a:cubicBezTo>
                <a:lnTo>
                  <a:pt x="1" y="449"/>
                </a:lnTo>
                <a:cubicBezTo>
                  <a:pt x="29" y="459"/>
                  <a:pt x="126" y="488"/>
                  <a:pt x="250" y="492"/>
                </a:cubicBezTo>
                <a:lnTo>
                  <a:pt x="250" y="520"/>
                </a:lnTo>
                <a:cubicBezTo>
                  <a:pt x="135" y="517"/>
                  <a:pt x="43" y="492"/>
                  <a:pt x="0" y="477"/>
                </a:cubicBezTo>
                <a:lnTo>
                  <a:pt x="0" y="617"/>
                </a:lnTo>
                <a:cubicBezTo>
                  <a:pt x="0" y="681"/>
                  <a:pt x="187" y="691"/>
                  <a:pt x="250" y="692"/>
                </a:cubicBezTo>
                <a:lnTo>
                  <a:pt x="250" y="751"/>
                </a:lnTo>
                <a:cubicBezTo>
                  <a:pt x="250" y="830"/>
                  <a:pt x="520" y="831"/>
                  <a:pt x="532" y="831"/>
                </a:cubicBezTo>
                <a:cubicBezTo>
                  <a:pt x="543" y="831"/>
                  <a:pt x="813" y="830"/>
                  <a:pt x="813" y="751"/>
                </a:cubicBezTo>
                <a:lnTo>
                  <a:pt x="813" y="693"/>
                </a:lnTo>
                <a:cubicBezTo>
                  <a:pt x="867" y="692"/>
                  <a:pt x="1069" y="683"/>
                  <a:pt x="1069" y="617"/>
                </a:cubicBezTo>
                <a:lnTo>
                  <a:pt x="1069" y="477"/>
                </a:lnTo>
                <a:cubicBezTo>
                  <a:pt x="980" y="509"/>
                  <a:pt x="893" y="521"/>
                  <a:pt x="813" y="521"/>
                </a:cubicBezTo>
                <a:lnTo>
                  <a:pt x="813" y="493"/>
                </a:lnTo>
                <a:cubicBezTo>
                  <a:pt x="892" y="492"/>
                  <a:pt x="981" y="481"/>
                  <a:pt x="1068" y="447"/>
                </a:cubicBezTo>
                <a:close/>
                <a:moveTo>
                  <a:pt x="282" y="184"/>
                </a:moveTo>
                <a:cubicBezTo>
                  <a:pt x="282" y="159"/>
                  <a:pt x="393" y="139"/>
                  <a:pt x="531" y="139"/>
                </a:cubicBezTo>
                <a:cubicBezTo>
                  <a:pt x="668" y="139"/>
                  <a:pt x="780" y="158"/>
                  <a:pt x="780" y="184"/>
                </a:cubicBezTo>
                <a:cubicBezTo>
                  <a:pt x="780" y="209"/>
                  <a:pt x="668" y="230"/>
                  <a:pt x="531" y="230"/>
                </a:cubicBezTo>
                <a:cubicBezTo>
                  <a:pt x="393" y="230"/>
                  <a:pt x="282" y="210"/>
                  <a:pt x="282" y="184"/>
                </a:cubicBezTo>
                <a:close/>
                <a:moveTo>
                  <a:pt x="799" y="32"/>
                </a:moveTo>
                <a:cubicBezTo>
                  <a:pt x="931" y="32"/>
                  <a:pt x="1037" y="52"/>
                  <a:pt x="1037" y="76"/>
                </a:cubicBezTo>
                <a:cubicBezTo>
                  <a:pt x="1037" y="100"/>
                  <a:pt x="931" y="119"/>
                  <a:pt x="799" y="119"/>
                </a:cubicBezTo>
                <a:cubicBezTo>
                  <a:pt x="668" y="119"/>
                  <a:pt x="563" y="100"/>
                  <a:pt x="563" y="76"/>
                </a:cubicBezTo>
                <a:cubicBezTo>
                  <a:pt x="563" y="52"/>
                  <a:pt x="669" y="32"/>
                  <a:pt x="799" y="32"/>
                </a:cubicBezTo>
                <a:close/>
                <a:moveTo>
                  <a:pt x="31" y="76"/>
                </a:moveTo>
                <a:cubicBezTo>
                  <a:pt x="31" y="52"/>
                  <a:pt x="138" y="32"/>
                  <a:pt x="269" y="32"/>
                </a:cubicBezTo>
                <a:cubicBezTo>
                  <a:pt x="400" y="32"/>
                  <a:pt x="507" y="52"/>
                  <a:pt x="507" y="76"/>
                </a:cubicBezTo>
                <a:cubicBezTo>
                  <a:pt x="507" y="100"/>
                  <a:pt x="400" y="119"/>
                  <a:pt x="269" y="119"/>
                </a:cubicBezTo>
                <a:cubicBezTo>
                  <a:pt x="138" y="119"/>
                  <a:pt x="31" y="100"/>
                  <a:pt x="31" y="76"/>
                </a:cubicBezTo>
                <a:close/>
                <a:moveTo>
                  <a:pt x="813" y="604"/>
                </a:moveTo>
                <a:cubicBezTo>
                  <a:pt x="720" y="639"/>
                  <a:pt x="626" y="651"/>
                  <a:pt x="542" y="651"/>
                </a:cubicBezTo>
                <a:cubicBezTo>
                  <a:pt x="408" y="651"/>
                  <a:pt x="298" y="622"/>
                  <a:pt x="250" y="605"/>
                </a:cubicBezTo>
                <a:lnTo>
                  <a:pt x="250" y="575"/>
                </a:lnTo>
                <a:cubicBezTo>
                  <a:pt x="300" y="593"/>
                  <a:pt x="561" y="671"/>
                  <a:pt x="810" y="574"/>
                </a:cubicBezTo>
                <a:cubicBezTo>
                  <a:pt x="811" y="574"/>
                  <a:pt x="812" y="574"/>
                  <a:pt x="813" y="573"/>
                </a:cubicBezTo>
                <a:lnTo>
                  <a:pt x="813" y="604"/>
                </a:lnTo>
                <a:close/>
                <a:moveTo>
                  <a:pt x="542" y="446"/>
                </a:moveTo>
                <a:cubicBezTo>
                  <a:pt x="402" y="446"/>
                  <a:pt x="289" y="416"/>
                  <a:pt x="250" y="403"/>
                </a:cubicBezTo>
                <a:lnTo>
                  <a:pt x="250" y="372"/>
                </a:lnTo>
                <a:cubicBezTo>
                  <a:pt x="251" y="372"/>
                  <a:pt x="252" y="373"/>
                  <a:pt x="253" y="373"/>
                </a:cubicBezTo>
                <a:cubicBezTo>
                  <a:pt x="265" y="378"/>
                  <a:pt x="539" y="469"/>
                  <a:pt x="810" y="373"/>
                </a:cubicBezTo>
                <a:cubicBezTo>
                  <a:pt x="810" y="373"/>
                  <a:pt x="812" y="373"/>
                  <a:pt x="813" y="373"/>
                </a:cubicBezTo>
                <a:lnTo>
                  <a:pt x="813" y="403"/>
                </a:lnTo>
                <a:cubicBezTo>
                  <a:pt x="720" y="434"/>
                  <a:pt x="626" y="446"/>
                  <a:pt x="542" y="446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bevel/>
            <a:headEnd/>
            <a:tailEnd/>
          </a:ln>
          <a:effectLst/>
        </p:spPr>
        <p:txBody>
          <a:bodyPr wrap="none" anchor="ctr">
            <a:prstTxWarp prst="textNoShape">
              <a:avLst/>
            </a:prstTxWarp>
          </a:bodyPr>
          <a:lstStyle>
            <a:defPPr>
              <a:defRPr lang="en-GB"/>
            </a:defPPr>
            <a:lvl1pPr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1pPr>
            <a:lvl2pPr marL="742950" indent="-28575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2pPr>
            <a:lvl3pPr marL="1143000" indent="-22860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3pPr>
            <a:lvl4pPr marL="1600200" indent="-22860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4pPr>
            <a:lvl5pPr marL="2057400" indent="-22860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9pPr>
          </a:lstStyle>
          <a:p>
            <a:endParaRPr lang="en-US" sz="1350">
              <a:solidFill>
                <a:srgbClr val="676767"/>
              </a:solidFill>
            </a:endParaRPr>
          </a:p>
        </p:txBody>
      </p:sp>
      <p:sp>
        <p:nvSpPr>
          <p:cNvPr id="2502" name="Oval 2501"/>
          <p:cNvSpPr/>
          <p:nvPr/>
        </p:nvSpPr>
        <p:spPr>
          <a:xfrm>
            <a:off x="1581941" y="3990900"/>
            <a:ext cx="932452" cy="932450"/>
          </a:xfrm>
          <a:prstGeom prst="ellipse">
            <a:avLst/>
          </a:prstGeom>
          <a:gradFill flip="none" rotWithShape="1">
            <a:gsLst>
              <a:gs pos="1000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</a:gsLst>
            <a:lin ang="5400000" scaled="0"/>
            <a:tileRect/>
          </a:gra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676767"/>
              </a:solidFill>
              <a:cs typeface="Arial"/>
            </a:endParaRPr>
          </a:p>
        </p:txBody>
      </p:sp>
      <p:sp>
        <p:nvSpPr>
          <p:cNvPr id="2503" name="Oval 2502"/>
          <p:cNvSpPr/>
          <p:nvPr/>
        </p:nvSpPr>
        <p:spPr>
          <a:xfrm>
            <a:off x="1631818" y="4036528"/>
            <a:ext cx="832687" cy="832687"/>
          </a:xfrm>
          <a:prstGeom prst="ellipse">
            <a:avLst/>
          </a:prstGeom>
          <a:gradFill>
            <a:gsLst>
              <a:gs pos="13000">
                <a:srgbClr val="33C2CC"/>
              </a:gs>
              <a:gs pos="100000">
                <a:srgbClr val="018792"/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t" anchorCtr="0" compatLnSpc="1">
            <a:prstTxWarp prst="textNoShape">
              <a:avLst/>
            </a:prstTxWarp>
          </a:bodyPr>
          <a:lstStyle/>
          <a:p>
            <a:pPr defTabSz="514350"/>
            <a:endParaRPr lang="en-US" sz="1400" dirty="0">
              <a:solidFill>
                <a:srgbClr val="FFFFFF"/>
              </a:solidFill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2530" name="Freeform 31"/>
          <p:cNvSpPr>
            <a:spLocks/>
          </p:cNvSpPr>
          <p:nvPr/>
        </p:nvSpPr>
        <p:spPr bwMode="auto">
          <a:xfrm>
            <a:off x="1921574" y="4331794"/>
            <a:ext cx="249822" cy="249821"/>
          </a:xfrm>
          <a:custGeom>
            <a:avLst/>
            <a:gdLst/>
            <a:ahLst/>
            <a:cxnLst>
              <a:cxn ang="0">
                <a:pos x="143" y="285"/>
              </a:cxn>
              <a:cxn ang="0">
                <a:pos x="154" y="213"/>
              </a:cxn>
              <a:cxn ang="0">
                <a:pos x="226" y="82"/>
              </a:cxn>
              <a:cxn ang="0">
                <a:pos x="154" y="70"/>
              </a:cxn>
              <a:cxn ang="0">
                <a:pos x="143" y="142"/>
              </a:cxn>
              <a:cxn ang="0">
                <a:pos x="14" y="126"/>
              </a:cxn>
              <a:cxn ang="0">
                <a:pos x="71" y="82"/>
              </a:cxn>
              <a:cxn ang="0">
                <a:pos x="73" y="142"/>
              </a:cxn>
              <a:cxn ang="0">
                <a:pos x="83" y="82"/>
              </a:cxn>
              <a:cxn ang="0">
                <a:pos x="36" y="70"/>
              </a:cxn>
              <a:cxn ang="0">
                <a:pos x="68" y="39"/>
              </a:cxn>
              <a:cxn ang="0">
                <a:pos x="106" y="19"/>
              </a:cxn>
              <a:cxn ang="0">
                <a:pos x="87" y="70"/>
              </a:cxn>
              <a:cxn ang="0">
                <a:pos x="110" y="31"/>
              </a:cxn>
              <a:cxn ang="0">
                <a:pos x="154" y="13"/>
              </a:cxn>
              <a:cxn ang="0">
                <a:pos x="187" y="31"/>
              </a:cxn>
              <a:cxn ang="0">
                <a:pos x="223" y="70"/>
              </a:cxn>
              <a:cxn ang="0">
                <a:pos x="191" y="19"/>
              </a:cxn>
              <a:cxn ang="0">
                <a:pos x="229" y="39"/>
              </a:cxn>
              <a:cxn ang="0">
                <a:pos x="268" y="82"/>
              </a:cxn>
              <a:cxn ang="0">
                <a:pos x="285" y="142"/>
              </a:cxn>
              <a:cxn ang="0">
                <a:pos x="288" y="99"/>
              </a:cxn>
              <a:cxn ang="0">
                <a:pos x="251" y="41"/>
              </a:cxn>
              <a:cxn ang="0">
                <a:pos x="192" y="6"/>
              </a:cxn>
              <a:cxn ang="0">
                <a:pos x="133" y="1"/>
              </a:cxn>
              <a:cxn ang="0">
                <a:pos x="65" y="25"/>
              </a:cxn>
              <a:cxn ang="0">
                <a:pos x="18" y="78"/>
              </a:cxn>
              <a:cxn ang="0">
                <a:pos x="0" y="149"/>
              </a:cxn>
              <a:cxn ang="0">
                <a:pos x="12" y="207"/>
              </a:cxn>
              <a:cxn ang="0">
                <a:pos x="55" y="263"/>
              </a:cxn>
              <a:cxn ang="0">
                <a:pos x="119" y="294"/>
              </a:cxn>
              <a:cxn ang="0">
                <a:pos x="178" y="294"/>
              </a:cxn>
              <a:cxn ang="0">
                <a:pos x="243" y="263"/>
              </a:cxn>
              <a:cxn ang="0">
                <a:pos x="285" y="207"/>
              </a:cxn>
              <a:cxn ang="0">
                <a:pos x="297" y="149"/>
              </a:cxn>
              <a:cxn ang="0">
                <a:pos x="235" y="126"/>
              </a:cxn>
              <a:cxn ang="0">
                <a:pos x="214" y="82"/>
              </a:cxn>
              <a:cxn ang="0">
                <a:pos x="154" y="142"/>
              </a:cxn>
              <a:cxn ang="0">
                <a:pos x="285" y="154"/>
              </a:cxn>
              <a:cxn ang="0">
                <a:pos x="227" y="213"/>
              </a:cxn>
              <a:cxn ang="0">
                <a:pos x="248" y="242"/>
              </a:cxn>
              <a:cxn ang="0">
                <a:pos x="202" y="274"/>
              </a:cxn>
              <a:cxn ang="0">
                <a:pos x="217" y="241"/>
              </a:cxn>
              <a:cxn ang="0">
                <a:pos x="234" y="184"/>
              </a:cxn>
              <a:cxn ang="0">
                <a:pos x="223" y="169"/>
              </a:cxn>
              <a:cxn ang="0">
                <a:pos x="211" y="225"/>
              </a:cxn>
              <a:cxn ang="0">
                <a:pos x="179" y="273"/>
              </a:cxn>
              <a:cxn ang="0">
                <a:pos x="143" y="285"/>
              </a:cxn>
              <a:cxn ang="0">
                <a:pos x="103" y="257"/>
              </a:cxn>
              <a:cxn ang="0">
                <a:pos x="74" y="225"/>
              </a:cxn>
              <a:cxn ang="0">
                <a:pos x="106" y="279"/>
              </a:cxn>
              <a:cxn ang="0">
                <a:pos x="58" y="251"/>
              </a:cxn>
              <a:cxn ang="0">
                <a:pos x="86" y="225"/>
              </a:cxn>
              <a:cxn ang="0">
                <a:pos x="78" y="199"/>
              </a:cxn>
              <a:cxn ang="0">
                <a:pos x="61" y="154"/>
              </a:cxn>
              <a:cxn ang="0">
                <a:pos x="28" y="213"/>
              </a:cxn>
              <a:cxn ang="0">
                <a:pos x="12" y="154"/>
              </a:cxn>
            </a:cxnLst>
            <a:rect l="0" t="0" r="r" b="b"/>
            <a:pathLst>
              <a:path w="297" h="297">
                <a:moveTo>
                  <a:pt x="73" y="154"/>
                </a:moveTo>
                <a:lnTo>
                  <a:pt x="143" y="154"/>
                </a:lnTo>
                <a:lnTo>
                  <a:pt x="143" y="213"/>
                </a:lnTo>
                <a:lnTo>
                  <a:pt x="143" y="225"/>
                </a:lnTo>
                <a:lnTo>
                  <a:pt x="143" y="285"/>
                </a:lnTo>
                <a:lnTo>
                  <a:pt x="154" y="285"/>
                </a:lnTo>
                <a:lnTo>
                  <a:pt x="154" y="225"/>
                </a:lnTo>
                <a:lnTo>
                  <a:pt x="211" y="225"/>
                </a:lnTo>
                <a:lnTo>
                  <a:pt x="216" y="213"/>
                </a:lnTo>
                <a:lnTo>
                  <a:pt x="154" y="213"/>
                </a:lnTo>
                <a:lnTo>
                  <a:pt x="154" y="154"/>
                </a:lnTo>
                <a:lnTo>
                  <a:pt x="154" y="142"/>
                </a:lnTo>
                <a:lnTo>
                  <a:pt x="154" y="82"/>
                </a:lnTo>
                <a:lnTo>
                  <a:pt x="214" y="82"/>
                </a:lnTo>
                <a:lnTo>
                  <a:pt x="226" y="82"/>
                </a:lnTo>
                <a:lnTo>
                  <a:pt x="268" y="82"/>
                </a:lnTo>
                <a:lnTo>
                  <a:pt x="261" y="70"/>
                </a:lnTo>
                <a:lnTo>
                  <a:pt x="223" y="70"/>
                </a:lnTo>
                <a:lnTo>
                  <a:pt x="210" y="70"/>
                </a:lnTo>
                <a:lnTo>
                  <a:pt x="154" y="70"/>
                </a:lnTo>
                <a:lnTo>
                  <a:pt x="154" y="13"/>
                </a:lnTo>
                <a:lnTo>
                  <a:pt x="143" y="13"/>
                </a:lnTo>
                <a:lnTo>
                  <a:pt x="143" y="70"/>
                </a:lnTo>
                <a:lnTo>
                  <a:pt x="143" y="82"/>
                </a:lnTo>
                <a:lnTo>
                  <a:pt x="143" y="142"/>
                </a:lnTo>
                <a:lnTo>
                  <a:pt x="73" y="142"/>
                </a:lnTo>
                <a:lnTo>
                  <a:pt x="61" y="142"/>
                </a:lnTo>
                <a:lnTo>
                  <a:pt x="12" y="142"/>
                </a:lnTo>
                <a:lnTo>
                  <a:pt x="12" y="142"/>
                </a:lnTo>
                <a:lnTo>
                  <a:pt x="14" y="126"/>
                </a:lnTo>
                <a:lnTo>
                  <a:pt x="17" y="110"/>
                </a:lnTo>
                <a:lnTo>
                  <a:pt x="22" y="96"/>
                </a:lnTo>
                <a:lnTo>
                  <a:pt x="29" y="82"/>
                </a:lnTo>
                <a:lnTo>
                  <a:pt x="71" y="82"/>
                </a:lnTo>
                <a:lnTo>
                  <a:pt x="71" y="82"/>
                </a:lnTo>
                <a:lnTo>
                  <a:pt x="66" y="96"/>
                </a:lnTo>
                <a:lnTo>
                  <a:pt x="64" y="111"/>
                </a:lnTo>
                <a:lnTo>
                  <a:pt x="62" y="126"/>
                </a:lnTo>
                <a:lnTo>
                  <a:pt x="61" y="142"/>
                </a:lnTo>
                <a:lnTo>
                  <a:pt x="73" y="142"/>
                </a:lnTo>
                <a:lnTo>
                  <a:pt x="73" y="142"/>
                </a:lnTo>
                <a:lnTo>
                  <a:pt x="74" y="126"/>
                </a:lnTo>
                <a:lnTo>
                  <a:pt x="76" y="110"/>
                </a:lnTo>
                <a:lnTo>
                  <a:pt x="79" y="96"/>
                </a:lnTo>
                <a:lnTo>
                  <a:pt x="83" y="82"/>
                </a:lnTo>
                <a:lnTo>
                  <a:pt x="143" y="82"/>
                </a:lnTo>
                <a:lnTo>
                  <a:pt x="143" y="70"/>
                </a:lnTo>
                <a:lnTo>
                  <a:pt x="87" y="70"/>
                </a:lnTo>
                <a:lnTo>
                  <a:pt x="75" y="70"/>
                </a:lnTo>
                <a:lnTo>
                  <a:pt x="36" y="70"/>
                </a:lnTo>
                <a:lnTo>
                  <a:pt x="36" y="70"/>
                </a:lnTo>
                <a:lnTo>
                  <a:pt x="44" y="62"/>
                </a:lnTo>
                <a:lnTo>
                  <a:pt x="50" y="53"/>
                </a:lnTo>
                <a:lnTo>
                  <a:pt x="59" y="46"/>
                </a:lnTo>
                <a:lnTo>
                  <a:pt x="68" y="39"/>
                </a:lnTo>
                <a:lnTo>
                  <a:pt x="76" y="33"/>
                </a:lnTo>
                <a:lnTo>
                  <a:pt x="86" y="28"/>
                </a:lnTo>
                <a:lnTo>
                  <a:pt x="95" y="22"/>
                </a:lnTo>
                <a:lnTo>
                  <a:pt x="106" y="19"/>
                </a:lnTo>
                <a:lnTo>
                  <a:pt x="106" y="19"/>
                </a:lnTo>
                <a:lnTo>
                  <a:pt x="96" y="29"/>
                </a:lnTo>
                <a:lnTo>
                  <a:pt x="89" y="41"/>
                </a:lnTo>
                <a:lnTo>
                  <a:pt x="81" y="54"/>
                </a:lnTo>
                <a:lnTo>
                  <a:pt x="75" y="70"/>
                </a:lnTo>
                <a:lnTo>
                  <a:pt x="87" y="70"/>
                </a:lnTo>
                <a:lnTo>
                  <a:pt x="87" y="70"/>
                </a:lnTo>
                <a:lnTo>
                  <a:pt x="92" y="59"/>
                </a:lnTo>
                <a:lnTo>
                  <a:pt x="98" y="48"/>
                </a:lnTo>
                <a:lnTo>
                  <a:pt x="104" y="38"/>
                </a:lnTo>
                <a:lnTo>
                  <a:pt x="110" y="31"/>
                </a:lnTo>
                <a:lnTo>
                  <a:pt x="118" y="23"/>
                </a:lnTo>
                <a:lnTo>
                  <a:pt x="127" y="18"/>
                </a:lnTo>
                <a:lnTo>
                  <a:pt x="134" y="15"/>
                </a:lnTo>
                <a:lnTo>
                  <a:pt x="143" y="13"/>
                </a:lnTo>
                <a:lnTo>
                  <a:pt x="154" y="13"/>
                </a:lnTo>
                <a:lnTo>
                  <a:pt x="154" y="13"/>
                </a:lnTo>
                <a:lnTo>
                  <a:pt x="163" y="15"/>
                </a:lnTo>
                <a:lnTo>
                  <a:pt x="172" y="18"/>
                </a:lnTo>
                <a:lnTo>
                  <a:pt x="179" y="23"/>
                </a:lnTo>
                <a:lnTo>
                  <a:pt x="187" y="31"/>
                </a:lnTo>
                <a:lnTo>
                  <a:pt x="193" y="38"/>
                </a:lnTo>
                <a:lnTo>
                  <a:pt x="199" y="48"/>
                </a:lnTo>
                <a:lnTo>
                  <a:pt x="205" y="59"/>
                </a:lnTo>
                <a:lnTo>
                  <a:pt x="210" y="70"/>
                </a:lnTo>
                <a:lnTo>
                  <a:pt x="223" y="70"/>
                </a:lnTo>
                <a:lnTo>
                  <a:pt x="223" y="70"/>
                </a:lnTo>
                <a:lnTo>
                  <a:pt x="217" y="54"/>
                </a:lnTo>
                <a:lnTo>
                  <a:pt x="209" y="41"/>
                </a:lnTo>
                <a:lnTo>
                  <a:pt x="201" y="29"/>
                </a:lnTo>
                <a:lnTo>
                  <a:pt x="191" y="19"/>
                </a:lnTo>
                <a:lnTo>
                  <a:pt x="191" y="19"/>
                </a:lnTo>
                <a:lnTo>
                  <a:pt x="202" y="22"/>
                </a:lnTo>
                <a:lnTo>
                  <a:pt x="211" y="28"/>
                </a:lnTo>
                <a:lnTo>
                  <a:pt x="221" y="33"/>
                </a:lnTo>
                <a:lnTo>
                  <a:pt x="229" y="39"/>
                </a:lnTo>
                <a:lnTo>
                  <a:pt x="238" y="46"/>
                </a:lnTo>
                <a:lnTo>
                  <a:pt x="247" y="53"/>
                </a:lnTo>
                <a:lnTo>
                  <a:pt x="254" y="62"/>
                </a:lnTo>
                <a:lnTo>
                  <a:pt x="261" y="70"/>
                </a:lnTo>
                <a:lnTo>
                  <a:pt x="268" y="82"/>
                </a:lnTo>
                <a:lnTo>
                  <a:pt x="268" y="82"/>
                </a:lnTo>
                <a:lnTo>
                  <a:pt x="275" y="96"/>
                </a:lnTo>
                <a:lnTo>
                  <a:pt x="280" y="110"/>
                </a:lnTo>
                <a:lnTo>
                  <a:pt x="283" y="126"/>
                </a:lnTo>
                <a:lnTo>
                  <a:pt x="285" y="142"/>
                </a:lnTo>
                <a:lnTo>
                  <a:pt x="297" y="141"/>
                </a:lnTo>
                <a:lnTo>
                  <a:pt x="297" y="141"/>
                </a:lnTo>
                <a:lnTo>
                  <a:pt x="295" y="126"/>
                </a:lnTo>
                <a:lnTo>
                  <a:pt x="293" y="112"/>
                </a:lnTo>
                <a:lnTo>
                  <a:pt x="288" y="99"/>
                </a:lnTo>
                <a:lnTo>
                  <a:pt x="283" y="85"/>
                </a:lnTo>
                <a:lnTo>
                  <a:pt x="277" y="74"/>
                </a:lnTo>
                <a:lnTo>
                  <a:pt x="269" y="62"/>
                </a:lnTo>
                <a:lnTo>
                  <a:pt x="261" y="51"/>
                </a:lnTo>
                <a:lnTo>
                  <a:pt x="251" y="41"/>
                </a:lnTo>
                <a:lnTo>
                  <a:pt x="240" y="32"/>
                </a:lnTo>
                <a:lnTo>
                  <a:pt x="229" y="24"/>
                </a:lnTo>
                <a:lnTo>
                  <a:pt x="218" y="17"/>
                </a:lnTo>
                <a:lnTo>
                  <a:pt x="205" y="11"/>
                </a:lnTo>
                <a:lnTo>
                  <a:pt x="192" y="6"/>
                </a:lnTo>
                <a:lnTo>
                  <a:pt x="178" y="3"/>
                </a:lnTo>
                <a:lnTo>
                  <a:pt x="163" y="1"/>
                </a:lnTo>
                <a:lnTo>
                  <a:pt x="149" y="0"/>
                </a:lnTo>
                <a:lnTo>
                  <a:pt x="149" y="0"/>
                </a:lnTo>
                <a:lnTo>
                  <a:pt x="133" y="1"/>
                </a:lnTo>
                <a:lnTo>
                  <a:pt x="119" y="3"/>
                </a:lnTo>
                <a:lnTo>
                  <a:pt x="105" y="7"/>
                </a:lnTo>
                <a:lnTo>
                  <a:pt x="91" y="11"/>
                </a:lnTo>
                <a:lnTo>
                  <a:pt x="78" y="18"/>
                </a:lnTo>
                <a:lnTo>
                  <a:pt x="65" y="25"/>
                </a:lnTo>
                <a:lnTo>
                  <a:pt x="55" y="34"/>
                </a:lnTo>
                <a:lnTo>
                  <a:pt x="44" y="44"/>
                </a:lnTo>
                <a:lnTo>
                  <a:pt x="34" y="54"/>
                </a:lnTo>
                <a:lnTo>
                  <a:pt x="26" y="66"/>
                </a:lnTo>
                <a:lnTo>
                  <a:pt x="18" y="78"/>
                </a:lnTo>
                <a:lnTo>
                  <a:pt x="12" y="91"/>
                </a:lnTo>
                <a:lnTo>
                  <a:pt x="6" y="105"/>
                </a:lnTo>
                <a:lnTo>
                  <a:pt x="3" y="119"/>
                </a:lnTo>
                <a:lnTo>
                  <a:pt x="1" y="134"/>
                </a:lnTo>
                <a:lnTo>
                  <a:pt x="0" y="149"/>
                </a:lnTo>
                <a:lnTo>
                  <a:pt x="0" y="149"/>
                </a:lnTo>
                <a:lnTo>
                  <a:pt x="1" y="164"/>
                </a:lnTo>
                <a:lnTo>
                  <a:pt x="3" y="179"/>
                </a:lnTo>
                <a:lnTo>
                  <a:pt x="6" y="193"/>
                </a:lnTo>
                <a:lnTo>
                  <a:pt x="12" y="207"/>
                </a:lnTo>
                <a:lnTo>
                  <a:pt x="18" y="220"/>
                </a:lnTo>
                <a:lnTo>
                  <a:pt x="26" y="231"/>
                </a:lnTo>
                <a:lnTo>
                  <a:pt x="34" y="243"/>
                </a:lnTo>
                <a:lnTo>
                  <a:pt x="44" y="254"/>
                </a:lnTo>
                <a:lnTo>
                  <a:pt x="55" y="263"/>
                </a:lnTo>
                <a:lnTo>
                  <a:pt x="65" y="272"/>
                </a:lnTo>
                <a:lnTo>
                  <a:pt x="78" y="280"/>
                </a:lnTo>
                <a:lnTo>
                  <a:pt x="91" y="285"/>
                </a:lnTo>
                <a:lnTo>
                  <a:pt x="105" y="290"/>
                </a:lnTo>
                <a:lnTo>
                  <a:pt x="119" y="294"/>
                </a:lnTo>
                <a:lnTo>
                  <a:pt x="133" y="297"/>
                </a:lnTo>
                <a:lnTo>
                  <a:pt x="149" y="297"/>
                </a:lnTo>
                <a:lnTo>
                  <a:pt x="149" y="297"/>
                </a:lnTo>
                <a:lnTo>
                  <a:pt x="164" y="297"/>
                </a:lnTo>
                <a:lnTo>
                  <a:pt x="178" y="294"/>
                </a:lnTo>
                <a:lnTo>
                  <a:pt x="193" y="290"/>
                </a:lnTo>
                <a:lnTo>
                  <a:pt x="206" y="285"/>
                </a:lnTo>
                <a:lnTo>
                  <a:pt x="220" y="280"/>
                </a:lnTo>
                <a:lnTo>
                  <a:pt x="232" y="272"/>
                </a:lnTo>
                <a:lnTo>
                  <a:pt x="243" y="263"/>
                </a:lnTo>
                <a:lnTo>
                  <a:pt x="253" y="254"/>
                </a:lnTo>
                <a:lnTo>
                  <a:pt x="263" y="243"/>
                </a:lnTo>
                <a:lnTo>
                  <a:pt x="271" y="231"/>
                </a:lnTo>
                <a:lnTo>
                  <a:pt x="279" y="220"/>
                </a:lnTo>
                <a:lnTo>
                  <a:pt x="285" y="207"/>
                </a:lnTo>
                <a:lnTo>
                  <a:pt x="291" y="193"/>
                </a:lnTo>
                <a:lnTo>
                  <a:pt x="294" y="179"/>
                </a:lnTo>
                <a:lnTo>
                  <a:pt x="296" y="164"/>
                </a:lnTo>
                <a:lnTo>
                  <a:pt x="297" y="149"/>
                </a:lnTo>
                <a:lnTo>
                  <a:pt x="297" y="149"/>
                </a:lnTo>
                <a:lnTo>
                  <a:pt x="297" y="141"/>
                </a:lnTo>
                <a:lnTo>
                  <a:pt x="285" y="142"/>
                </a:lnTo>
                <a:lnTo>
                  <a:pt x="236" y="142"/>
                </a:lnTo>
                <a:lnTo>
                  <a:pt x="236" y="142"/>
                </a:lnTo>
                <a:lnTo>
                  <a:pt x="235" y="126"/>
                </a:lnTo>
                <a:lnTo>
                  <a:pt x="233" y="111"/>
                </a:lnTo>
                <a:lnTo>
                  <a:pt x="231" y="96"/>
                </a:lnTo>
                <a:lnTo>
                  <a:pt x="226" y="82"/>
                </a:lnTo>
                <a:lnTo>
                  <a:pt x="214" y="82"/>
                </a:lnTo>
                <a:lnTo>
                  <a:pt x="214" y="82"/>
                </a:lnTo>
                <a:lnTo>
                  <a:pt x="219" y="96"/>
                </a:lnTo>
                <a:lnTo>
                  <a:pt x="221" y="110"/>
                </a:lnTo>
                <a:lnTo>
                  <a:pt x="223" y="126"/>
                </a:lnTo>
                <a:lnTo>
                  <a:pt x="224" y="142"/>
                </a:lnTo>
                <a:lnTo>
                  <a:pt x="154" y="142"/>
                </a:lnTo>
                <a:lnTo>
                  <a:pt x="154" y="154"/>
                </a:lnTo>
                <a:lnTo>
                  <a:pt x="224" y="154"/>
                </a:lnTo>
                <a:lnTo>
                  <a:pt x="236" y="154"/>
                </a:lnTo>
                <a:lnTo>
                  <a:pt x="285" y="154"/>
                </a:lnTo>
                <a:lnTo>
                  <a:pt x="285" y="154"/>
                </a:lnTo>
                <a:lnTo>
                  <a:pt x="283" y="169"/>
                </a:lnTo>
                <a:lnTo>
                  <a:pt x="280" y="184"/>
                </a:lnTo>
                <a:lnTo>
                  <a:pt x="276" y="199"/>
                </a:lnTo>
                <a:lnTo>
                  <a:pt x="269" y="213"/>
                </a:lnTo>
                <a:lnTo>
                  <a:pt x="227" y="213"/>
                </a:lnTo>
                <a:lnTo>
                  <a:pt x="224" y="225"/>
                </a:lnTo>
                <a:lnTo>
                  <a:pt x="262" y="225"/>
                </a:lnTo>
                <a:lnTo>
                  <a:pt x="262" y="225"/>
                </a:lnTo>
                <a:lnTo>
                  <a:pt x="255" y="233"/>
                </a:lnTo>
                <a:lnTo>
                  <a:pt x="248" y="242"/>
                </a:lnTo>
                <a:lnTo>
                  <a:pt x="240" y="251"/>
                </a:lnTo>
                <a:lnTo>
                  <a:pt x="232" y="257"/>
                </a:lnTo>
                <a:lnTo>
                  <a:pt x="222" y="263"/>
                </a:lnTo>
                <a:lnTo>
                  <a:pt x="212" y="270"/>
                </a:lnTo>
                <a:lnTo>
                  <a:pt x="202" y="274"/>
                </a:lnTo>
                <a:lnTo>
                  <a:pt x="191" y="279"/>
                </a:lnTo>
                <a:lnTo>
                  <a:pt x="191" y="279"/>
                </a:lnTo>
                <a:lnTo>
                  <a:pt x="201" y="268"/>
                </a:lnTo>
                <a:lnTo>
                  <a:pt x="209" y="255"/>
                </a:lnTo>
                <a:lnTo>
                  <a:pt x="217" y="241"/>
                </a:lnTo>
                <a:lnTo>
                  <a:pt x="224" y="225"/>
                </a:lnTo>
                <a:lnTo>
                  <a:pt x="227" y="213"/>
                </a:lnTo>
                <a:lnTo>
                  <a:pt x="227" y="213"/>
                </a:lnTo>
                <a:lnTo>
                  <a:pt x="231" y="199"/>
                </a:lnTo>
                <a:lnTo>
                  <a:pt x="234" y="184"/>
                </a:lnTo>
                <a:lnTo>
                  <a:pt x="235" y="169"/>
                </a:lnTo>
                <a:lnTo>
                  <a:pt x="236" y="154"/>
                </a:lnTo>
                <a:lnTo>
                  <a:pt x="224" y="154"/>
                </a:lnTo>
                <a:lnTo>
                  <a:pt x="224" y="154"/>
                </a:lnTo>
                <a:lnTo>
                  <a:pt x="223" y="169"/>
                </a:lnTo>
                <a:lnTo>
                  <a:pt x="221" y="184"/>
                </a:lnTo>
                <a:lnTo>
                  <a:pt x="219" y="199"/>
                </a:lnTo>
                <a:lnTo>
                  <a:pt x="216" y="213"/>
                </a:lnTo>
                <a:lnTo>
                  <a:pt x="211" y="225"/>
                </a:lnTo>
                <a:lnTo>
                  <a:pt x="211" y="225"/>
                </a:lnTo>
                <a:lnTo>
                  <a:pt x="206" y="237"/>
                </a:lnTo>
                <a:lnTo>
                  <a:pt x="201" y="247"/>
                </a:lnTo>
                <a:lnTo>
                  <a:pt x="194" y="257"/>
                </a:lnTo>
                <a:lnTo>
                  <a:pt x="187" y="266"/>
                </a:lnTo>
                <a:lnTo>
                  <a:pt x="179" y="273"/>
                </a:lnTo>
                <a:lnTo>
                  <a:pt x="172" y="279"/>
                </a:lnTo>
                <a:lnTo>
                  <a:pt x="163" y="283"/>
                </a:lnTo>
                <a:lnTo>
                  <a:pt x="154" y="285"/>
                </a:lnTo>
                <a:lnTo>
                  <a:pt x="143" y="285"/>
                </a:lnTo>
                <a:lnTo>
                  <a:pt x="143" y="285"/>
                </a:lnTo>
                <a:lnTo>
                  <a:pt x="134" y="283"/>
                </a:lnTo>
                <a:lnTo>
                  <a:pt x="125" y="279"/>
                </a:lnTo>
                <a:lnTo>
                  <a:pt x="118" y="273"/>
                </a:lnTo>
                <a:lnTo>
                  <a:pt x="110" y="266"/>
                </a:lnTo>
                <a:lnTo>
                  <a:pt x="103" y="257"/>
                </a:lnTo>
                <a:lnTo>
                  <a:pt x="96" y="247"/>
                </a:lnTo>
                <a:lnTo>
                  <a:pt x="91" y="237"/>
                </a:lnTo>
                <a:lnTo>
                  <a:pt x="86" y="225"/>
                </a:lnTo>
                <a:lnTo>
                  <a:pt x="74" y="225"/>
                </a:lnTo>
                <a:lnTo>
                  <a:pt x="74" y="225"/>
                </a:lnTo>
                <a:lnTo>
                  <a:pt x="80" y="241"/>
                </a:lnTo>
                <a:lnTo>
                  <a:pt x="88" y="255"/>
                </a:lnTo>
                <a:lnTo>
                  <a:pt x="96" y="268"/>
                </a:lnTo>
                <a:lnTo>
                  <a:pt x="106" y="279"/>
                </a:lnTo>
                <a:lnTo>
                  <a:pt x="106" y="279"/>
                </a:lnTo>
                <a:lnTo>
                  <a:pt x="95" y="274"/>
                </a:lnTo>
                <a:lnTo>
                  <a:pt x="86" y="270"/>
                </a:lnTo>
                <a:lnTo>
                  <a:pt x="75" y="263"/>
                </a:lnTo>
                <a:lnTo>
                  <a:pt x="66" y="257"/>
                </a:lnTo>
                <a:lnTo>
                  <a:pt x="58" y="251"/>
                </a:lnTo>
                <a:lnTo>
                  <a:pt x="49" y="242"/>
                </a:lnTo>
                <a:lnTo>
                  <a:pt x="42" y="233"/>
                </a:lnTo>
                <a:lnTo>
                  <a:pt x="35" y="225"/>
                </a:lnTo>
                <a:lnTo>
                  <a:pt x="74" y="225"/>
                </a:lnTo>
                <a:lnTo>
                  <a:pt x="86" y="225"/>
                </a:lnTo>
                <a:lnTo>
                  <a:pt x="143" y="225"/>
                </a:lnTo>
                <a:lnTo>
                  <a:pt x="143" y="213"/>
                </a:lnTo>
                <a:lnTo>
                  <a:pt x="83" y="213"/>
                </a:lnTo>
                <a:lnTo>
                  <a:pt x="83" y="213"/>
                </a:lnTo>
                <a:lnTo>
                  <a:pt x="78" y="199"/>
                </a:lnTo>
                <a:lnTo>
                  <a:pt x="76" y="184"/>
                </a:lnTo>
                <a:lnTo>
                  <a:pt x="74" y="169"/>
                </a:lnTo>
                <a:lnTo>
                  <a:pt x="73" y="154"/>
                </a:lnTo>
                <a:lnTo>
                  <a:pt x="61" y="154"/>
                </a:lnTo>
                <a:lnTo>
                  <a:pt x="61" y="154"/>
                </a:lnTo>
                <a:lnTo>
                  <a:pt x="62" y="169"/>
                </a:lnTo>
                <a:lnTo>
                  <a:pt x="64" y="184"/>
                </a:lnTo>
                <a:lnTo>
                  <a:pt x="66" y="199"/>
                </a:lnTo>
                <a:lnTo>
                  <a:pt x="70" y="213"/>
                </a:lnTo>
                <a:lnTo>
                  <a:pt x="28" y="213"/>
                </a:lnTo>
                <a:lnTo>
                  <a:pt x="28" y="213"/>
                </a:lnTo>
                <a:lnTo>
                  <a:pt x="21" y="199"/>
                </a:lnTo>
                <a:lnTo>
                  <a:pt x="17" y="184"/>
                </a:lnTo>
                <a:lnTo>
                  <a:pt x="14" y="169"/>
                </a:lnTo>
                <a:lnTo>
                  <a:pt x="12" y="154"/>
                </a:lnTo>
                <a:lnTo>
                  <a:pt x="61" y="154"/>
                </a:lnTo>
                <a:lnTo>
                  <a:pt x="73" y="154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260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2B3182"/>
              </a:solidFill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2531" name="Freeform 32"/>
          <p:cNvSpPr>
            <a:spLocks/>
          </p:cNvSpPr>
          <p:nvPr/>
        </p:nvSpPr>
        <p:spPr bwMode="auto">
          <a:xfrm>
            <a:off x="1784467" y="4191322"/>
            <a:ext cx="527401" cy="531606"/>
          </a:xfrm>
          <a:custGeom>
            <a:avLst/>
            <a:gdLst/>
            <a:ahLst/>
            <a:cxnLst>
              <a:cxn ang="0">
                <a:pos x="257" y="480"/>
              </a:cxn>
              <a:cxn ang="0">
                <a:pos x="212" y="457"/>
              </a:cxn>
              <a:cxn ang="0">
                <a:pos x="176" y="423"/>
              </a:cxn>
              <a:cxn ang="0">
                <a:pos x="150" y="380"/>
              </a:cxn>
              <a:cxn ang="0">
                <a:pos x="138" y="332"/>
              </a:cxn>
              <a:cxn ang="0">
                <a:pos x="141" y="279"/>
              </a:cxn>
              <a:cxn ang="0">
                <a:pos x="152" y="246"/>
              </a:cxn>
              <a:cxn ang="0">
                <a:pos x="179" y="203"/>
              </a:cxn>
              <a:cxn ang="0">
                <a:pos x="217" y="171"/>
              </a:cxn>
              <a:cxn ang="0">
                <a:pos x="262" y="150"/>
              </a:cxn>
              <a:cxn ang="0">
                <a:pos x="312" y="143"/>
              </a:cxn>
              <a:cxn ang="0">
                <a:pos x="347" y="146"/>
              </a:cxn>
              <a:cxn ang="0">
                <a:pos x="396" y="165"/>
              </a:cxn>
              <a:cxn ang="0">
                <a:pos x="435" y="196"/>
              </a:cxn>
              <a:cxn ang="0">
                <a:pos x="464" y="235"/>
              </a:cxn>
              <a:cxn ang="0">
                <a:pos x="480" y="282"/>
              </a:cxn>
              <a:cxn ang="0">
                <a:pos x="483" y="334"/>
              </a:cxn>
              <a:cxn ang="0">
                <a:pos x="475" y="368"/>
              </a:cxn>
              <a:cxn ang="0">
                <a:pos x="453" y="414"/>
              </a:cxn>
              <a:cxn ang="0">
                <a:pos x="418" y="451"/>
              </a:cxn>
              <a:cxn ang="0">
                <a:pos x="375" y="476"/>
              </a:cxn>
              <a:cxn ang="0">
                <a:pos x="327" y="487"/>
              </a:cxn>
              <a:cxn ang="0">
                <a:pos x="274" y="484"/>
              </a:cxn>
              <a:cxn ang="0">
                <a:pos x="281" y="559"/>
              </a:cxn>
              <a:cxn ang="0">
                <a:pos x="333" y="631"/>
              </a:cxn>
              <a:cxn ang="0">
                <a:pos x="356" y="629"/>
              </a:cxn>
              <a:cxn ang="0">
                <a:pos x="406" y="542"/>
              </a:cxn>
              <a:cxn ang="0">
                <a:pos x="445" y="522"/>
              </a:cxn>
              <a:cxn ang="0">
                <a:pos x="531" y="542"/>
              </a:cxn>
              <a:cxn ang="0">
                <a:pos x="572" y="495"/>
              </a:cxn>
              <a:cxn ang="0">
                <a:pos x="538" y="408"/>
              </a:cxn>
              <a:cxn ang="0">
                <a:pos x="623" y="368"/>
              </a:cxn>
              <a:cxn ang="0">
                <a:pos x="627" y="306"/>
              </a:cxn>
              <a:cxn ang="0">
                <a:pos x="550" y="260"/>
              </a:cxn>
              <a:cxn ang="0">
                <a:pos x="583" y="155"/>
              </a:cxn>
              <a:cxn ang="0">
                <a:pos x="560" y="121"/>
              </a:cxn>
              <a:cxn ang="0">
                <a:pos x="459" y="119"/>
              </a:cxn>
              <a:cxn ang="0">
                <a:pos x="423" y="97"/>
              </a:cxn>
              <a:cxn ang="0">
                <a:pos x="397" y="11"/>
              </a:cxn>
              <a:cxn ang="0">
                <a:pos x="356" y="3"/>
              </a:cxn>
              <a:cxn ang="0">
                <a:pos x="298" y="70"/>
              </a:cxn>
              <a:cxn ang="0">
                <a:pos x="200" y="20"/>
              </a:cxn>
              <a:cxn ang="0">
                <a:pos x="163" y="36"/>
              </a:cxn>
              <a:cxn ang="0">
                <a:pos x="144" y="136"/>
              </a:cxn>
              <a:cxn ang="0">
                <a:pos x="115" y="168"/>
              </a:cxn>
              <a:cxn ang="0">
                <a:pos x="26" y="177"/>
              </a:cxn>
              <a:cxn ang="0">
                <a:pos x="5" y="236"/>
              </a:cxn>
              <a:cxn ang="0">
                <a:pos x="65" y="307"/>
              </a:cxn>
              <a:cxn ang="0">
                <a:pos x="0" y="373"/>
              </a:cxn>
              <a:cxn ang="0">
                <a:pos x="17" y="433"/>
              </a:cxn>
              <a:cxn ang="0">
                <a:pos x="105" y="449"/>
              </a:cxn>
              <a:cxn ang="0">
                <a:pos x="109" y="559"/>
              </a:cxn>
              <a:cxn ang="0">
                <a:pos x="141" y="583"/>
              </a:cxn>
              <a:cxn ang="0">
                <a:pos x="162" y="595"/>
              </a:cxn>
              <a:cxn ang="0">
                <a:pos x="239" y="551"/>
              </a:cxn>
            </a:cxnLst>
            <a:rect l="0" t="0" r="r" b="b"/>
            <a:pathLst>
              <a:path w="627" h="632">
                <a:moveTo>
                  <a:pt x="274" y="484"/>
                </a:moveTo>
                <a:lnTo>
                  <a:pt x="274" y="484"/>
                </a:lnTo>
                <a:lnTo>
                  <a:pt x="257" y="480"/>
                </a:lnTo>
                <a:lnTo>
                  <a:pt x="241" y="474"/>
                </a:lnTo>
                <a:lnTo>
                  <a:pt x="226" y="466"/>
                </a:lnTo>
                <a:lnTo>
                  <a:pt x="212" y="457"/>
                </a:lnTo>
                <a:lnTo>
                  <a:pt x="198" y="447"/>
                </a:lnTo>
                <a:lnTo>
                  <a:pt x="187" y="436"/>
                </a:lnTo>
                <a:lnTo>
                  <a:pt x="176" y="423"/>
                </a:lnTo>
                <a:lnTo>
                  <a:pt x="166" y="410"/>
                </a:lnTo>
                <a:lnTo>
                  <a:pt x="158" y="395"/>
                </a:lnTo>
                <a:lnTo>
                  <a:pt x="150" y="380"/>
                </a:lnTo>
                <a:lnTo>
                  <a:pt x="145" y="364"/>
                </a:lnTo>
                <a:lnTo>
                  <a:pt x="140" y="348"/>
                </a:lnTo>
                <a:lnTo>
                  <a:pt x="138" y="332"/>
                </a:lnTo>
                <a:lnTo>
                  <a:pt x="138" y="315"/>
                </a:lnTo>
                <a:lnTo>
                  <a:pt x="139" y="296"/>
                </a:lnTo>
                <a:lnTo>
                  <a:pt x="141" y="279"/>
                </a:lnTo>
                <a:lnTo>
                  <a:pt x="141" y="279"/>
                </a:lnTo>
                <a:lnTo>
                  <a:pt x="146" y="262"/>
                </a:lnTo>
                <a:lnTo>
                  <a:pt x="152" y="246"/>
                </a:lnTo>
                <a:lnTo>
                  <a:pt x="160" y="231"/>
                </a:lnTo>
                <a:lnTo>
                  <a:pt x="169" y="216"/>
                </a:lnTo>
                <a:lnTo>
                  <a:pt x="179" y="203"/>
                </a:lnTo>
                <a:lnTo>
                  <a:pt x="191" y="191"/>
                </a:lnTo>
                <a:lnTo>
                  <a:pt x="204" y="181"/>
                </a:lnTo>
                <a:lnTo>
                  <a:pt x="217" y="171"/>
                </a:lnTo>
                <a:lnTo>
                  <a:pt x="232" y="162"/>
                </a:lnTo>
                <a:lnTo>
                  <a:pt x="247" y="155"/>
                </a:lnTo>
                <a:lnTo>
                  <a:pt x="262" y="150"/>
                </a:lnTo>
                <a:lnTo>
                  <a:pt x="278" y="145"/>
                </a:lnTo>
                <a:lnTo>
                  <a:pt x="295" y="143"/>
                </a:lnTo>
                <a:lnTo>
                  <a:pt x="312" y="143"/>
                </a:lnTo>
                <a:lnTo>
                  <a:pt x="329" y="143"/>
                </a:lnTo>
                <a:lnTo>
                  <a:pt x="347" y="146"/>
                </a:lnTo>
                <a:lnTo>
                  <a:pt x="347" y="146"/>
                </a:lnTo>
                <a:lnTo>
                  <a:pt x="364" y="151"/>
                </a:lnTo>
                <a:lnTo>
                  <a:pt x="381" y="157"/>
                </a:lnTo>
                <a:lnTo>
                  <a:pt x="396" y="165"/>
                </a:lnTo>
                <a:lnTo>
                  <a:pt x="410" y="174"/>
                </a:lnTo>
                <a:lnTo>
                  <a:pt x="424" y="184"/>
                </a:lnTo>
                <a:lnTo>
                  <a:pt x="435" y="196"/>
                </a:lnTo>
                <a:lnTo>
                  <a:pt x="446" y="207"/>
                </a:lnTo>
                <a:lnTo>
                  <a:pt x="456" y="221"/>
                </a:lnTo>
                <a:lnTo>
                  <a:pt x="464" y="235"/>
                </a:lnTo>
                <a:lnTo>
                  <a:pt x="471" y="251"/>
                </a:lnTo>
                <a:lnTo>
                  <a:pt x="477" y="266"/>
                </a:lnTo>
                <a:lnTo>
                  <a:pt x="480" y="282"/>
                </a:lnTo>
                <a:lnTo>
                  <a:pt x="483" y="300"/>
                </a:lnTo>
                <a:lnTo>
                  <a:pt x="484" y="317"/>
                </a:lnTo>
                <a:lnTo>
                  <a:pt x="483" y="334"/>
                </a:lnTo>
                <a:lnTo>
                  <a:pt x="480" y="351"/>
                </a:lnTo>
                <a:lnTo>
                  <a:pt x="480" y="351"/>
                </a:lnTo>
                <a:lnTo>
                  <a:pt x="475" y="368"/>
                </a:lnTo>
                <a:lnTo>
                  <a:pt x="470" y="385"/>
                </a:lnTo>
                <a:lnTo>
                  <a:pt x="461" y="400"/>
                </a:lnTo>
                <a:lnTo>
                  <a:pt x="453" y="414"/>
                </a:lnTo>
                <a:lnTo>
                  <a:pt x="443" y="428"/>
                </a:lnTo>
                <a:lnTo>
                  <a:pt x="431" y="440"/>
                </a:lnTo>
                <a:lnTo>
                  <a:pt x="418" y="451"/>
                </a:lnTo>
                <a:lnTo>
                  <a:pt x="405" y="461"/>
                </a:lnTo>
                <a:lnTo>
                  <a:pt x="390" y="469"/>
                </a:lnTo>
                <a:lnTo>
                  <a:pt x="375" y="476"/>
                </a:lnTo>
                <a:lnTo>
                  <a:pt x="359" y="481"/>
                </a:lnTo>
                <a:lnTo>
                  <a:pt x="343" y="485"/>
                </a:lnTo>
                <a:lnTo>
                  <a:pt x="327" y="487"/>
                </a:lnTo>
                <a:lnTo>
                  <a:pt x="310" y="488"/>
                </a:lnTo>
                <a:lnTo>
                  <a:pt x="293" y="487"/>
                </a:lnTo>
                <a:lnTo>
                  <a:pt x="274" y="484"/>
                </a:lnTo>
                <a:lnTo>
                  <a:pt x="259" y="556"/>
                </a:lnTo>
                <a:lnTo>
                  <a:pt x="259" y="556"/>
                </a:lnTo>
                <a:lnTo>
                  <a:pt x="281" y="559"/>
                </a:lnTo>
                <a:lnTo>
                  <a:pt x="313" y="632"/>
                </a:lnTo>
                <a:lnTo>
                  <a:pt x="313" y="632"/>
                </a:lnTo>
                <a:lnTo>
                  <a:pt x="333" y="631"/>
                </a:lnTo>
                <a:lnTo>
                  <a:pt x="354" y="629"/>
                </a:lnTo>
                <a:lnTo>
                  <a:pt x="356" y="629"/>
                </a:lnTo>
                <a:lnTo>
                  <a:pt x="356" y="629"/>
                </a:lnTo>
                <a:lnTo>
                  <a:pt x="376" y="625"/>
                </a:lnTo>
                <a:lnTo>
                  <a:pt x="395" y="620"/>
                </a:lnTo>
                <a:lnTo>
                  <a:pt x="406" y="542"/>
                </a:lnTo>
                <a:lnTo>
                  <a:pt x="406" y="542"/>
                </a:lnTo>
                <a:lnTo>
                  <a:pt x="426" y="532"/>
                </a:lnTo>
                <a:lnTo>
                  <a:pt x="445" y="522"/>
                </a:lnTo>
                <a:lnTo>
                  <a:pt x="516" y="556"/>
                </a:lnTo>
                <a:lnTo>
                  <a:pt x="516" y="556"/>
                </a:lnTo>
                <a:lnTo>
                  <a:pt x="531" y="542"/>
                </a:lnTo>
                <a:lnTo>
                  <a:pt x="546" y="527"/>
                </a:lnTo>
                <a:lnTo>
                  <a:pt x="559" y="512"/>
                </a:lnTo>
                <a:lnTo>
                  <a:pt x="572" y="495"/>
                </a:lnTo>
                <a:lnTo>
                  <a:pt x="530" y="427"/>
                </a:lnTo>
                <a:lnTo>
                  <a:pt x="530" y="427"/>
                </a:lnTo>
                <a:lnTo>
                  <a:pt x="538" y="408"/>
                </a:lnTo>
                <a:lnTo>
                  <a:pt x="546" y="388"/>
                </a:lnTo>
                <a:lnTo>
                  <a:pt x="623" y="368"/>
                </a:lnTo>
                <a:lnTo>
                  <a:pt x="623" y="368"/>
                </a:lnTo>
                <a:lnTo>
                  <a:pt x="625" y="347"/>
                </a:lnTo>
                <a:lnTo>
                  <a:pt x="627" y="326"/>
                </a:lnTo>
                <a:lnTo>
                  <a:pt x="627" y="306"/>
                </a:lnTo>
                <a:lnTo>
                  <a:pt x="625" y="286"/>
                </a:lnTo>
                <a:lnTo>
                  <a:pt x="550" y="260"/>
                </a:lnTo>
                <a:lnTo>
                  <a:pt x="550" y="260"/>
                </a:lnTo>
                <a:lnTo>
                  <a:pt x="545" y="240"/>
                </a:lnTo>
                <a:lnTo>
                  <a:pt x="537" y="219"/>
                </a:lnTo>
                <a:lnTo>
                  <a:pt x="583" y="155"/>
                </a:lnTo>
                <a:lnTo>
                  <a:pt x="583" y="155"/>
                </a:lnTo>
                <a:lnTo>
                  <a:pt x="573" y="138"/>
                </a:lnTo>
                <a:lnTo>
                  <a:pt x="560" y="121"/>
                </a:lnTo>
                <a:lnTo>
                  <a:pt x="547" y="106"/>
                </a:lnTo>
                <a:lnTo>
                  <a:pt x="533" y="91"/>
                </a:lnTo>
                <a:lnTo>
                  <a:pt x="459" y="119"/>
                </a:lnTo>
                <a:lnTo>
                  <a:pt x="459" y="119"/>
                </a:lnTo>
                <a:lnTo>
                  <a:pt x="441" y="108"/>
                </a:lnTo>
                <a:lnTo>
                  <a:pt x="423" y="97"/>
                </a:lnTo>
                <a:lnTo>
                  <a:pt x="416" y="18"/>
                </a:lnTo>
                <a:lnTo>
                  <a:pt x="416" y="18"/>
                </a:lnTo>
                <a:lnTo>
                  <a:pt x="397" y="11"/>
                </a:lnTo>
                <a:lnTo>
                  <a:pt x="376" y="6"/>
                </a:lnTo>
                <a:lnTo>
                  <a:pt x="376" y="6"/>
                </a:lnTo>
                <a:lnTo>
                  <a:pt x="356" y="3"/>
                </a:lnTo>
                <a:lnTo>
                  <a:pt x="336" y="0"/>
                </a:lnTo>
                <a:lnTo>
                  <a:pt x="298" y="70"/>
                </a:lnTo>
                <a:lnTo>
                  <a:pt x="298" y="70"/>
                </a:lnTo>
                <a:lnTo>
                  <a:pt x="277" y="72"/>
                </a:lnTo>
                <a:lnTo>
                  <a:pt x="256" y="77"/>
                </a:lnTo>
                <a:lnTo>
                  <a:pt x="200" y="20"/>
                </a:lnTo>
                <a:lnTo>
                  <a:pt x="200" y="20"/>
                </a:lnTo>
                <a:lnTo>
                  <a:pt x="181" y="27"/>
                </a:lnTo>
                <a:lnTo>
                  <a:pt x="163" y="36"/>
                </a:lnTo>
                <a:lnTo>
                  <a:pt x="145" y="47"/>
                </a:lnTo>
                <a:lnTo>
                  <a:pt x="128" y="58"/>
                </a:lnTo>
                <a:lnTo>
                  <a:pt x="144" y="136"/>
                </a:lnTo>
                <a:lnTo>
                  <a:pt x="144" y="136"/>
                </a:lnTo>
                <a:lnTo>
                  <a:pt x="129" y="151"/>
                </a:lnTo>
                <a:lnTo>
                  <a:pt x="115" y="168"/>
                </a:lnTo>
                <a:lnTo>
                  <a:pt x="35" y="160"/>
                </a:lnTo>
                <a:lnTo>
                  <a:pt x="35" y="160"/>
                </a:lnTo>
                <a:lnTo>
                  <a:pt x="26" y="177"/>
                </a:lnTo>
                <a:lnTo>
                  <a:pt x="18" y="197"/>
                </a:lnTo>
                <a:lnTo>
                  <a:pt x="11" y="216"/>
                </a:lnTo>
                <a:lnTo>
                  <a:pt x="5" y="236"/>
                </a:lnTo>
                <a:lnTo>
                  <a:pt x="67" y="286"/>
                </a:lnTo>
                <a:lnTo>
                  <a:pt x="67" y="286"/>
                </a:lnTo>
                <a:lnTo>
                  <a:pt x="65" y="307"/>
                </a:lnTo>
                <a:lnTo>
                  <a:pt x="65" y="329"/>
                </a:lnTo>
                <a:lnTo>
                  <a:pt x="0" y="373"/>
                </a:lnTo>
                <a:lnTo>
                  <a:pt x="0" y="373"/>
                </a:lnTo>
                <a:lnTo>
                  <a:pt x="4" y="393"/>
                </a:lnTo>
                <a:lnTo>
                  <a:pt x="10" y="413"/>
                </a:lnTo>
                <a:lnTo>
                  <a:pt x="17" y="433"/>
                </a:lnTo>
                <a:lnTo>
                  <a:pt x="26" y="451"/>
                </a:lnTo>
                <a:lnTo>
                  <a:pt x="105" y="449"/>
                </a:lnTo>
                <a:lnTo>
                  <a:pt x="105" y="449"/>
                </a:lnTo>
                <a:lnTo>
                  <a:pt x="117" y="467"/>
                </a:lnTo>
                <a:lnTo>
                  <a:pt x="131" y="483"/>
                </a:lnTo>
                <a:lnTo>
                  <a:pt x="109" y="559"/>
                </a:lnTo>
                <a:lnTo>
                  <a:pt x="109" y="559"/>
                </a:lnTo>
                <a:lnTo>
                  <a:pt x="125" y="571"/>
                </a:lnTo>
                <a:lnTo>
                  <a:pt x="141" y="583"/>
                </a:lnTo>
                <a:lnTo>
                  <a:pt x="144" y="584"/>
                </a:lnTo>
                <a:lnTo>
                  <a:pt x="144" y="584"/>
                </a:lnTo>
                <a:lnTo>
                  <a:pt x="162" y="595"/>
                </a:lnTo>
                <a:lnTo>
                  <a:pt x="179" y="603"/>
                </a:lnTo>
                <a:lnTo>
                  <a:pt x="239" y="551"/>
                </a:lnTo>
                <a:lnTo>
                  <a:pt x="239" y="551"/>
                </a:lnTo>
                <a:lnTo>
                  <a:pt x="259" y="556"/>
                </a:lnTo>
                <a:lnTo>
                  <a:pt x="274" y="484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260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2B3182"/>
              </a:solidFill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598241" y="816199"/>
            <a:ext cx="2020141" cy="284693"/>
          </a:xfrm>
          <a:prstGeom prst="rect">
            <a:avLst/>
          </a:prstGeom>
          <a:solidFill>
            <a:srgbClr val="FFFF00"/>
          </a:solidFill>
        </p:spPr>
        <p:txBody>
          <a:bodyPr wrap="square" lIns="68580" tIns="34290" rIns="68580" bIns="34290" rtlCol="0">
            <a:spAutoFit/>
          </a:bodyPr>
          <a:lstStyle/>
          <a:p>
            <a:pPr defTabSz="457007" fontAlgn="auto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E9B837"/>
                </a:solidFill>
                <a:latin typeface="Arial"/>
                <a:ea typeface="ＭＳ Ｐゴシック" pitchFamily="34" charset="-128"/>
                <a:cs typeface="+mn-cs"/>
              </a:rPr>
              <a:t>Roadside &amp; Vehicles</a:t>
            </a:r>
            <a:endParaRPr lang="en-US" sz="1400" b="1" dirty="0">
              <a:solidFill>
                <a:srgbClr val="E9B837"/>
              </a:solidFill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539" name="TextBox 538"/>
          <p:cNvSpPr txBox="1"/>
          <p:nvPr/>
        </p:nvSpPr>
        <p:spPr>
          <a:xfrm>
            <a:off x="2598239" y="1867817"/>
            <a:ext cx="1972734" cy="284693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wrap="square" lIns="68580" tIns="34290" rIns="68580" bIns="34290" rtlCol="0">
            <a:spAutoFit/>
          </a:bodyPr>
          <a:lstStyle/>
          <a:p>
            <a:pPr defTabSz="457007" fontAlgn="auto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3DA649"/>
                </a:solidFill>
                <a:latin typeface="Arial"/>
                <a:ea typeface="ＭＳ Ｐゴシック" pitchFamily="34" charset="-128"/>
                <a:cs typeface="+mn-cs"/>
              </a:rPr>
              <a:t>Hub Areas</a:t>
            </a:r>
            <a:endParaRPr lang="en-US" sz="1400" b="1" dirty="0">
              <a:solidFill>
                <a:srgbClr val="3DA649"/>
              </a:solidFill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540" name="TextBox 539"/>
          <p:cNvSpPr txBox="1"/>
          <p:nvPr/>
        </p:nvSpPr>
        <p:spPr>
          <a:xfrm>
            <a:off x="2598239" y="2112698"/>
            <a:ext cx="2119486" cy="607859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marL="112713" indent="-112713" defTabSz="457007" fontAlgn="auto">
              <a:spcBef>
                <a:spcPts val="0"/>
              </a:spcBef>
              <a:spcAft>
                <a:spcPts val="300"/>
              </a:spcAft>
              <a:buFont typeface="Arial"/>
              <a:buChar char="•"/>
            </a:pPr>
            <a:r>
              <a:rPr lang="en-US" sz="1000" dirty="0" smtClean="0">
                <a:solidFill>
                  <a:srgbClr val="FFFFFF">
                    <a:lumMod val="50000"/>
                  </a:srgbClr>
                </a:solidFill>
                <a:latin typeface="Arial"/>
                <a:ea typeface="ＭＳ Ｐゴシック" pitchFamily="34" charset="-128"/>
                <a:cs typeface="+mn-cs"/>
              </a:rPr>
              <a:t>Fog Node</a:t>
            </a:r>
          </a:p>
          <a:p>
            <a:pPr marL="112713" indent="-112713" defTabSz="457007" fontAlgn="auto">
              <a:spcBef>
                <a:spcPts val="0"/>
              </a:spcBef>
              <a:spcAft>
                <a:spcPts val="300"/>
              </a:spcAft>
              <a:buFont typeface="Arial"/>
              <a:buChar char="•"/>
            </a:pPr>
            <a:r>
              <a:rPr lang="en-US" sz="1000" dirty="0" smtClean="0">
                <a:solidFill>
                  <a:srgbClr val="FFFFFF">
                    <a:lumMod val="50000"/>
                  </a:srgbClr>
                </a:solidFill>
                <a:latin typeface="Arial"/>
                <a:ea typeface="ＭＳ Ｐゴシック" pitchFamily="34" charset="-128"/>
                <a:cs typeface="+mn-cs"/>
              </a:rPr>
              <a:t>Real-Time Dashboards</a:t>
            </a:r>
          </a:p>
          <a:p>
            <a:pPr marL="112713" indent="-112713" defTabSz="457007" fontAlgn="auto">
              <a:spcBef>
                <a:spcPts val="0"/>
              </a:spcBef>
              <a:spcAft>
                <a:spcPts val="300"/>
              </a:spcAft>
              <a:buFont typeface="Arial"/>
              <a:buChar char="•"/>
            </a:pPr>
            <a:r>
              <a:rPr lang="en-US" sz="1000" dirty="0" smtClean="0">
                <a:solidFill>
                  <a:srgbClr val="FFFFFF">
                    <a:lumMod val="50000"/>
                  </a:srgbClr>
                </a:solidFill>
                <a:latin typeface="Arial"/>
                <a:ea typeface="ＭＳ Ｐゴシック" pitchFamily="34" charset="-128"/>
                <a:cs typeface="+mn-cs"/>
              </a:rPr>
              <a:t>Alerting</a:t>
            </a:r>
            <a:endParaRPr lang="en-US" sz="1000" dirty="0">
              <a:solidFill>
                <a:srgbClr val="FFFFFF">
                  <a:lumMod val="50000"/>
                </a:srgbClr>
              </a:solidFill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541" name="TextBox 540"/>
          <p:cNvSpPr txBox="1"/>
          <p:nvPr/>
        </p:nvSpPr>
        <p:spPr>
          <a:xfrm>
            <a:off x="2598239" y="1036057"/>
            <a:ext cx="1655620" cy="607859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marL="112713" indent="-112713" defTabSz="457007" fontAlgn="auto">
              <a:spcBef>
                <a:spcPts val="0"/>
              </a:spcBef>
              <a:spcAft>
                <a:spcPts val="300"/>
              </a:spcAft>
              <a:buFont typeface="Arial"/>
              <a:buChar char="•"/>
            </a:pPr>
            <a:r>
              <a:rPr lang="en-US" sz="1000" dirty="0" smtClean="0">
                <a:solidFill>
                  <a:srgbClr val="FFFFFF">
                    <a:lumMod val="50000"/>
                  </a:srgbClr>
                </a:solidFill>
                <a:latin typeface="Arial"/>
                <a:ea typeface="ＭＳ Ｐゴシック" pitchFamily="34" charset="-128"/>
                <a:cs typeface="+mn-cs"/>
              </a:rPr>
              <a:t>Sensors</a:t>
            </a:r>
          </a:p>
          <a:p>
            <a:pPr marL="112713" indent="-112713" defTabSz="457007" fontAlgn="auto">
              <a:spcBef>
                <a:spcPts val="0"/>
              </a:spcBef>
              <a:spcAft>
                <a:spcPts val="300"/>
              </a:spcAft>
              <a:buFont typeface="Arial"/>
              <a:buChar char="•"/>
            </a:pPr>
            <a:r>
              <a:rPr lang="en-US" sz="1000" dirty="0" smtClean="0">
                <a:solidFill>
                  <a:srgbClr val="FFFFFF">
                    <a:lumMod val="50000"/>
                  </a:srgbClr>
                </a:solidFill>
                <a:latin typeface="Arial"/>
                <a:ea typeface="ＭＳ Ｐゴシック" pitchFamily="34" charset="-128"/>
                <a:cs typeface="+mn-cs"/>
              </a:rPr>
              <a:t>Devices</a:t>
            </a:r>
          </a:p>
          <a:p>
            <a:pPr marL="112713" indent="-112713" defTabSz="457007" fontAlgn="auto">
              <a:spcBef>
                <a:spcPts val="0"/>
              </a:spcBef>
              <a:spcAft>
                <a:spcPts val="300"/>
              </a:spcAft>
              <a:buFont typeface="Arial"/>
              <a:buChar char="•"/>
            </a:pPr>
            <a:r>
              <a:rPr lang="en-US" sz="1000" dirty="0" smtClean="0">
                <a:solidFill>
                  <a:srgbClr val="FFFFFF">
                    <a:lumMod val="50000"/>
                  </a:srgbClr>
                </a:solidFill>
                <a:latin typeface="Arial"/>
                <a:ea typeface="ＭＳ Ｐゴシック" pitchFamily="34" charset="-128"/>
                <a:cs typeface="+mn-cs"/>
              </a:rPr>
              <a:t>Edge Analytics</a:t>
            </a:r>
            <a:endParaRPr lang="en-US" sz="1000" dirty="0">
              <a:solidFill>
                <a:srgbClr val="FFFFFF">
                  <a:lumMod val="50000"/>
                </a:srgbClr>
              </a:solidFill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543" name="TextBox 542"/>
          <p:cNvSpPr txBox="1"/>
          <p:nvPr/>
        </p:nvSpPr>
        <p:spPr>
          <a:xfrm>
            <a:off x="2572849" y="3996922"/>
            <a:ext cx="2346977" cy="284693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wrap="square" lIns="68580" tIns="34290" rIns="68580" bIns="34290" rtlCol="0">
            <a:spAutoFit/>
          </a:bodyPr>
          <a:lstStyle/>
          <a:p>
            <a:pPr defTabSz="457007" fontAlgn="auto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33C2CC"/>
                </a:solidFill>
                <a:latin typeface="Arial"/>
                <a:ea typeface="ＭＳ Ｐゴシック" pitchFamily="34" charset="-128"/>
                <a:cs typeface="+mn-cs"/>
              </a:rPr>
              <a:t>Operational Cloud</a:t>
            </a:r>
            <a:endParaRPr lang="en-US" sz="1400" b="1" dirty="0">
              <a:solidFill>
                <a:srgbClr val="33C2CC"/>
              </a:solidFill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544" name="TextBox 543"/>
          <p:cNvSpPr txBox="1"/>
          <p:nvPr/>
        </p:nvSpPr>
        <p:spPr>
          <a:xfrm>
            <a:off x="2598239" y="4259737"/>
            <a:ext cx="2354156" cy="607859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marL="112713" indent="-112713" defTabSz="457007" fontAlgn="auto">
              <a:spcBef>
                <a:spcPts val="0"/>
              </a:spcBef>
              <a:spcAft>
                <a:spcPts val="300"/>
              </a:spcAft>
              <a:buFont typeface="Arial"/>
              <a:buChar char="•"/>
            </a:pPr>
            <a:r>
              <a:rPr lang="en-US" sz="1000" dirty="0" smtClean="0">
                <a:solidFill>
                  <a:srgbClr val="FFFFFF">
                    <a:lumMod val="50000"/>
                  </a:srgbClr>
                </a:solidFill>
                <a:latin typeface="Arial"/>
                <a:ea typeface="ＭＳ Ｐゴシック" pitchFamily="34" charset="-128"/>
                <a:cs typeface="+mn-cs"/>
              </a:rPr>
              <a:t>HPC &amp; DV</a:t>
            </a:r>
          </a:p>
          <a:p>
            <a:pPr marL="112713" indent="-112713" defTabSz="457007" fontAlgn="auto">
              <a:spcBef>
                <a:spcPts val="0"/>
              </a:spcBef>
              <a:spcAft>
                <a:spcPts val="300"/>
              </a:spcAft>
              <a:buFont typeface="Arial"/>
              <a:buChar char="•"/>
            </a:pPr>
            <a:r>
              <a:rPr lang="en-US" sz="1000" dirty="0" smtClean="0">
                <a:solidFill>
                  <a:srgbClr val="FFFFFF">
                    <a:lumMod val="50000"/>
                  </a:srgbClr>
                </a:solidFill>
                <a:latin typeface="Arial"/>
                <a:ea typeface="ＭＳ Ｐゴシック" pitchFamily="34" charset="-128"/>
                <a:cs typeface="+mn-cs"/>
              </a:rPr>
              <a:t>Data Mining &amp; Modeling</a:t>
            </a:r>
          </a:p>
          <a:p>
            <a:pPr marL="112713" indent="-112713" defTabSz="457007" fontAlgn="auto">
              <a:spcBef>
                <a:spcPts val="0"/>
              </a:spcBef>
              <a:spcAft>
                <a:spcPts val="300"/>
              </a:spcAft>
              <a:buFont typeface="Arial"/>
              <a:buChar char="•"/>
            </a:pPr>
            <a:r>
              <a:rPr lang="en-US" sz="1000" dirty="0" smtClean="0">
                <a:solidFill>
                  <a:srgbClr val="FFFFFF">
                    <a:lumMod val="50000"/>
                  </a:srgbClr>
                </a:solidFill>
                <a:latin typeface="Arial"/>
                <a:ea typeface="ＭＳ Ｐゴシック" pitchFamily="34" charset="-128"/>
                <a:cs typeface="+mn-cs"/>
              </a:rPr>
              <a:t>Inter-Cloud Data Lake</a:t>
            </a:r>
            <a:endParaRPr lang="en-US" sz="1000" dirty="0">
              <a:solidFill>
                <a:srgbClr val="FFFFFF">
                  <a:lumMod val="50000"/>
                </a:srgbClr>
              </a:solidFill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579825" y="2931160"/>
            <a:ext cx="1991162" cy="284693"/>
          </a:xfrm>
          <a:prstGeom prst="rect">
            <a:avLst/>
          </a:prstGeom>
          <a:solidFill>
            <a:srgbClr val="FFFF00"/>
          </a:solidFill>
        </p:spPr>
        <p:txBody>
          <a:bodyPr wrap="square" lIns="68580" tIns="34290" rIns="68580" bIns="34290" rtlCol="0">
            <a:spAutoFit/>
          </a:bodyPr>
          <a:lstStyle/>
          <a:p>
            <a:pPr defTabSz="457007" fontAlgn="auto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A3DE"/>
                </a:solidFill>
                <a:latin typeface="Arial"/>
                <a:ea typeface="ＭＳ Ｐゴシック" pitchFamily="34" charset="-128"/>
                <a:cs typeface="+mn-cs"/>
              </a:rPr>
              <a:t>TMC</a:t>
            </a:r>
            <a:endParaRPr lang="en-US" sz="1400" b="1" dirty="0">
              <a:solidFill>
                <a:srgbClr val="00A3DE"/>
              </a:solidFill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542" name="TextBox 541"/>
          <p:cNvSpPr txBox="1"/>
          <p:nvPr/>
        </p:nvSpPr>
        <p:spPr>
          <a:xfrm>
            <a:off x="2598253" y="3159371"/>
            <a:ext cx="2119486" cy="607859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marL="112713" indent="-112713" defTabSz="457007" fontAlgn="auto">
              <a:spcBef>
                <a:spcPts val="0"/>
              </a:spcBef>
              <a:spcAft>
                <a:spcPts val="300"/>
              </a:spcAft>
              <a:buFont typeface="Arial"/>
              <a:buChar char="•"/>
            </a:pPr>
            <a:r>
              <a:rPr lang="en-US" sz="1000" dirty="0" smtClean="0">
                <a:solidFill>
                  <a:srgbClr val="FFFFFF">
                    <a:lumMod val="50000"/>
                  </a:srgbClr>
                </a:solidFill>
                <a:latin typeface="Arial"/>
                <a:ea typeface="ＭＳ Ｐゴシック" pitchFamily="34" charset="-128"/>
                <a:cs typeface="+mn-cs"/>
              </a:rPr>
              <a:t>Fog Aggregation Nodes</a:t>
            </a:r>
          </a:p>
          <a:p>
            <a:pPr marL="112713" indent="-112713" defTabSz="457007" fontAlgn="auto">
              <a:spcBef>
                <a:spcPts val="0"/>
              </a:spcBef>
              <a:spcAft>
                <a:spcPts val="300"/>
              </a:spcAft>
              <a:buFont typeface="Arial"/>
              <a:buChar char="•"/>
            </a:pPr>
            <a:r>
              <a:rPr lang="en-US" sz="1000" dirty="0" smtClean="0">
                <a:solidFill>
                  <a:srgbClr val="FFFFFF">
                    <a:lumMod val="50000"/>
                  </a:srgbClr>
                </a:solidFill>
                <a:latin typeface="Arial"/>
                <a:ea typeface="ＭＳ Ｐゴシック" pitchFamily="34" charset="-128"/>
                <a:cs typeface="+mn-cs"/>
              </a:rPr>
              <a:t>Roadway History &amp; Trends</a:t>
            </a:r>
          </a:p>
          <a:p>
            <a:pPr marL="112713" indent="-112713" defTabSz="457007" fontAlgn="auto">
              <a:spcBef>
                <a:spcPts val="0"/>
              </a:spcBef>
              <a:spcAft>
                <a:spcPts val="300"/>
              </a:spcAft>
              <a:buFont typeface="Arial"/>
              <a:buChar char="•"/>
            </a:pPr>
            <a:r>
              <a:rPr lang="en-US" sz="1000" dirty="0" smtClean="0">
                <a:solidFill>
                  <a:srgbClr val="FFFFFF">
                    <a:lumMod val="50000"/>
                  </a:srgbClr>
                </a:solidFill>
                <a:latin typeface="Arial"/>
                <a:ea typeface="ＭＳ Ｐゴシック" pitchFamily="34" charset="-128"/>
                <a:cs typeface="+mn-cs"/>
              </a:rPr>
              <a:t>Reports &amp; Dashboards</a:t>
            </a:r>
            <a:endParaRPr lang="en-US" sz="1000" dirty="0">
              <a:solidFill>
                <a:srgbClr val="FFFFFF">
                  <a:lumMod val="50000"/>
                </a:srgbClr>
              </a:solidFill>
              <a:latin typeface="Arial"/>
              <a:ea typeface="ＭＳ Ｐゴシック" pitchFamily="34" charset="-128"/>
              <a:cs typeface="+mn-cs"/>
            </a:endParaRPr>
          </a:p>
        </p:txBody>
      </p:sp>
      <p:pic>
        <p:nvPicPr>
          <p:cNvPr id="641" name="Picture 640" descr="Capture.PN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9916" y="2881569"/>
            <a:ext cx="1016343" cy="945726"/>
          </a:xfrm>
          <a:prstGeom prst="rect">
            <a:avLst/>
          </a:prstGeom>
        </p:spPr>
      </p:pic>
      <p:pic>
        <p:nvPicPr>
          <p:cNvPr id="642" name="Picture 64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356" y="1862882"/>
            <a:ext cx="946481" cy="877002"/>
          </a:xfrm>
          <a:prstGeom prst="rect">
            <a:avLst/>
          </a:prstGeom>
        </p:spPr>
      </p:pic>
      <p:pic>
        <p:nvPicPr>
          <p:cNvPr id="904" name="Picture 903" descr="Capture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2430" y="3943427"/>
            <a:ext cx="1253127" cy="959406"/>
          </a:xfrm>
          <a:prstGeom prst="rect">
            <a:avLst/>
          </a:prstGeom>
        </p:spPr>
      </p:pic>
      <p:sp>
        <p:nvSpPr>
          <p:cNvPr id="2582" name="Title 2581"/>
          <p:cNvSpPr>
            <a:spLocks noGrp="1"/>
          </p:cNvSpPr>
          <p:nvPr>
            <p:ph type="title"/>
          </p:nvPr>
        </p:nvSpPr>
        <p:spPr>
          <a:xfrm>
            <a:off x="356616" y="149047"/>
            <a:ext cx="8787384" cy="434974"/>
          </a:xfrm>
        </p:spPr>
        <p:txBody>
          <a:bodyPr/>
          <a:lstStyle/>
          <a:p>
            <a:r>
              <a:rPr lang="en-US" sz="2200" dirty="0" smtClean="0"/>
              <a:t>Focus Areas</a:t>
            </a:r>
            <a:br>
              <a:rPr lang="en-US" sz="2200" dirty="0" smtClean="0"/>
            </a:br>
            <a:r>
              <a:rPr lang="en-US" sz="2200" dirty="0" smtClean="0"/>
              <a:t>Roadway </a:t>
            </a:r>
            <a:r>
              <a:rPr lang="en-US" sz="2200" dirty="0" smtClean="0"/>
              <a:t>Monitoring, Maintenance &amp; Safety Automation</a:t>
            </a:r>
            <a:endParaRPr lang="en-US" sz="2200" dirty="0"/>
          </a:p>
        </p:txBody>
      </p:sp>
      <p:sp>
        <p:nvSpPr>
          <p:cNvPr id="917" name="Freeform 31"/>
          <p:cNvSpPr>
            <a:spLocks/>
          </p:cNvSpPr>
          <p:nvPr/>
        </p:nvSpPr>
        <p:spPr bwMode="auto">
          <a:xfrm>
            <a:off x="2043547" y="1084229"/>
            <a:ext cx="209307" cy="214357"/>
          </a:xfrm>
          <a:custGeom>
            <a:avLst/>
            <a:gdLst>
              <a:gd name="T0" fmla="*/ 143 w 158"/>
              <a:gd name="T1" fmla="*/ 162 h 162"/>
              <a:gd name="T2" fmla="*/ 130 w 158"/>
              <a:gd name="T3" fmla="*/ 148 h 162"/>
              <a:gd name="T4" fmla="*/ 92 w 158"/>
              <a:gd name="T5" fmla="*/ 65 h 162"/>
              <a:gd name="T6" fmla="*/ 13 w 158"/>
              <a:gd name="T7" fmla="*/ 27 h 162"/>
              <a:gd name="T8" fmla="*/ 0 w 158"/>
              <a:gd name="T9" fmla="*/ 15 h 162"/>
              <a:gd name="T10" fmla="*/ 4 w 158"/>
              <a:gd name="T11" fmla="*/ 4 h 162"/>
              <a:gd name="T12" fmla="*/ 14 w 158"/>
              <a:gd name="T13" fmla="*/ 0 h 162"/>
              <a:gd name="T14" fmla="*/ 16 w 158"/>
              <a:gd name="T15" fmla="*/ 0 h 162"/>
              <a:gd name="T16" fmla="*/ 111 w 158"/>
              <a:gd name="T17" fmla="*/ 45 h 162"/>
              <a:gd name="T18" fmla="*/ 157 w 158"/>
              <a:gd name="T19" fmla="*/ 147 h 162"/>
              <a:gd name="T20" fmla="*/ 154 w 158"/>
              <a:gd name="T21" fmla="*/ 157 h 162"/>
              <a:gd name="T22" fmla="*/ 143 w 158"/>
              <a:gd name="T23" fmla="*/ 162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58" h="162">
                <a:moveTo>
                  <a:pt x="143" y="162"/>
                </a:moveTo>
                <a:cubicBezTo>
                  <a:pt x="136" y="162"/>
                  <a:pt x="130" y="156"/>
                  <a:pt x="130" y="148"/>
                </a:cubicBezTo>
                <a:cubicBezTo>
                  <a:pt x="127" y="117"/>
                  <a:pt x="114" y="87"/>
                  <a:pt x="92" y="65"/>
                </a:cubicBezTo>
                <a:cubicBezTo>
                  <a:pt x="70" y="44"/>
                  <a:pt x="43" y="30"/>
                  <a:pt x="13" y="27"/>
                </a:cubicBezTo>
                <a:cubicBezTo>
                  <a:pt x="6" y="27"/>
                  <a:pt x="1" y="21"/>
                  <a:pt x="0" y="15"/>
                </a:cubicBezTo>
                <a:cubicBezTo>
                  <a:pt x="0" y="11"/>
                  <a:pt x="1" y="7"/>
                  <a:pt x="4" y="4"/>
                </a:cubicBezTo>
                <a:cubicBezTo>
                  <a:pt x="7" y="1"/>
                  <a:pt x="10" y="0"/>
                  <a:pt x="14" y="0"/>
                </a:cubicBezTo>
                <a:cubicBezTo>
                  <a:pt x="15" y="0"/>
                  <a:pt x="15" y="0"/>
                  <a:pt x="16" y="0"/>
                </a:cubicBezTo>
                <a:cubicBezTo>
                  <a:pt x="52" y="3"/>
                  <a:pt x="86" y="20"/>
                  <a:pt x="111" y="45"/>
                </a:cubicBezTo>
                <a:cubicBezTo>
                  <a:pt x="138" y="72"/>
                  <a:pt x="155" y="109"/>
                  <a:pt x="157" y="147"/>
                </a:cubicBezTo>
                <a:cubicBezTo>
                  <a:pt x="158" y="151"/>
                  <a:pt x="156" y="154"/>
                  <a:pt x="154" y="157"/>
                </a:cubicBezTo>
                <a:cubicBezTo>
                  <a:pt x="151" y="160"/>
                  <a:pt x="147" y="162"/>
                  <a:pt x="143" y="16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0000"/>
              </a:solidFill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918" name="Freeform 32"/>
          <p:cNvSpPr>
            <a:spLocks/>
          </p:cNvSpPr>
          <p:nvPr/>
        </p:nvSpPr>
        <p:spPr bwMode="auto">
          <a:xfrm>
            <a:off x="2023346" y="987151"/>
            <a:ext cx="324903" cy="322097"/>
          </a:xfrm>
          <a:custGeom>
            <a:avLst/>
            <a:gdLst>
              <a:gd name="T0" fmla="*/ 231 w 245"/>
              <a:gd name="T1" fmla="*/ 243 h 243"/>
              <a:gd name="T2" fmla="*/ 217 w 245"/>
              <a:gd name="T3" fmla="*/ 230 h 243"/>
              <a:gd name="T4" fmla="*/ 155 w 245"/>
              <a:gd name="T5" fmla="*/ 89 h 243"/>
              <a:gd name="T6" fmla="*/ 13 w 245"/>
              <a:gd name="T7" fmla="*/ 28 h 243"/>
              <a:gd name="T8" fmla="*/ 0 w 245"/>
              <a:gd name="T9" fmla="*/ 15 h 243"/>
              <a:gd name="T10" fmla="*/ 4 w 245"/>
              <a:gd name="T11" fmla="*/ 4 h 243"/>
              <a:gd name="T12" fmla="*/ 14 w 245"/>
              <a:gd name="T13" fmla="*/ 0 h 243"/>
              <a:gd name="T14" fmla="*/ 15 w 245"/>
              <a:gd name="T15" fmla="*/ 0 h 243"/>
              <a:gd name="T16" fmla="*/ 175 w 245"/>
              <a:gd name="T17" fmla="*/ 69 h 243"/>
              <a:gd name="T18" fmla="*/ 245 w 245"/>
              <a:gd name="T19" fmla="*/ 229 h 243"/>
              <a:gd name="T20" fmla="*/ 241 w 245"/>
              <a:gd name="T21" fmla="*/ 239 h 243"/>
              <a:gd name="T22" fmla="*/ 231 w 245"/>
              <a:gd name="T23" fmla="*/ 243 h 2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45" h="243">
                <a:moveTo>
                  <a:pt x="231" y="243"/>
                </a:moveTo>
                <a:cubicBezTo>
                  <a:pt x="223" y="243"/>
                  <a:pt x="217" y="238"/>
                  <a:pt x="217" y="230"/>
                </a:cubicBezTo>
                <a:cubicBezTo>
                  <a:pt x="215" y="177"/>
                  <a:pt x="193" y="127"/>
                  <a:pt x="155" y="89"/>
                </a:cubicBezTo>
                <a:cubicBezTo>
                  <a:pt x="117" y="51"/>
                  <a:pt x="67" y="29"/>
                  <a:pt x="13" y="28"/>
                </a:cubicBezTo>
                <a:cubicBezTo>
                  <a:pt x="7" y="27"/>
                  <a:pt x="1" y="22"/>
                  <a:pt x="0" y="15"/>
                </a:cubicBezTo>
                <a:cubicBezTo>
                  <a:pt x="0" y="11"/>
                  <a:pt x="1" y="7"/>
                  <a:pt x="4" y="4"/>
                </a:cubicBezTo>
                <a:cubicBezTo>
                  <a:pt x="7" y="1"/>
                  <a:pt x="10" y="0"/>
                  <a:pt x="14" y="0"/>
                </a:cubicBezTo>
                <a:cubicBezTo>
                  <a:pt x="15" y="0"/>
                  <a:pt x="15" y="0"/>
                  <a:pt x="15" y="0"/>
                </a:cubicBezTo>
                <a:cubicBezTo>
                  <a:pt x="75" y="2"/>
                  <a:pt x="132" y="27"/>
                  <a:pt x="175" y="69"/>
                </a:cubicBezTo>
                <a:cubicBezTo>
                  <a:pt x="217" y="112"/>
                  <a:pt x="242" y="168"/>
                  <a:pt x="245" y="229"/>
                </a:cubicBezTo>
                <a:cubicBezTo>
                  <a:pt x="245" y="233"/>
                  <a:pt x="243" y="236"/>
                  <a:pt x="241" y="239"/>
                </a:cubicBezTo>
                <a:cubicBezTo>
                  <a:pt x="238" y="242"/>
                  <a:pt x="234" y="243"/>
                  <a:pt x="231" y="24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0000"/>
              </a:solidFill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919" name="Freeform 33"/>
          <p:cNvSpPr>
            <a:spLocks/>
          </p:cNvSpPr>
          <p:nvPr/>
        </p:nvSpPr>
        <p:spPr bwMode="auto">
          <a:xfrm>
            <a:off x="1875204" y="1166156"/>
            <a:ext cx="280572" cy="281134"/>
          </a:xfrm>
          <a:custGeom>
            <a:avLst/>
            <a:gdLst>
              <a:gd name="T0" fmla="*/ 212 w 212"/>
              <a:gd name="T1" fmla="*/ 212 h 212"/>
              <a:gd name="T2" fmla="*/ 0 w 212"/>
              <a:gd name="T3" fmla="*/ 212 h 212"/>
              <a:gd name="T4" fmla="*/ 0 w 212"/>
              <a:gd name="T5" fmla="*/ 106 h 212"/>
              <a:gd name="T6" fmla="*/ 106 w 212"/>
              <a:gd name="T7" fmla="*/ 0 h 212"/>
              <a:gd name="T8" fmla="*/ 106 w 212"/>
              <a:gd name="T9" fmla="*/ 0 h 212"/>
              <a:gd name="T10" fmla="*/ 212 w 212"/>
              <a:gd name="T11" fmla="*/ 106 h 212"/>
              <a:gd name="T12" fmla="*/ 212 w 212"/>
              <a:gd name="T13" fmla="*/ 212 h 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12" h="212">
                <a:moveTo>
                  <a:pt x="212" y="212"/>
                </a:moveTo>
                <a:cubicBezTo>
                  <a:pt x="0" y="212"/>
                  <a:pt x="0" y="212"/>
                  <a:pt x="0" y="212"/>
                </a:cubicBezTo>
                <a:cubicBezTo>
                  <a:pt x="0" y="106"/>
                  <a:pt x="0" y="106"/>
                  <a:pt x="0" y="106"/>
                </a:cubicBezTo>
                <a:cubicBezTo>
                  <a:pt x="0" y="48"/>
                  <a:pt x="47" y="0"/>
                  <a:pt x="106" y="0"/>
                </a:cubicBezTo>
                <a:cubicBezTo>
                  <a:pt x="106" y="0"/>
                  <a:pt x="106" y="0"/>
                  <a:pt x="106" y="0"/>
                </a:cubicBezTo>
                <a:cubicBezTo>
                  <a:pt x="165" y="0"/>
                  <a:pt x="212" y="48"/>
                  <a:pt x="212" y="106"/>
                </a:cubicBezTo>
                <a:lnTo>
                  <a:pt x="212" y="2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0000"/>
              </a:solidFill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2021" name="Oval 2020"/>
          <p:cNvSpPr/>
          <p:nvPr/>
        </p:nvSpPr>
        <p:spPr>
          <a:xfrm>
            <a:off x="8131681" y="4134329"/>
            <a:ext cx="106439" cy="107395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3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86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29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72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14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58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999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43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50" dirty="0" smtClean="0">
              <a:solidFill>
                <a:srgbClr val="FFFFFF"/>
              </a:solidFill>
            </a:endParaRPr>
          </a:p>
        </p:txBody>
      </p:sp>
      <p:sp>
        <p:nvSpPr>
          <p:cNvPr id="2022" name="Oval 2021"/>
          <p:cNvSpPr/>
          <p:nvPr/>
        </p:nvSpPr>
        <p:spPr>
          <a:xfrm>
            <a:off x="8135569" y="4138647"/>
            <a:ext cx="98625" cy="99510"/>
          </a:xfrm>
          <a:prstGeom prst="ellipse">
            <a:avLst/>
          </a:prstGeom>
          <a:solidFill>
            <a:srgbClr val="57B84D"/>
          </a:soli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07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000" name="Freeform 6"/>
          <p:cNvSpPr>
            <a:spLocks noEditPoints="1"/>
          </p:cNvSpPr>
          <p:nvPr/>
        </p:nvSpPr>
        <p:spPr bwMode="auto">
          <a:xfrm>
            <a:off x="8171172" y="4165492"/>
            <a:ext cx="26762" cy="43510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01" name="Oval 7"/>
          <p:cNvSpPr>
            <a:spLocks noChangeArrowheads="1"/>
          </p:cNvSpPr>
          <p:nvPr/>
        </p:nvSpPr>
        <p:spPr bwMode="auto">
          <a:xfrm>
            <a:off x="8193104" y="4193546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02" name="Oval 8"/>
          <p:cNvSpPr>
            <a:spLocks noChangeArrowheads="1"/>
          </p:cNvSpPr>
          <p:nvPr/>
        </p:nvSpPr>
        <p:spPr bwMode="auto">
          <a:xfrm>
            <a:off x="8187334" y="4193546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03" name="Oval 9"/>
          <p:cNvSpPr>
            <a:spLocks noChangeArrowheads="1"/>
          </p:cNvSpPr>
          <p:nvPr/>
        </p:nvSpPr>
        <p:spPr bwMode="auto">
          <a:xfrm>
            <a:off x="8174425" y="4193546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04" name="Oval 10"/>
          <p:cNvSpPr>
            <a:spLocks noChangeArrowheads="1"/>
          </p:cNvSpPr>
          <p:nvPr/>
        </p:nvSpPr>
        <p:spPr bwMode="auto">
          <a:xfrm>
            <a:off x="8190272" y="4193546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05" name="Oval 11"/>
          <p:cNvSpPr>
            <a:spLocks noChangeArrowheads="1"/>
          </p:cNvSpPr>
          <p:nvPr/>
        </p:nvSpPr>
        <p:spPr bwMode="auto">
          <a:xfrm>
            <a:off x="8187334" y="4169303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06" name="Oval 12"/>
          <p:cNvSpPr>
            <a:spLocks noChangeArrowheads="1"/>
          </p:cNvSpPr>
          <p:nvPr/>
        </p:nvSpPr>
        <p:spPr bwMode="auto">
          <a:xfrm>
            <a:off x="8190272" y="4169303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07" name="Oval 13"/>
          <p:cNvSpPr>
            <a:spLocks noChangeArrowheads="1"/>
          </p:cNvSpPr>
          <p:nvPr/>
        </p:nvSpPr>
        <p:spPr bwMode="auto">
          <a:xfrm>
            <a:off x="8174425" y="4175549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08" name="Oval 14"/>
          <p:cNvSpPr>
            <a:spLocks noChangeArrowheads="1"/>
          </p:cNvSpPr>
          <p:nvPr/>
        </p:nvSpPr>
        <p:spPr bwMode="auto">
          <a:xfrm>
            <a:off x="8193104" y="4181583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09" name="Oval 15"/>
          <p:cNvSpPr>
            <a:spLocks noChangeArrowheads="1"/>
          </p:cNvSpPr>
          <p:nvPr/>
        </p:nvSpPr>
        <p:spPr bwMode="auto">
          <a:xfrm>
            <a:off x="8190272" y="4175549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10" name="Oval 16"/>
          <p:cNvSpPr>
            <a:spLocks noChangeArrowheads="1"/>
          </p:cNvSpPr>
          <p:nvPr/>
        </p:nvSpPr>
        <p:spPr bwMode="auto">
          <a:xfrm>
            <a:off x="8174425" y="4169303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11" name="Oval 17"/>
          <p:cNvSpPr>
            <a:spLocks noChangeArrowheads="1"/>
          </p:cNvSpPr>
          <p:nvPr/>
        </p:nvSpPr>
        <p:spPr bwMode="auto">
          <a:xfrm>
            <a:off x="8187334" y="4175549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12" name="Oval 18"/>
          <p:cNvSpPr>
            <a:spLocks noChangeArrowheads="1"/>
          </p:cNvSpPr>
          <p:nvPr/>
        </p:nvSpPr>
        <p:spPr bwMode="auto">
          <a:xfrm>
            <a:off x="8193104" y="4175549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13" name="Oval 19"/>
          <p:cNvSpPr>
            <a:spLocks noChangeArrowheads="1"/>
          </p:cNvSpPr>
          <p:nvPr/>
        </p:nvSpPr>
        <p:spPr bwMode="auto">
          <a:xfrm>
            <a:off x="8190272" y="4181583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14" name="Oval 20"/>
          <p:cNvSpPr>
            <a:spLocks noChangeArrowheads="1"/>
          </p:cNvSpPr>
          <p:nvPr/>
        </p:nvSpPr>
        <p:spPr bwMode="auto">
          <a:xfrm>
            <a:off x="8193104" y="4169303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15" name="Oval 21"/>
          <p:cNvSpPr>
            <a:spLocks noChangeArrowheads="1"/>
          </p:cNvSpPr>
          <p:nvPr/>
        </p:nvSpPr>
        <p:spPr bwMode="auto">
          <a:xfrm>
            <a:off x="8187334" y="4187511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16" name="Oval 22"/>
          <p:cNvSpPr>
            <a:spLocks noChangeArrowheads="1"/>
          </p:cNvSpPr>
          <p:nvPr/>
        </p:nvSpPr>
        <p:spPr bwMode="auto">
          <a:xfrm>
            <a:off x="8174425" y="4187511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17" name="Oval 23"/>
          <p:cNvSpPr>
            <a:spLocks noChangeArrowheads="1"/>
          </p:cNvSpPr>
          <p:nvPr/>
        </p:nvSpPr>
        <p:spPr bwMode="auto">
          <a:xfrm>
            <a:off x="8193104" y="4187511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18" name="Oval 24"/>
          <p:cNvSpPr>
            <a:spLocks noChangeArrowheads="1"/>
          </p:cNvSpPr>
          <p:nvPr/>
        </p:nvSpPr>
        <p:spPr bwMode="auto">
          <a:xfrm>
            <a:off x="8190272" y="4187511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19" name="Oval 25"/>
          <p:cNvSpPr>
            <a:spLocks noChangeArrowheads="1"/>
          </p:cNvSpPr>
          <p:nvPr/>
        </p:nvSpPr>
        <p:spPr bwMode="auto">
          <a:xfrm>
            <a:off x="8187334" y="4181583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20" name="Oval 26"/>
          <p:cNvSpPr>
            <a:spLocks noChangeArrowheads="1"/>
          </p:cNvSpPr>
          <p:nvPr/>
        </p:nvSpPr>
        <p:spPr bwMode="auto">
          <a:xfrm>
            <a:off x="8174425" y="4181583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1979" name="Freeform 6"/>
          <p:cNvSpPr>
            <a:spLocks noEditPoints="1"/>
          </p:cNvSpPr>
          <p:nvPr/>
        </p:nvSpPr>
        <p:spPr bwMode="auto">
          <a:xfrm>
            <a:off x="8197764" y="4169576"/>
            <a:ext cx="22245" cy="36166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1980" name="Oval 7"/>
          <p:cNvSpPr>
            <a:spLocks noChangeArrowheads="1"/>
          </p:cNvSpPr>
          <p:nvPr/>
        </p:nvSpPr>
        <p:spPr bwMode="auto">
          <a:xfrm>
            <a:off x="8214341" y="4192894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1981" name="Oval 8"/>
          <p:cNvSpPr>
            <a:spLocks noChangeArrowheads="1"/>
          </p:cNvSpPr>
          <p:nvPr/>
        </p:nvSpPr>
        <p:spPr bwMode="auto">
          <a:xfrm>
            <a:off x="8209545" y="4192894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1982" name="Oval 9"/>
          <p:cNvSpPr>
            <a:spLocks noChangeArrowheads="1"/>
          </p:cNvSpPr>
          <p:nvPr/>
        </p:nvSpPr>
        <p:spPr bwMode="auto">
          <a:xfrm>
            <a:off x="8198815" y="4192894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1983" name="Oval 10"/>
          <p:cNvSpPr>
            <a:spLocks noChangeArrowheads="1"/>
          </p:cNvSpPr>
          <p:nvPr/>
        </p:nvSpPr>
        <p:spPr bwMode="auto">
          <a:xfrm>
            <a:off x="8211987" y="4192894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1984" name="Oval 11"/>
          <p:cNvSpPr>
            <a:spLocks noChangeArrowheads="1"/>
          </p:cNvSpPr>
          <p:nvPr/>
        </p:nvSpPr>
        <p:spPr bwMode="auto">
          <a:xfrm>
            <a:off x="8209545" y="4172743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1985" name="Oval 12"/>
          <p:cNvSpPr>
            <a:spLocks noChangeArrowheads="1"/>
          </p:cNvSpPr>
          <p:nvPr/>
        </p:nvSpPr>
        <p:spPr bwMode="auto">
          <a:xfrm>
            <a:off x="8211987" y="4172743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1986" name="Oval 13"/>
          <p:cNvSpPr>
            <a:spLocks noChangeArrowheads="1"/>
          </p:cNvSpPr>
          <p:nvPr/>
        </p:nvSpPr>
        <p:spPr bwMode="auto">
          <a:xfrm>
            <a:off x="8198815" y="4177935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1987" name="Oval 14"/>
          <p:cNvSpPr>
            <a:spLocks noChangeArrowheads="1"/>
          </p:cNvSpPr>
          <p:nvPr/>
        </p:nvSpPr>
        <p:spPr bwMode="auto">
          <a:xfrm>
            <a:off x="8214341" y="4182951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1988" name="Oval 15"/>
          <p:cNvSpPr>
            <a:spLocks noChangeArrowheads="1"/>
          </p:cNvSpPr>
          <p:nvPr/>
        </p:nvSpPr>
        <p:spPr bwMode="auto">
          <a:xfrm>
            <a:off x="8211987" y="4177935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1989" name="Oval 16"/>
          <p:cNvSpPr>
            <a:spLocks noChangeArrowheads="1"/>
          </p:cNvSpPr>
          <p:nvPr/>
        </p:nvSpPr>
        <p:spPr bwMode="auto">
          <a:xfrm>
            <a:off x="8198815" y="4172743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1990" name="Oval 17"/>
          <p:cNvSpPr>
            <a:spLocks noChangeArrowheads="1"/>
          </p:cNvSpPr>
          <p:nvPr/>
        </p:nvSpPr>
        <p:spPr bwMode="auto">
          <a:xfrm>
            <a:off x="8209545" y="4177935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1991" name="Oval 18"/>
          <p:cNvSpPr>
            <a:spLocks noChangeArrowheads="1"/>
          </p:cNvSpPr>
          <p:nvPr/>
        </p:nvSpPr>
        <p:spPr bwMode="auto">
          <a:xfrm>
            <a:off x="8214341" y="4177935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1992" name="Oval 19"/>
          <p:cNvSpPr>
            <a:spLocks noChangeArrowheads="1"/>
          </p:cNvSpPr>
          <p:nvPr/>
        </p:nvSpPr>
        <p:spPr bwMode="auto">
          <a:xfrm>
            <a:off x="8211987" y="4182951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1993" name="Oval 20"/>
          <p:cNvSpPr>
            <a:spLocks noChangeArrowheads="1"/>
          </p:cNvSpPr>
          <p:nvPr/>
        </p:nvSpPr>
        <p:spPr bwMode="auto">
          <a:xfrm>
            <a:off x="8214341" y="4172743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1994" name="Oval 21"/>
          <p:cNvSpPr>
            <a:spLocks noChangeArrowheads="1"/>
          </p:cNvSpPr>
          <p:nvPr/>
        </p:nvSpPr>
        <p:spPr bwMode="auto">
          <a:xfrm>
            <a:off x="8209545" y="4187878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1995" name="Oval 22"/>
          <p:cNvSpPr>
            <a:spLocks noChangeArrowheads="1"/>
          </p:cNvSpPr>
          <p:nvPr/>
        </p:nvSpPr>
        <p:spPr bwMode="auto">
          <a:xfrm>
            <a:off x="8198815" y="4187878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1996" name="Oval 23"/>
          <p:cNvSpPr>
            <a:spLocks noChangeArrowheads="1"/>
          </p:cNvSpPr>
          <p:nvPr/>
        </p:nvSpPr>
        <p:spPr bwMode="auto">
          <a:xfrm>
            <a:off x="8214341" y="4187878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1997" name="Oval 24"/>
          <p:cNvSpPr>
            <a:spLocks noChangeArrowheads="1"/>
          </p:cNvSpPr>
          <p:nvPr/>
        </p:nvSpPr>
        <p:spPr bwMode="auto">
          <a:xfrm>
            <a:off x="8211987" y="4187878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1998" name="Oval 25"/>
          <p:cNvSpPr>
            <a:spLocks noChangeArrowheads="1"/>
          </p:cNvSpPr>
          <p:nvPr/>
        </p:nvSpPr>
        <p:spPr bwMode="auto">
          <a:xfrm>
            <a:off x="8209545" y="4182951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1999" name="Oval 26"/>
          <p:cNvSpPr>
            <a:spLocks noChangeArrowheads="1"/>
          </p:cNvSpPr>
          <p:nvPr/>
        </p:nvSpPr>
        <p:spPr bwMode="auto">
          <a:xfrm>
            <a:off x="8198815" y="4182951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1958" name="Freeform 6"/>
          <p:cNvSpPr>
            <a:spLocks noEditPoints="1"/>
          </p:cNvSpPr>
          <p:nvPr/>
        </p:nvSpPr>
        <p:spPr bwMode="auto">
          <a:xfrm>
            <a:off x="8149371" y="4169576"/>
            <a:ext cx="22245" cy="36166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1959" name="Oval 7"/>
          <p:cNvSpPr>
            <a:spLocks noChangeArrowheads="1"/>
          </p:cNvSpPr>
          <p:nvPr/>
        </p:nvSpPr>
        <p:spPr bwMode="auto">
          <a:xfrm>
            <a:off x="8167601" y="4192894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1960" name="Oval 8"/>
          <p:cNvSpPr>
            <a:spLocks noChangeArrowheads="1"/>
          </p:cNvSpPr>
          <p:nvPr/>
        </p:nvSpPr>
        <p:spPr bwMode="auto">
          <a:xfrm>
            <a:off x="8162805" y="4192894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1961" name="Oval 9"/>
          <p:cNvSpPr>
            <a:spLocks noChangeArrowheads="1"/>
          </p:cNvSpPr>
          <p:nvPr/>
        </p:nvSpPr>
        <p:spPr bwMode="auto">
          <a:xfrm>
            <a:off x="8152075" y="4192894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1962" name="Oval 10"/>
          <p:cNvSpPr>
            <a:spLocks noChangeArrowheads="1"/>
          </p:cNvSpPr>
          <p:nvPr/>
        </p:nvSpPr>
        <p:spPr bwMode="auto">
          <a:xfrm>
            <a:off x="8165247" y="4192894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1963" name="Oval 11"/>
          <p:cNvSpPr>
            <a:spLocks noChangeArrowheads="1"/>
          </p:cNvSpPr>
          <p:nvPr/>
        </p:nvSpPr>
        <p:spPr bwMode="auto">
          <a:xfrm>
            <a:off x="8162805" y="4172743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1964" name="Oval 12"/>
          <p:cNvSpPr>
            <a:spLocks noChangeArrowheads="1"/>
          </p:cNvSpPr>
          <p:nvPr/>
        </p:nvSpPr>
        <p:spPr bwMode="auto">
          <a:xfrm>
            <a:off x="8165247" y="4172743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1965" name="Oval 13"/>
          <p:cNvSpPr>
            <a:spLocks noChangeArrowheads="1"/>
          </p:cNvSpPr>
          <p:nvPr/>
        </p:nvSpPr>
        <p:spPr bwMode="auto">
          <a:xfrm>
            <a:off x="8152075" y="4177935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1966" name="Oval 14"/>
          <p:cNvSpPr>
            <a:spLocks noChangeArrowheads="1"/>
          </p:cNvSpPr>
          <p:nvPr/>
        </p:nvSpPr>
        <p:spPr bwMode="auto">
          <a:xfrm>
            <a:off x="8167601" y="4182951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1967" name="Oval 15"/>
          <p:cNvSpPr>
            <a:spLocks noChangeArrowheads="1"/>
          </p:cNvSpPr>
          <p:nvPr/>
        </p:nvSpPr>
        <p:spPr bwMode="auto">
          <a:xfrm>
            <a:off x="8165247" y="4177935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1968" name="Oval 16"/>
          <p:cNvSpPr>
            <a:spLocks noChangeArrowheads="1"/>
          </p:cNvSpPr>
          <p:nvPr/>
        </p:nvSpPr>
        <p:spPr bwMode="auto">
          <a:xfrm>
            <a:off x="8152075" y="4172743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1969" name="Oval 17"/>
          <p:cNvSpPr>
            <a:spLocks noChangeArrowheads="1"/>
          </p:cNvSpPr>
          <p:nvPr/>
        </p:nvSpPr>
        <p:spPr bwMode="auto">
          <a:xfrm>
            <a:off x="8162805" y="4177935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1970" name="Oval 18"/>
          <p:cNvSpPr>
            <a:spLocks noChangeArrowheads="1"/>
          </p:cNvSpPr>
          <p:nvPr/>
        </p:nvSpPr>
        <p:spPr bwMode="auto">
          <a:xfrm>
            <a:off x="8167601" y="4177935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1971" name="Oval 19"/>
          <p:cNvSpPr>
            <a:spLocks noChangeArrowheads="1"/>
          </p:cNvSpPr>
          <p:nvPr/>
        </p:nvSpPr>
        <p:spPr bwMode="auto">
          <a:xfrm>
            <a:off x="8165247" y="4182951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1972" name="Oval 20"/>
          <p:cNvSpPr>
            <a:spLocks noChangeArrowheads="1"/>
          </p:cNvSpPr>
          <p:nvPr/>
        </p:nvSpPr>
        <p:spPr bwMode="auto">
          <a:xfrm>
            <a:off x="8167601" y="4172743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1973" name="Oval 21"/>
          <p:cNvSpPr>
            <a:spLocks noChangeArrowheads="1"/>
          </p:cNvSpPr>
          <p:nvPr/>
        </p:nvSpPr>
        <p:spPr bwMode="auto">
          <a:xfrm>
            <a:off x="8162805" y="4187878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1974" name="Oval 22"/>
          <p:cNvSpPr>
            <a:spLocks noChangeArrowheads="1"/>
          </p:cNvSpPr>
          <p:nvPr/>
        </p:nvSpPr>
        <p:spPr bwMode="auto">
          <a:xfrm>
            <a:off x="8152075" y="4187878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1975" name="Oval 23"/>
          <p:cNvSpPr>
            <a:spLocks noChangeArrowheads="1"/>
          </p:cNvSpPr>
          <p:nvPr/>
        </p:nvSpPr>
        <p:spPr bwMode="auto">
          <a:xfrm>
            <a:off x="8167601" y="4187878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1976" name="Oval 24"/>
          <p:cNvSpPr>
            <a:spLocks noChangeArrowheads="1"/>
          </p:cNvSpPr>
          <p:nvPr/>
        </p:nvSpPr>
        <p:spPr bwMode="auto">
          <a:xfrm>
            <a:off x="8165247" y="4187878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1977" name="Oval 25"/>
          <p:cNvSpPr>
            <a:spLocks noChangeArrowheads="1"/>
          </p:cNvSpPr>
          <p:nvPr/>
        </p:nvSpPr>
        <p:spPr bwMode="auto">
          <a:xfrm>
            <a:off x="8162805" y="4182951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1978" name="Oval 26"/>
          <p:cNvSpPr>
            <a:spLocks noChangeArrowheads="1"/>
          </p:cNvSpPr>
          <p:nvPr/>
        </p:nvSpPr>
        <p:spPr bwMode="auto">
          <a:xfrm>
            <a:off x="8152075" y="4182951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91" name="Oval 2090"/>
          <p:cNvSpPr/>
          <p:nvPr/>
        </p:nvSpPr>
        <p:spPr>
          <a:xfrm>
            <a:off x="8121713" y="4300355"/>
            <a:ext cx="106439" cy="107395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3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86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29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72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14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58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999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43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50" dirty="0" smtClean="0">
              <a:solidFill>
                <a:srgbClr val="FFFFFF"/>
              </a:solidFill>
            </a:endParaRPr>
          </a:p>
        </p:txBody>
      </p:sp>
      <p:sp>
        <p:nvSpPr>
          <p:cNvPr id="2092" name="Oval 2091"/>
          <p:cNvSpPr/>
          <p:nvPr/>
        </p:nvSpPr>
        <p:spPr>
          <a:xfrm>
            <a:off x="8125601" y="4304674"/>
            <a:ext cx="98625" cy="99510"/>
          </a:xfrm>
          <a:prstGeom prst="ellipse">
            <a:avLst/>
          </a:prstGeom>
          <a:solidFill>
            <a:srgbClr val="57B84D"/>
          </a:soli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07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070" name="Freeform 6"/>
          <p:cNvSpPr>
            <a:spLocks noEditPoints="1"/>
          </p:cNvSpPr>
          <p:nvPr/>
        </p:nvSpPr>
        <p:spPr bwMode="auto">
          <a:xfrm>
            <a:off x="8161204" y="4331518"/>
            <a:ext cx="26762" cy="43510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71" name="Oval 7"/>
          <p:cNvSpPr>
            <a:spLocks noChangeArrowheads="1"/>
          </p:cNvSpPr>
          <p:nvPr/>
        </p:nvSpPr>
        <p:spPr bwMode="auto">
          <a:xfrm>
            <a:off x="8183136" y="4359572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72" name="Oval 8"/>
          <p:cNvSpPr>
            <a:spLocks noChangeArrowheads="1"/>
          </p:cNvSpPr>
          <p:nvPr/>
        </p:nvSpPr>
        <p:spPr bwMode="auto">
          <a:xfrm>
            <a:off x="8177366" y="4359572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73" name="Oval 9"/>
          <p:cNvSpPr>
            <a:spLocks noChangeArrowheads="1"/>
          </p:cNvSpPr>
          <p:nvPr/>
        </p:nvSpPr>
        <p:spPr bwMode="auto">
          <a:xfrm>
            <a:off x="8164457" y="4359572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74" name="Oval 10"/>
          <p:cNvSpPr>
            <a:spLocks noChangeArrowheads="1"/>
          </p:cNvSpPr>
          <p:nvPr/>
        </p:nvSpPr>
        <p:spPr bwMode="auto">
          <a:xfrm>
            <a:off x="8180304" y="4359572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75" name="Oval 11"/>
          <p:cNvSpPr>
            <a:spLocks noChangeArrowheads="1"/>
          </p:cNvSpPr>
          <p:nvPr/>
        </p:nvSpPr>
        <p:spPr bwMode="auto">
          <a:xfrm>
            <a:off x="8177366" y="4335329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76" name="Oval 12"/>
          <p:cNvSpPr>
            <a:spLocks noChangeArrowheads="1"/>
          </p:cNvSpPr>
          <p:nvPr/>
        </p:nvSpPr>
        <p:spPr bwMode="auto">
          <a:xfrm>
            <a:off x="8180304" y="4335329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77" name="Oval 13"/>
          <p:cNvSpPr>
            <a:spLocks noChangeArrowheads="1"/>
          </p:cNvSpPr>
          <p:nvPr/>
        </p:nvSpPr>
        <p:spPr bwMode="auto">
          <a:xfrm>
            <a:off x="8164457" y="4341575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78" name="Oval 14"/>
          <p:cNvSpPr>
            <a:spLocks noChangeArrowheads="1"/>
          </p:cNvSpPr>
          <p:nvPr/>
        </p:nvSpPr>
        <p:spPr bwMode="auto">
          <a:xfrm>
            <a:off x="8183136" y="4347609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79" name="Oval 15"/>
          <p:cNvSpPr>
            <a:spLocks noChangeArrowheads="1"/>
          </p:cNvSpPr>
          <p:nvPr/>
        </p:nvSpPr>
        <p:spPr bwMode="auto">
          <a:xfrm>
            <a:off x="8180304" y="4341575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80" name="Oval 16"/>
          <p:cNvSpPr>
            <a:spLocks noChangeArrowheads="1"/>
          </p:cNvSpPr>
          <p:nvPr/>
        </p:nvSpPr>
        <p:spPr bwMode="auto">
          <a:xfrm>
            <a:off x="8164457" y="4335329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81" name="Oval 17"/>
          <p:cNvSpPr>
            <a:spLocks noChangeArrowheads="1"/>
          </p:cNvSpPr>
          <p:nvPr/>
        </p:nvSpPr>
        <p:spPr bwMode="auto">
          <a:xfrm>
            <a:off x="8177366" y="4341575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82" name="Oval 18"/>
          <p:cNvSpPr>
            <a:spLocks noChangeArrowheads="1"/>
          </p:cNvSpPr>
          <p:nvPr/>
        </p:nvSpPr>
        <p:spPr bwMode="auto">
          <a:xfrm>
            <a:off x="8183136" y="4341575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83" name="Oval 19"/>
          <p:cNvSpPr>
            <a:spLocks noChangeArrowheads="1"/>
          </p:cNvSpPr>
          <p:nvPr/>
        </p:nvSpPr>
        <p:spPr bwMode="auto">
          <a:xfrm>
            <a:off x="8180304" y="4347609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84" name="Oval 20"/>
          <p:cNvSpPr>
            <a:spLocks noChangeArrowheads="1"/>
          </p:cNvSpPr>
          <p:nvPr/>
        </p:nvSpPr>
        <p:spPr bwMode="auto">
          <a:xfrm>
            <a:off x="8183136" y="4335329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85" name="Oval 21"/>
          <p:cNvSpPr>
            <a:spLocks noChangeArrowheads="1"/>
          </p:cNvSpPr>
          <p:nvPr/>
        </p:nvSpPr>
        <p:spPr bwMode="auto">
          <a:xfrm>
            <a:off x="8177366" y="4353537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86" name="Oval 22"/>
          <p:cNvSpPr>
            <a:spLocks noChangeArrowheads="1"/>
          </p:cNvSpPr>
          <p:nvPr/>
        </p:nvSpPr>
        <p:spPr bwMode="auto">
          <a:xfrm>
            <a:off x="8164457" y="4353537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87" name="Oval 23"/>
          <p:cNvSpPr>
            <a:spLocks noChangeArrowheads="1"/>
          </p:cNvSpPr>
          <p:nvPr/>
        </p:nvSpPr>
        <p:spPr bwMode="auto">
          <a:xfrm>
            <a:off x="8183136" y="4353537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88" name="Oval 24"/>
          <p:cNvSpPr>
            <a:spLocks noChangeArrowheads="1"/>
          </p:cNvSpPr>
          <p:nvPr/>
        </p:nvSpPr>
        <p:spPr bwMode="auto">
          <a:xfrm>
            <a:off x="8180304" y="4353537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89" name="Oval 25"/>
          <p:cNvSpPr>
            <a:spLocks noChangeArrowheads="1"/>
          </p:cNvSpPr>
          <p:nvPr/>
        </p:nvSpPr>
        <p:spPr bwMode="auto">
          <a:xfrm>
            <a:off x="8177366" y="4347609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90" name="Oval 26"/>
          <p:cNvSpPr>
            <a:spLocks noChangeArrowheads="1"/>
          </p:cNvSpPr>
          <p:nvPr/>
        </p:nvSpPr>
        <p:spPr bwMode="auto">
          <a:xfrm>
            <a:off x="8164457" y="4347609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49" name="Freeform 6"/>
          <p:cNvSpPr>
            <a:spLocks noEditPoints="1"/>
          </p:cNvSpPr>
          <p:nvPr/>
        </p:nvSpPr>
        <p:spPr bwMode="auto">
          <a:xfrm>
            <a:off x="8187796" y="4335602"/>
            <a:ext cx="22245" cy="36166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50" name="Oval 7"/>
          <p:cNvSpPr>
            <a:spLocks noChangeArrowheads="1"/>
          </p:cNvSpPr>
          <p:nvPr/>
        </p:nvSpPr>
        <p:spPr bwMode="auto">
          <a:xfrm>
            <a:off x="8204373" y="4358920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51" name="Oval 8"/>
          <p:cNvSpPr>
            <a:spLocks noChangeArrowheads="1"/>
          </p:cNvSpPr>
          <p:nvPr/>
        </p:nvSpPr>
        <p:spPr bwMode="auto">
          <a:xfrm>
            <a:off x="8199577" y="4358920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52" name="Oval 9"/>
          <p:cNvSpPr>
            <a:spLocks noChangeArrowheads="1"/>
          </p:cNvSpPr>
          <p:nvPr/>
        </p:nvSpPr>
        <p:spPr bwMode="auto">
          <a:xfrm>
            <a:off x="8188847" y="4358920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53" name="Oval 10"/>
          <p:cNvSpPr>
            <a:spLocks noChangeArrowheads="1"/>
          </p:cNvSpPr>
          <p:nvPr/>
        </p:nvSpPr>
        <p:spPr bwMode="auto">
          <a:xfrm>
            <a:off x="8202019" y="4358920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54" name="Oval 11"/>
          <p:cNvSpPr>
            <a:spLocks noChangeArrowheads="1"/>
          </p:cNvSpPr>
          <p:nvPr/>
        </p:nvSpPr>
        <p:spPr bwMode="auto">
          <a:xfrm>
            <a:off x="8199577" y="4338770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55" name="Oval 12"/>
          <p:cNvSpPr>
            <a:spLocks noChangeArrowheads="1"/>
          </p:cNvSpPr>
          <p:nvPr/>
        </p:nvSpPr>
        <p:spPr bwMode="auto">
          <a:xfrm>
            <a:off x="8202019" y="4338770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56" name="Oval 13"/>
          <p:cNvSpPr>
            <a:spLocks noChangeArrowheads="1"/>
          </p:cNvSpPr>
          <p:nvPr/>
        </p:nvSpPr>
        <p:spPr bwMode="auto">
          <a:xfrm>
            <a:off x="8188847" y="4343962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57" name="Oval 14"/>
          <p:cNvSpPr>
            <a:spLocks noChangeArrowheads="1"/>
          </p:cNvSpPr>
          <p:nvPr/>
        </p:nvSpPr>
        <p:spPr bwMode="auto">
          <a:xfrm>
            <a:off x="8204373" y="4348977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58" name="Oval 15"/>
          <p:cNvSpPr>
            <a:spLocks noChangeArrowheads="1"/>
          </p:cNvSpPr>
          <p:nvPr/>
        </p:nvSpPr>
        <p:spPr bwMode="auto">
          <a:xfrm>
            <a:off x="8202019" y="4343962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59" name="Oval 16"/>
          <p:cNvSpPr>
            <a:spLocks noChangeArrowheads="1"/>
          </p:cNvSpPr>
          <p:nvPr/>
        </p:nvSpPr>
        <p:spPr bwMode="auto">
          <a:xfrm>
            <a:off x="8188847" y="4338770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60" name="Oval 17"/>
          <p:cNvSpPr>
            <a:spLocks noChangeArrowheads="1"/>
          </p:cNvSpPr>
          <p:nvPr/>
        </p:nvSpPr>
        <p:spPr bwMode="auto">
          <a:xfrm>
            <a:off x="8199577" y="4343962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61" name="Oval 18"/>
          <p:cNvSpPr>
            <a:spLocks noChangeArrowheads="1"/>
          </p:cNvSpPr>
          <p:nvPr/>
        </p:nvSpPr>
        <p:spPr bwMode="auto">
          <a:xfrm>
            <a:off x="8204373" y="4343962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62" name="Oval 19"/>
          <p:cNvSpPr>
            <a:spLocks noChangeArrowheads="1"/>
          </p:cNvSpPr>
          <p:nvPr/>
        </p:nvSpPr>
        <p:spPr bwMode="auto">
          <a:xfrm>
            <a:off x="8202019" y="4348977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63" name="Oval 20"/>
          <p:cNvSpPr>
            <a:spLocks noChangeArrowheads="1"/>
          </p:cNvSpPr>
          <p:nvPr/>
        </p:nvSpPr>
        <p:spPr bwMode="auto">
          <a:xfrm>
            <a:off x="8204373" y="4338770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64" name="Oval 21"/>
          <p:cNvSpPr>
            <a:spLocks noChangeArrowheads="1"/>
          </p:cNvSpPr>
          <p:nvPr/>
        </p:nvSpPr>
        <p:spPr bwMode="auto">
          <a:xfrm>
            <a:off x="8199577" y="4353905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65" name="Oval 22"/>
          <p:cNvSpPr>
            <a:spLocks noChangeArrowheads="1"/>
          </p:cNvSpPr>
          <p:nvPr/>
        </p:nvSpPr>
        <p:spPr bwMode="auto">
          <a:xfrm>
            <a:off x="8188847" y="4353905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66" name="Oval 23"/>
          <p:cNvSpPr>
            <a:spLocks noChangeArrowheads="1"/>
          </p:cNvSpPr>
          <p:nvPr/>
        </p:nvSpPr>
        <p:spPr bwMode="auto">
          <a:xfrm>
            <a:off x="8204373" y="4353905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67" name="Oval 24"/>
          <p:cNvSpPr>
            <a:spLocks noChangeArrowheads="1"/>
          </p:cNvSpPr>
          <p:nvPr/>
        </p:nvSpPr>
        <p:spPr bwMode="auto">
          <a:xfrm>
            <a:off x="8202019" y="4353905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68" name="Oval 25"/>
          <p:cNvSpPr>
            <a:spLocks noChangeArrowheads="1"/>
          </p:cNvSpPr>
          <p:nvPr/>
        </p:nvSpPr>
        <p:spPr bwMode="auto">
          <a:xfrm>
            <a:off x="8199577" y="4348977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69" name="Oval 26"/>
          <p:cNvSpPr>
            <a:spLocks noChangeArrowheads="1"/>
          </p:cNvSpPr>
          <p:nvPr/>
        </p:nvSpPr>
        <p:spPr bwMode="auto">
          <a:xfrm>
            <a:off x="8188847" y="4348977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28" name="Freeform 6"/>
          <p:cNvSpPr>
            <a:spLocks noEditPoints="1"/>
          </p:cNvSpPr>
          <p:nvPr/>
        </p:nvSpPr>
        <p:spPr bwMode="auto">
          <a:xfrm>
            <a:off x="8139403" y="4335602"/>
            <a:ext cx="22245" cy="36166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29" name="Oval 7"/>
          <p:cNvSpPr>
            <a:spLocks noChangeArrowheads="1"/>
          </p:cNvSpPr>
          <p:nvPr/>
        </p:nvSpPr>
        <p:spPr bwMode="auto">
          <a:xfrm>
            <a:off x="8157633" y="4358920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30" name="Oval 8"/>
          <p:cNvSpPr>
            <a:spLocks noChangeArrowheads="1"/>
          </p:cNvSpPr>
          <p:nvPr/>
        </p:nvSpPr>
        <p:spPr bwMode="auto">
          <a:xfrm>
            <a:off x="8152836" y="4358920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31" name="Oval 9"/>
          <p:cNvSpPr>
            <a:spLocks noChangeArrowheads="1"/>
          </p:cNvSpPr>
          <p:nvPr/>
        </p:nvSpPr>
        <p:spPr bwMode="auto">
          <a:xfrm>
            <a:off x="8142107" y="4358920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32" name="Oval 10"/>
          <p:cNvSpPr>
            <a:spLocks noChangeArrowheads="1"/>
          </p:cNvSpPr>
          <p:nvPr/>
        </p:nvSpPr>
        <p:spPr bwMode="auto">
          <a:xfrm>
            <a:off x="8155278" y="4358920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33" name="Oval 11"/>
          <p:cNvSpPr>
            <a:spLocks noChangeArrowheads="1"/>
          </p:cNvSpPr>
          <p:nvPr/>
        </p:nvSpPr>
        <p:spPr bwMode="auto">
          <a:xfrm>
            <a:off x="8152836" y="4338770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34" name="Oval 12"/>
          <p:cNvSpPr>
            <a:spLocks noChangeArrowheads="1"/>
          </p:cNvSpPr>
          <p:nvPr/>
        </p:nvSpPr>
        <p:spPr bwMode="auto">
          <a:xfrm>
            <a:off x="8155278" y="4338770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35" name="Oval 13"/>
          <p:cNvSpPr>
            <a:spLocks noChangeArrowheads="1"/>
          </p:cNvSpPr>
          <p:nvPr/>
        </p:nvSpPr>
        <p:spPr bwMode="auto">
          <a:xfrm>
            <a:off x="8142107" y="4343962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36" name="Oval 14"/>
          <p:cNvSpPr>
            <a:spLocks noChangeArrowheads="1"/>
          </p:cNvSpPr>
          <p:nvPr/>
        </p:nvSpPr>
        <p:spPr bwMode="auto">
          <a:xfrm>
            <a:off x="8157633" y="4348977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37" name="Oval 15"/>
          <p:cNvSpPr>
            <a:spLocks noChangeArrowheads="1"/>
          </p:cNvSpPr>
          <p:nvPr/>
        </p:nvSpPr>
        <p:spPr bwMode="auto">
          <a:xfrm>
            <a:off x="8155278" y="4343962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38" name="Oval 16"/>
          <p:cNvSpPr>
            <a:spLocks noChangeArrowheads="1"/>
          </p:cNvSpPr>
          <p:nvPr/>
        </p:nvSpPr>
        <p:spPr bwMode="auto">
          <a:xfrm>
            <a:off x="8142107" y="4338770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39" name="Oval 17"/>
          <p:cNvSpPr>
            <a:spLocks noChangeArrowheads="1"/>
          </p:cNvSpPr>
          <p:nvPr/>
        </p:nvSpPr>
        <p:spPr bwMode="auto">
          <a:xfrm>
            <a:off x="8152836" y="4343962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40" name="Oval 18"/>
          <p:cNvSpPr>
            <a:spLocks noChangeArrowheads="1"/>
          </p:cNvSpPr>
          <p:nvPr/>
        </p:nvSpPr>
        <p:spPr bwMode="auto">
          <a:xfrm>
            <a:off x="8157633" y="4343962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41" name="Oval 19"/>
          <p:cNvSpPr>
            <a:spLocks noChangeArrowheads="1"/>
          </p:cNvSpPr>
          <p:nvPr/>
        </p:nvSpPr>
        <p:spPr bwMode="auto">
          <a:xfrm>
            <a:off x="8155278" y="4348977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42" name="Oval 20"/>
          <p:cNvSpPr>
            <a:spLocks noChangeArrowheads="1"/>
          </p:cNvSpPr>
          <p:nvPr/>
        </p:nvSpPr>
        <p:spPr bwMode="auto">
          <a:xfrm>
            <a:off x="8157633" y="4338770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43" name="Oval 21"/>
          <p:cNvSpPr>
            <a:spLocks noChangeArrowheads="1"/>
          </p:cNvSpPr>
          <p:nvPr/>
        </p:nvSpPr>
        <p:spPr bwMode="auto">
          <a:xfrm>
            <a:off x="8152836" y="4353905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44" name="Oval 22"/>
          <p:cNvSpPr>
            <a:spLocks noChangeArrowheads="1"/>
          </p:cNvSpPr>
          <p:nvPr/>
        </p:nvSpPr>
        <p:spPr bwMode="auto">
          <a:xfrm>
            <a:off x="8142107" y="4353905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45" name="Oval 23"/>
          <p:cNvSpPr>
            <a:spLocks noChangeArrowheads="1"/>
          </p:cNvSpPr>
          <p:nvPr/>
        </p:nvSpPr>
        <p:spPr bwMode="auto">
          <a:xfrm>
            <a:off x="8157633" y="4353905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46" name="Oval 24"/>
          <p:cNvSpPr>
            <a:spLocks noChangeArrowheads="1"/>
          </p:cNvSpPr>
          <p:nvPr/>
        </p:nvSpPr>
        <p:spPr bwMode="auto">
          <a:xfrm>
            <a:off x="8155278" y="4353905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47" name="Oval 25"/>
          <p:cNvSpPr>
            <a:spLocks noChangeArrowheads="1"/>
          </p:cNvSpPr>
          <p:nvPr/>
        </p:nvSpPr>
        <p:spPr bwMode="auto">
          <a:xfrm>
            <a:off x="8152836" y="4348977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48" name="Oval 26"/>
          <p:cNvSpPr>
            <a:spLocks noChangeArrowheads="1"/>
          </p:cNvSpPr>
          <p:nvPr/>
        </p:nvSpPr>
        <p:spPr bwMode="auto">
          <a:xfrm>
            <a:off x="8142107" y="4348977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61" name="Oval 2160"/>
          <p:cNvSpPr/>
          <p:nvPr/>
        </p:nvSpPr>
        <p:spPr>
          <a:xfrm>
            <a:off x="8233513" y="4411091"/>
            <a:ext cx="106439" cy="107395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3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86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29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72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14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58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999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43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50" dirty="0" smtClean="0">
              <a:solidFill>
                <a:srgbClr val="FFFFFF"/>
              </a:solidFill>
            </a:endParaRPr>
          </a:p>
        </p:txBody>
      </p:sp>
      <p:sp>
        <p:nvSpPr>
          <p:cNvPr id="2162" name="Oval 2161"/>
          <p:cNvSpPr/>
          <p:nvPr/>
        </p:nvSpPr>
        <p:spPr>
          <a:xfrm>
            <a:off x="8237400" y="4415410"/>
            <a:ext cx="98625" cy="99510"/>
          </a:xfrm>
          <a:prstGeom prst="ellipse">
            <a:avLst/>
          </a:prstGeom>
          <a:solidFill>
            <a:srgbClr val="57B84D"/>
          </a:soli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07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140" name="Freeform 6"/>
          <p:cNvSpPr>
            <a:spLocks noEditPoints="1"/>
          </p:cNvSpPr>
          <p:nvPr/>
        </p:nvSpPr>
        <p:spPr bwMode="auto">
          <a:xfrm>
            <a:off x="8273003" y="4442254"/>
            <a:ext cx="26762" cy="43510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41" name="Oval 7"/>
          <p:cNvSpPr>
            <a:spLocks noChangeArrowheads="1"/>
          </p:cNvSpPr>
          <p:nvPr/>
        </p:nvSpPr>
        <p:spPr bwMode="auto">
          <a:xfrm>
            <a:off x="8294936" y="4470308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42" name="Oval 8"/>
          <p:cNvSpPr>
            <a:spLocks noChangeArrowheads="1"/>
          </p:cNvSpPr>
          <p:nvPr/>
        </p:nvSpPr>
        <p:spPr bwMode="auto">
          <a:xfrm>
            <a:off x="8289166" y="4470308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43" name="Oval 9"/>
          <p:cNvSpPr>
            <a:spLocks noChangeArrowheads="1"/>
          </p:cNvSpPr>
          <p:nvPr/>
        </p:nvSpPr>
        <p:spPr bwMode="auto">
          <a:xfrm>
            <a:off x="8276256" y="4470308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44" name="Oval 10"/>
          <p:cNvSpPr>
            <a:spLocks noChangeArrowheads="1"/>
          </p:cNvSpPr>
          <p:nvPr/>
        </p:nvSpPr>
        <p:spPr bwMode="auto">
          <a:xfrm>
            <a:off x="8292104" y="4470308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45" name="Oval 11"/>
          <p:cNvSpPr>
            <a:spLocks noChangeArrowheads="1"/>
          </p:cNvSpPr>
          <p:nvPr/>
        </p:nvSpPr>
        <p:spPr bwMode="auto">
          <a:xfrm>
            <a:off x="8289166" y="4446065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46" name="Oval 12"/>
          <p:cNvSpPr>
            <a:spLocks noChangeArrowheads="1"/>
          </p:cNvSpPr>
          <p:nvPr/>
        </p:nvSpPr>
        <p:spPr bwMode="auto">
          <a:xfrm>
            <a:off x="8292104" y="4446065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47" name="Oval 13"/>
          <p:cNvSpPr>
            <a:spLocks noChangeArrowheads="1"/>
          </p:cNvSpPr>
          <p:nvPr/>
        </p:nvSpPr>
        <p:spPr bwMode="auto">
          <a:xfrm>
            <a:off x="8276256" y="4452311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48" name="Oval 14"/>
          <p:cNvSpPr>
            <a:spLocks noChangeArrowheads="1"/>
          </p:cNvSpPr>
          <p:nvPr/>
        </p:nvSpPr>
        <p:spPr bwMode="auto">
          <a:xfrm>
            <a:off x="8294936" y="4458345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49" name="Oval 15"/>
          <p:cNvSpPr>
            <a:spLocks noChangeArrowheads="1"/>
          </p:cNvSpPr>
          <p:nvPr/>
        </p:nvSpPr>
        <p:spPr bwMode="auto">
          <a:xfrm>
            <a:off x="8292104" y="4452311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50" name="Oval 16"/>
          <p:cNvSpPr>
            <a:spLocks noChangeArrowheads="1"/>
          </p:cNvSpPr>
          <p:nvPr/>
        </p:nvSpPr>
        <p:spPr bwMode="auto">
          <a:xfrm>
            <a:off x="8276256" y="4446065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51" name="Oval 17"/>
          <p:cNvSpPr>
            <a:spLocks noChangeArrowheads="1"/>
          </p:cNvSpPr>
          <p:nvPr/>
        </p:nvSpPr>
        <p:spPr bwMode="auto">
          <a:xfrm>
            <a:off x="8289166" y="4452311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52" name="Oval 18"/>
          <p:cNvSpPr>
            <a:spLocks noChangeArrowheads="1"/>
          </p:cNvSpPr>
          <p:nvPr/>
        </p:nvSpPr>
        <p:spPr bwMode="auto">
          <a:xfrm>
            <a:off x="8294936" y="4452311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53" name="Oval 19"/>
          <p:cNvSpPr>
            <a:spLocks noChangeArrowheads="1"/>
          </p:cNvSpPr>
          <p:nvPr/>
        </p:nvSpPr>
        <p:spPr bwMode="auto">
          <a:xfrm>
            <a:off x="8292104" y="4458345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54" name="Oval 20"/>
          <p:cNvSpPr>
            <a:spLocks noChangeArrowheads="1"/>
          </p:cNvSpPr>
          <p:nvPr/>
        </p:nvSpPr>
        <p:spPr bwMode="auto">
          <a:xfrm>
            <a:off x="8294936" y="4446065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55" name="Oval 21"/>
          <p:cNvSpPr>
            <a:spLocks noChangeArrowheads="1"/>
          </p:cNvSpPr>
          <p:nvPr/>
        </p:nvSpPr>
        <p:spPr bwMode="auto">
          <a:xfrm>
            <a:off x="8289166" y="4464273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56" name="Oval 22"/>
          <p:cNvSpPr>
            <a:spLocks noChangeArrowheads="1"/>
          </p:cNvSpPr>
          <p:nvPr/>
        </p:nvSpPr>
        <p:spPr bwMode="auto">
          <a:xfrm>
            <a:off x="8276256" y="4464273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57" name="Oval 23"/>
          <p:cNvSpPr>
            <a:spLocks noChangeArrowheads="1"/>
          </p:cNvSpPr>
          <p:nvPr/>
        </p:nvSpPr>
        <p:spPr bwMode="auto">
          <a:xfrm>
            <a:off x="8294936" y="4464273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58" name="Oval 24"/>
          <p:cNvSpPr>
            <a:spLocks noChangeArrowheads="1"/>
          </p:cNvSpPr>
          <p:nvPr/>
        </p:nvSpPr>
        <p:spPr bwMode="auto">
          <a:xfrm>
            <a:off x="8292104" y="4464273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59" name="Oval 25"/>
          <p:cNvSpPr>
            <a:spLocks noChangeArrowheads="1"/>
          </p:cNvSpPr>
          <p:nvPr/>
        </p:nvSpPr>
        <p:spPr bwMode="auto">
          <a:xfrm>
            <a:off x="8289166" y="4458345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60" name="Oval 26"/>
          <p:cNvSpPr>
            <a:spLocks noChangeArrowheads="1"/>
          </p:cNvSpPr>
          <p:nvPr/>
        </p:nvSpPr>
        <p:spPr bwMode="auto">
          <a:xfrm>
            <a:off x="8276256" y="4458345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19" name="Freeform 6"/>
          <p:cNvSpPr>
            <a:spLocks noEditPoints="1"/>
          </p:cNvSpPr>
          <p:nvPr/>
        </p:nvSpPr>
        <p:spPr bwMode="auto">
          <a:xfrm>
            <a:off x="8299596" y="4446338"/>
            <a:ext cx="22245" cy="36166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20" name="Oval 7"/>
          <p:cNvSpPr>
            <a:spLocks noChangeArrowheads="1"/>
          </p:cNvSpPr>
          <p:nvPr/>
        </p:nvSpPr>
        <p:spPr bwMode="auto">
          <a:xfrm>
            <a:off x="8316173" y="4469656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21" name="Oval 8"/>
          <p:cNvSpPr>
            <a:spLocks noChangeArrowheads="1"/>
          </p:cNvSpPr>
          <p:nvPr/>
        </p:nvSpPr>
        <p:spPr bwMode="auto">
          <a:xfrm>
            <a:off x="8311377" y="4469656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22" name="Oval 9"/>
          <p:cNvSpPr>
            <a:spLocks noChangeArrowheads="1"/>
          </p:cNvSpPr>
          <p:nvPr/>
        </p:nvSpPr>
        <p:spPr bwMode="auto">
          <a:xfrm>
            <a:off x="8300647" y="4469656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23" name="Oval 10"/>
          <p:cNvSpPr>
            <a:spLocks noChangeArrowheads="1"/>
          </p:cNvSpPr>
          <p:nvPr/>
        </p:nvSpPr>
        <p:spPr bwMode="auto">
          <a:xfrm>
            <a:off x="8313819" y="4469656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24" name="Oval 11"/>
          <p:cNvSpPr>
            <a:spLocks noChangeArrowheads="1"/>
          </p:cNvSpPr>
          <p:nvPr/>
        </p:nvSpPr>
        <p:spPr bwMode="auto">
          <a:xfrm>
            <a:off x="8311377" y="4449506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25" name="Oval 12"/>
          <p:cNvSpPr>
            <a:spLocks noChangeArrowheads="1"/>
          </p:cNvSpPr>
          <p:nvPr/>
        </p:nvSpPr>
        <p:spPr bwMode="auto">
          <a:xfrm>
            <a:off x="8313819" y="4449506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26" name="Oval 13"/>
          <p:cNvSpPr>
            <a:spLocks noChangeArrowheads="1"/>
          </p:cNvSpPr>
          <p:nvPr/>
        </p:nvSpPr>
        <p:spPr bwMode="auto">
          <a:xfrm>
            <a:off x="8300647" y="4454698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27" name="Oval 14"/>
          <p:cNvSpPr>
            <a:spLocks noChangeArrowheads="1"/>
          </p:cNvSpPr>
          <p:nvPr/>
        </p:nvSpPr>
        <p:spPr bwMode="auto">
          <a:xfrm>
            <a:off x="8316173" y="4459713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28" name="Oval 15"/>
          <p:cNvSpPr>
            <a:spLocks noChangeArrowheads="1"/>
          </p:cNvSpPr>
          <p:nvPr/>
        </p:nvSpPr>
        <p:spPr bwMode="auto">
          <a:xfrm>
            <a:off x="8313819" y="4454698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29" name="Oval 16"/>
          <p:cNvSpPr>
            <a:spLocks noChangeArrowheads="1"/>
          </p:cNvSpPr>
          <p:nvPr/>
        </p:nvSpPr>
        <p:spPr bwMode="auto">
          <a:xfrm>
            <a:off x="8300647" y="4449506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30" name="Oval 17"/>
          <p:cNvSpPr>
            <a:spLocks noChangeArrowheads="1"/>
          </p:cNvSpPr>
          <p:nvPr/>
        </p:nvSpPr>
        <p:spPr bwMode="auto">
          <a:xfrm>
            <a:off x="8311377" y="4454698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31" name="Oval 18"/>
          <p:cNvSpPr>
            <a:spLocks noChangeArrowheads="1"/>
          </p:cNvSpPr>
          <p:nvPr/>
        </p:nvSpPr>
        <p:spPr bwMode="auto">
          <a:xfrm>
            <a:off x="8316173" y="4454698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32" name="Oval 19"/>
          <p:cNvSpPr>
            <a:spLocks noChangeArrowheads="1"/>
          </p:cNvSpPr>
          <p:nvPr/>
        </p:nvSpPr>
        <p:spPr bwMode="auto">
          <a:xfrm>
            <a:off x="8313819" y="4459713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33" name="Oval 20"/>
          <p:cNvSpPr>
            <a:spLocks noChangeArrowheads="1"/>
          </p:cNvSpPr>
          <p:nvPr/>
        </p:nvSpPr>
        <p:spPr bwMode="auto">
          <a:xfrm>
            <a:off x="8316173" y="4449506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34" name="Oval 21"/>
          <p:cNvSpPr>
            <a:spLocks noChangeArrowheads="1"/>
          </p:cNvSpPr>
          <p:nvPr/>
        </p:nvSpPr>
        <p:spPr bwMode="auto">
          <a:xfrm>
            <a:off x="8311377" y="4464641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35" name="Oval 22"/>
          <p:cNvSpPr>
            <a:spLocks noChangeArrowheads="1"/>
          </p:cNvSpPr>
          <p:nvPr/>
        </p:nvSpPr>
        <p:spPr bwMode="auto">
          <a:xfrm>
            <a:off x="8300647" y="4464641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36" name="Oval 23"/>
          <p:cNvSpPr>
            <a:spLocks noChangeArrowheads="1"/>
          </p:cNvSpPr>
          <p:nvPr/>
        </p:nvSpPr>
        <p:spPr bwMode="auto">
          <a:xfrm>
            <a:off x="8316173" y="4464641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37" name="Oval 24"/>
          <p:cNvSpPr>
            <a:spLocks noChangeArrowheads="1"/>
          </p:cNvSpPr>
          <p:nvPr/>
        </p:nvSpPr>
        <p:spPr bwMode="auto">
          <a:xfrm>
            <a:off x="8313819" y="4464641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38" name="Oval 25"/>
          <p:cNvSpPr>
            <a:spLocks noChangeArrowheads="1"/>
          </p:cNvSpPr>
          <p:nvPr/>
        </p:nvSpPr>
        <p:spPr bwMode="auto">
          <a:xfrm>
            <a:off x="8311377" y="4459713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39" name="Oval 26"/>
          <p:cNvSpPr>
            <a:spLocks noChangeArrowheads="1"/>
          </p:cNvSpPr>
          <p:nvPr/>
        </p:nvSpPr>
        <p:spPr bwMode="auto">
          <a:xfrm>
            <a:off x="8300647" y="4459713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98" name="Freeform 6"/>
          <p:cNvSpPr>
            <a:spLocks noEditPoints="1"/>
          </p:cNvSpPr>
          <p:nvPr/>
        </p:nvSpPr>
        <p:spPr bwMode="auto">
          <a:xfrm>
            <a:off x="8251202" y="4446338"/>
            <a:ext cx="22245" cy="36166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099" name="Oval 7"/>
          <p:cNvSpPr>
            <a:spLocks noChangeArrowheads="1"/>
          </p:cNvSpPr>
          <p:nvPr/>
        </p:nvSpPr>
        <p:spPr bwMode="auto">
          <a:xfrm>
            <a:off x="8269432" y="4469656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00" name="Oval 8"/>
          <p:cNvSpPr>
            <a:spLocks noChangeArrowheads="1"/>
          </p:cNvSpPr>
          <p:nvPr/>
        </p:nvSpPr>
        <p:spPr bwMode="auto">
          <a:xfrm>
            <a:off x="8264636" y="4469656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01" name="Oval 9"/>
          <p:cNvSpPr>
            <a:spLocks noChangeArrowheads="1"/>
          </p:cNvSpPr>
          <p:nvPr/>
        </p:nvSpPr>
        <p:spPr bwMode="auto">
          <a:xfrm>
            <a:off x="8253906" y="4469656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02" name="Oval 10"/>
          <p:cNvSpPr>
            <a:spLocks noChangeArrowheads="1"/>
          </p:cNvSpPr>
          <p:nvPr/>
        </p:nvSpPr>
        <p:spPr bwMode="auto">
          <a:xfrm>
            <a:off x="8267078" y="4469656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03" name="Oval 11"/>
          <p:cNvSpPr>
            <a:spLocks noChangeArrowheads="1"/>
          </p:cNvSpPr>
          <p:nvPr/>
        </p:nvSpPr>
        <p:spPr bwMode="auto">
          <a:xfrm>
            <a:off x="8264636" y="4449506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04" name="Oval 12"/>
          <p:cNvSpPr>
            <a:spLocks noChangeArrowheads="1"/>
          </p:cNvSpPr>
          <p:nvPr/>
        </p:nvSpPr>
        <p:spPr bwMode="auto">
          <a:xfrm>
            <a:off x="8267078" y="4449506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05" name="Oval 13"/>
          <p:cNvSpPr>
            <a:spLocks noChangeArrowheads="1"/>
          </p:cNvSpPr>
          <p:nvPr/>
        </p:nvSpPr>
        <p:spPr bwMode="auto">
          <a:xfrm>
            <a:off x="8253906" y="4454698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06" name="Oval 14"/>
          <p:cNvSpPr>
            <a:spLocks noChangeArrowheads="1"/>
          </p:cNvSpPr>
          <p:nvPr/>
        </p:nvSpPr>
        <p:spPr bwMode="auto">
          <a:xfrm>
            <a:off x="8269432" y="4459713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07" name="Oval 15"/>
          <p:cNvSpPr>
            <a:spLocks noChangeArrowheads="1"/>
          </p:cNvSpPr>
          <p:nvPr/>
        </p:nvSpPr>
        <p:spPr bwMode="auto">
          <a:xfrm>
            <a:off x="8267078" y="4454698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08" name="Oval 16"/>
          <p:cNvSpPr>
            <a:spLocks noChangeArrowheads="1"/>
          </p:cNvSpPr>
          <p:nvPr/>
        </p:nvSpPr>
        <p:spPr bwMode="auto">
          <a:xfrm>
            <a:off x="8253906" y="4449506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09" name="Oval 17"/>
          <p:cNvSpPr>
            <a:spLocks noChangeArrowheads="1"/>
          </p:cNvSpPr>
          <p:nvPr/>
        </p:nvSpPr>
        <p:spPr bwMode="auto">
          <a:xfrm>
            <a:off x="8264636" y="4454698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10" name="Oval 18"/>
          <p:cNvSpPr>
            <a:spLocks noChangeArrowheads="1"/>
          </p:cNvSpPr>
          <p:nvPr/>
        </p:nvSpPr>
        <p:spPr bwMode="auto">
          <a:xfrm>
            <a:off x="8269432" y="4454698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11" name="Oval 19"/>
          <p:cNvSpPr>
            <a:spLocks noChangeArrowheads="1"/>
          </p:cNvSpPr>
          <p:nvPr/>
        </p:nvSpPr>
        <p:spPr bwMode="auto">
          <a:xfrm>
            <a:off x="8267078" y="4459713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12" name="Oval 20"/>
          <p:cNvSpPr>
            <a:spLocks noChangeArrowheads="1"/>
          </p:cNvSpPr>
          <p:nvPr/>
        </p:nvSpPr>
        <p:spPr bwMode="auto">
          <a:xfrm>
            <a:off x="8269432" y="4449506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13" name="Oval 21"/>
          <p:cNvSpPr>
            <a:spLocks noChangeArrowheads="1"/>
          </p:cNvSpPr>
          <p:nvPr/>
        </p:nvSpPr>
        <p:spPr bwMode="auto">
          <a:xfrm>
            <a:off x="8264636" y="4464641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14" name="Oval 22"/>
          <p:cNvSpPr>
            <a:spLocks noChangeArrowheads="1"/>
          </p:cNvSpPr>
          <p:nvPr/>
        </p:nvSpPr>
        <p:spPr bwMode="auto">
          <a:xfrm>
            <a:off x="8253906" y="4464641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15" name="Oval 23"/>
          <p:cNvSpPr>
            <a:spLocks noChangeArrowheads="1"/>
          </p:cNvSpPr>
          <p:nvPr/>
        </p:nvSpPr>
        <p:spPr bwMode="auto">
          <a:xfrm>
            <a:off x="8269432" y="4464641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16" name="Oval 24"/>
          <p:cNvSpPr>
            <a:spLocks noChangeArrowheads="1"/>
          </p:cNvSpPr>
          <p:nvPr/>
        </p:nvSpPr>
        <p:spPr bwMode="auto">
          <a:xfrm>
            <a:off x="8267078" y="4464641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17" name="Oval 25"/>
          <p:cNvSpPr>
            <a:spLocks noChangeArrowheads="1"/>
          </p:cNvSpPr>
          <p:nvPr/>
        </p:nvSpPr>
        <p:spPr bwMode="auto">
          <a:xfrm>
            <a:off x="8264636" y="4459713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18" name="Oval 26"/>
          <p:cNvSpPr>
            <a:spLocks noChangeArrowheads="1"/>
          </p:cNvSpPr>
          <p:nvPr/>
        </p:nvSpPr>
        <p:spPr bwMode="auto">
          <a:xfrm>
            <a:off x="8253906" y="4459713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31" name="Oval 2230"/>
          <p:cNvSpPr/>
          <p:nvPr/>
        </p:nvSpPr>
        <p:spPr>
          <a:xfrm>
            <a:off x="8394976" y="4441940"/>
            <a:ext cx="106439" cy="107395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3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86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29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72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14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58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999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43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50" dirty="0" smtClean="0">
              <a:solidFill>
                <a:srgbClr val="FFFFFF"/>
              </a:solidFill>
            </a:endParaRPr>
          </a:p>
        </p:txBody>
      </p:sp>
      <p:sp>
        <p:nvSpPr>
          <p:cNvPr id="2232" name="Oval 2231"/>
          <p:cNvSpPr/>
          <p:nvPr/>
        </p:nvSpPr>
        <p:spPr>
          <a:xfrm>
            <a:off x="8398863" y="4446258"/>
            <a:ext cx="98625" cy="99510"/>
          </a:xfrm>
          <a:prstGeom prst="ellipse">
            <a:avLst/>
          </a:prstGeom>
          <a:solidFill>
            <a:srgbClr val="57B84D"/>
          </a:soli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07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210" name="Freeform 6"/>
          <p:cNvSpPr>
            <a:spLocks noEditPoints="1"/>
          </p:cNvSpPr>
          <p:nvPr/>
        </p:nvSpPr>
        <p:spPr bwMode="auto">
          <a:xfrm>
            <a:off x="8434466" y="4473103"/>
            <a:ext cx="26762" cy="43510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11" name="Oval 7"/>
          <p:cNvSpPr>
            <a:spLocks noChangeArrowheads="1"/>
          </p:cNvSpPr>
          <p:nvPr/>
        </p:nvSpPr>
        <p:spPr bwMode="auto">
          <a:xfrm>
            <a:off x="8456399" y="4501157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12" name="Oval 8"/>
          <p:cNvSpPr>
            <a:spLocks noChangeArrowheads="1"/>
          </p:cNvSpPr>
          <p:nvPr/>
        </p:nvSpPr>
        <p:spPr bwMode="auto">
          <a:xfrm>
            <a:off x="8450628" y="4501157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13" name="Oval 9"/>
          <p:cNvSpPr>
            <a:spLocks noChangeArrowheads="1"/>
          </p:cNvSpPr>
          <p:nvPr/>
        </p:nvSpPr>
        <p:spPr bwMode="auto">
          <a:xfrm>
            <a:off x="8437719" y="4501157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14" name="Oval 10"/>
          <p:cNvSpPr>
            <a:spLocks noChangeArrowheads="1"/>
          </p:cNvSpPr>
          <p:nvPr/>
        </p:nvSpPr>
        <p:spPr bwMode="auto">
          <a:xfrm>
            <a:off x="8453567" y="4501157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15" name="Oval 11"/>
          <p:cNvSpPr>
            <a:spLocks noChangeArrowheads="1"/>
          </p:cNvSpPr>
          <p:nvPr/>
        </p:nvSpPr>
        <p:spPr bwMode="auto">
          <a:xfrm>
            <a:off x="8450628" y="4476914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16" name="Oval 12"/>
          <p:cNvSpPr>
            <a:spLocks noChangeArrowheads="1"/>
          </p:cNvSpPr>
          <p:nvPr/>
        </p:nvSpPr>
        <p:spPr bwMode="auto">
          <a:xfrm>
            <a:off x="8453567" y="4476914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17" name="Oval 13"/>
          <p:cNvSpPr>
            <a:spLocks noChangeArrowheads="1"/>
          </p:cNvSpPr>
          <p:nvPr/>
        </p:nvSpPr>
        <p:spPr bwMode="auto">
          <a:xfrm>
            <a:off x="8437719" y="4483160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18" name="Oval 14"/>
          <p:cNvSpPr>
            <a:spLocks noChangeArrowheads="1"/>
          </p:cNvSpPr>
          <p:nvPr/>
        </p:nvSpPr>
        <p:spPr bwMode="auto">
          <a:xfrm>
            <a:off x="8456399" y="4489194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19" name="Oval 15"/>
          <p:cNvSpPr>
            <a:spLocks noChangeArrowheads="1"/>
          </p:cNvSpPr>
          <p:nvPr/>
        </p:nvSpPr>
        <p:spPr bwMode="auto">
          <a:xfrm>
            <a:off x="8453567" y="4483160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20" name="Oval 16"/>
          <p:cNvSpPr>
            <a:spLocks noChangeArrowheads="1"/>
          </p:cNvSpPr>
          <p:nvPr/>
        </p:nvSpPr>
        <p:spPr bwMode="auto">
          <a:xfrm>
            <a:off x="8437719" y="4476914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21" name="Oval 17"/>
          <p:cNvSpPr>
            <a:spLocks noChangeArrowheads="1"/>
          </p:cNvSpPr>
          <p:nvPr/>
        </p:nvSpPr>
        <p:spPr bwMode="auto">
          <a:xfrm>
            <a:off x="8450628" y="4483160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22" name="Oval 18"/>
          <p:cNvSpPr>
            <a:spLocks noChangeArrowheads="1"/>
          </p:cNvSpPr>
          <p:nvPr/>
        </p:nvSpPr>
        <p:spPr bwMode="auto">
          <a:xfrm>
            <a:off x="8456399" y="4483160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23" name="Oval 19"/>
          <p:cNvSpPr>
            <a:spLocks noChangeArrowheads="1"/>
          </p:cNvSpPr>
          <p:nvPr/>
        </p:nvSpPr>
        <p:spPr bwMode="auto">
          <a:xfrm>
            <a:off x="8453567" y="4489194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24" name="Oval 20"/>
          <p:cNvSpPr>
            <a:spLocks noChangeArrowheads="1"/>
          </p:cNvSpPr>
          <p:nvPr/>
        </p:nvSpPr>
        <p:spPr bwMode="auto">
          <a:xfrm>
            <a:off x="8456399" y="4476914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25" name="Oval 21"/>
          <p:cNvSpPr>
            <a:spLocks noChangeArrowheads="1"/>
          </p:cNvSpPr>
          <p:nvPr/>
        </p:nvSpPr>
        <p:spPr bwMode="auto">
          <a:xfrm>
            <a:off x="8450628" y="4495122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26" name="Oval 22"/>
          <p:cNvSpPr>
            <a:spLocks noChangeArrowheads="1"/>
          </p:cNvSpPr>
          <p:nvPr/>
        </p:nvSpPr>
        <p:spPr bwMode="auto">
          <a:xfrm>
            <a:off x="8437719" y="4495122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27" name="Oval 23"/>
          <p:cNvSpPr>
            <a:spLocks noChangeArrowheads="1"/>
          </p:cNvSpPr>
          <p:nvPr/>
        </p:nvSpPr>
        <p:spPr bwMode="auto">
          <a:xfrm>
            <a:off x="8456399" y="4495122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28" name="Oval 24"/>
          <p:cNvSpPr>
            <a:spLocks noChangeArrowheads="1"/>
          </p:cNvSpPr>
          <p:nvPr/>
        </p:nvSpPr>
        <p:spPr bwMode="auto">
          <a:xfrm>
            <a:off x="8453567" y="4495122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29" name="Oval 25"/>
          <p:cNvSpPr>
            <a:spLocks noChangeArrowheads="1"/>
          </p:cNvSpPr>
          <p:nvPr/>
        </p:nvSpPr>
        <p:spPr bwMode="auto">
          <a:xfrm>
            <a:off x="8450628" y="4489194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30" name="Oval 26"/>
          <p:cNvSpPr>
            <a:spLocks noChangeArrowheads="1"/>
          </p:cNvSpPr>
          <p:nvPr/>
        </p:nvSpPr>
        <p:spPr bwMode="auto">
          <a:xfrm>
            <a:off x="8437719" y="4489194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89" name="Freeform 6"/>
          <p:cNvSpPr>
            <a:spLocks noEditPoints="1"/>
          </p:cNvSpPr>
          <p:nvPr/>
        </p:nvSpPr>
        <p:spPr bwMode="auto">
          <a:xfrm>
            <a:off x="8461058" y="4477187"/>
            <a:ext cx="22245" cy="36166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90" name="Oval 7"/>
          <p:cNvSpPr>
            <a:spLocks noChangeArrowheads="1"/>
          </p:cNvSpPr>
          <p:nvPr/>
        </p:nvSpPr>
        <p:spPr bwMode="auto">
          <a:xfrm>
            <a:off x="8477636" y="4500505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91" name="Oval 8"/>
          <p:cNvSpPr>
            <a:spLocks noChangeArrowheads="1"/>
          </p:cNvSpPr>
          <p:nvPr/>
        </p:nvSpPr>
        <p:spPr bwMode="auto">
          <a:xfrm>
            <a:off x="8472839" y="4500505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92" name="Oval 9"/>
          <p:cNvSpPr>
            <a:spLocks noChangeArrowheads="1"/>
          </p:cNvSpPr>
          <p:nvPr/>
        </p:nvSpPr>
        <p:spPr bwMode="auto">
          <a:xfrm>
            <a:off x="8462110" y="4500505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93" name="Oval 10"/>
          <p:cNvSpPr>
            <a:spLocks noChangeArrowheads="1"/>
          </p:cNvSpPr>
          <p:nvPr/>
        </p:nvSpPr>
        <p:spPr bwMode="auto">
          <a:xfrm>
            <a:off x="8475281" y="4500505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94" name="Oval 11"/>
          <p:cNvSpPr>
            <a:spLocks noChangeArrowheads="1"/>
          </p:cNvSpPr>
          <p:nvPr/>
        </p:nvSpPr>
        <p:spPr bwMode="auto">
          <a:xfrm>
            <a:off x="8472839" y="4480354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95" name="Oval 12"/>
          <p:cNvSpPr>
            <a:spLocks noChangeArrowheads="1"/>
          </p:cNvSpPr>
          <p:nvPr/>
        </p:nvSpPr>
        <p:spPr bwMode="auto">
          <a:xfrm>
            <a:off x="8475281" y="4480354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96" name="Oval 13"/>
          <p:cNvSpPr>
            <a:spLocks noChangeArrowheads="1"/>
          </p:cNvSpPr>
          <p:nvPr/>
        </p:nvSpPr>
        <p:spPr bwMode="auto">
          <a:xfrm>
            <a:off x="8462110" y="4485546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97" name="Oval 14"/>
          <p:cNvSpPr>
            <a:spLocks noChangeArrowheads="1"/>
          </p:cNvSpPr>
          <p:nvPr/>
        </p:nvSpPr>
        <p:spPr bwMode="auto">
          <a:xfrm>
            <a:off x="8477636" y="4490562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98" name="Oval 15"/>
          <p:cNvSpPr>
            <a:spLocks noChangeArrowheads="1"/>
          </p:cNvSpPr>
          <p:nvPr/>
        </p:nvSpPr>
        <p:spPr bwMode="auto">
          <a:xfrm>
            <a:off x="8475281" y="4485546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99" name="Oval 16"/>
          <p:cNvSpPr>
            <a:spLocks noChangeArrowheads="1"/>
          </p:cNvSpPr>
          <p:nvPr/>
        </p:nvSpPr>
        <p:spPr bwMode="auto">
          <a:xfrm>
            <a:off x="8462110" y="4480354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00" name="Oval 17"/>
          <p:cNvSpPr>
            <a:spLocks noChangeArrowheads="1"/>
          </p:cNvSpPr>
          <p:nvPr/>
        </p:nvSpPr>
        <p:spPr bwMode="auto">
          <a:xfrm>
            <a:off x="8472839" y="4485546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01" name="Oval 18"/>
          <p:cNvSpPr>
            <a:spLocks noChangeArrowheads="1"/>
          </p:cNvSpPr>
          <p:nvPr/>
        </p:nvSpPr>
        <p:spPr bwMode="auto">
          <a:xfrm>
            <a:off x="8477636" y="4485546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02" name="Oval 19"/>
          <p:cNvSpPr>
            <a:spLocks noChangeArrowheads="1"/>
          </p:cNvSpPr>
          <p:nvPr/>
        </p:nvSpPr>
        <p:spPr bwMode="auto">
          <a:xfrm>
            <a:off x="8475281" y="4490562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03" name="Oval 20"/>
          <p:cNvSpPr>
            <a:spLocks noChangeArrowheads="1"/>
          </p:cNvSpPr>
          <p:nvPr/>
        </p:nvSpPr>
        <p:spPr bwMode="auto">
          <a:xfrm>
            <a:off x="8477636" y="4480354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04" name="Oval 21"/>
          <p:cNvSpPr>
            <a:spLocks noChangeArrowheads="1"/>
          </p:cNvSpPr>
          <p:nvPr/>
        </p:nvSpPr>
        <p:spPr bwMode="auto">
          <a:xfrm>
            <a:off x="8472839" y="4495490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05" name="Oval 22"/>
          <p:cNvSpPr>
            <a:spLocks noChangeArrowheads="1"/>
          </p:cNvSpPr>
          <p:nvPr/>
        </p:nvSpPr>
        <p:spPr bwMode="auto">
          <a:xfrm>
            <a:off x="8462110" y="4495490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06" name="Oval 23"/>
          <p:cNvSpPr>
            <a:spLocks noChangeArrowheads="1"/>
          </p:cNvSpPr>
          <p:nvPr/>
        </p:nvSpPr>
        <p:spPr bwMode="auto">
          <a:xfrm>
            <a:off x="8477636" y="4495490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07" name="Oval 24"/>
          <p:cNvSpPr>
            <a:spLocks noChangeArrowheads="1"/>
          </p:cNvSpPr>
          <p:nvPr/>
        </p:nvSpPr>
        <p:spPr bwMode="auto">
          <a:xfrm>
            <a:off x="8475281" y="4495490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08" name="Oval 25"/>
          <p:cNvSpPr>
            <a:spLocks noChangeArrowheads="1"/>
          </p:cNvSpPr>
          <p:nvPr/>
        </p:nvSpPr>
        <p:spPr bwMode="auto">
          <a:xfrm>
            <a:off x="8472839" y="4490562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09" name="Oval 26"/>
          <p:cNvSpPr>
            <a:spLocks noChangeArrowheads="1"/>
          </p:cNvSpPr>
          <p:nvPr/>
        </p:nvSpPr>
        <p:spPr bwMode="auto">
          <a:xfrm>
            <a:off x="8462110" y="4490562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68" name="Freeform 6"/>
          <p:cNvSpPr>
            <a:spLocks noEditPoints="1"/>
          </p:cNvSpPr>
          <p:nvPr/>
        </p:nvSpPr>
        <p:spPr bwMode="auto">
          <a:xfrm>
            <a:off x="8412665" y="4477187"/>
            <a:ext cx="22245" cy="36166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69" name="Oval 7"/>
          <p:cNvSpPr>
            <a:spLocks noChangeArrowheads="1"/>
          </p:cNvSpPr>
          <p:nvPr/>
        </p:nvSpPr>
        <p:spPr bwMode="auto">
          <a:xfrm>
            <a:off x="8430895" y="4500505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70" name="Oval 8"/>
          <p:cNvSpPr>
            <a:spLocks noChangeArrowheads="1"/>
          </p:cNvSpPr>
          <p:nvPr/>
        </p:nvSpPr>
        <p:spPr bwMode="auto">
          <a:xfrm>
            <a:off x="8426099" y="4500505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71" name="Oval 9"/>
          <p:cNvSpPr>
            <a:spLocks noChangeArrowheads="1"/>
          </p:cNvSpPr>
          <p:nvPr/>
        </p:nvSpPr>
        <p:spPr bwMode="auto">
          <a:xfrm>
            <a:off x="8415369" y="4500505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72" name="Oval 10"/>
          <p:cNvSpPr>
            <a:spLocks noChangeArrowheads="1"/>
          </p:cNvSpPr>
          <p:nvPr/>
        </p:nvSpPr>
        <p:spPr bwMode="auto">
          <a:xfrm>
            <a:off x="8428541" y="4500505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73" name="Oval 11"/>
          <p:cNvSpPr>
            <a:spLocks noChangeArrowheads="1"/>
          </p:cNvSpPr>
          <p:nvPr/>
        </p:nvSpPr>
        <p:spPr bwMode="auto">
          <a:xfrm>
            <a:off x="8426099" y="4480354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74" name="Oval 12"/>
          <p:cNvSpPr>
            <a:spLocks noChangeArrowheads="1"/>
          </p:cNvSpPr>
          <p:nvPr/>
        </p:nvSpPr>
        <p:spPr bwMode="auto">
          <a:xfrm>
            <a:off x="8428541" y="4480354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75" name="Oval 13"/>
          <p:cNvSpPr>
            <a:spLocks noChangeArrowheads="1"/>
          </p:cNvSpPr>
          <p:nvPr/>
        </p:nvSpPr>
        <p:spPr bwMode="auto">
          <a:xfrm>
            <a:off x="8415369" y="4485546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76" name="Oval 14"/>
          <p:cNvSpPr>
            <a:spLocks noChangeArrowheads="1"/>
          </p:cNvSpPr>
          <p:nvPr/>
        </p:nvSpPr>
        <p:spPr bwMode="auto">
          <a:xfrm>
            <a:off x="8430895" y="4490562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77" name="Oval 15"/>
          <p:cNvSpPr>
            <a:spLocks noChangeArrowheads="1"/>
          </p:cNvSpPr>
          <p:nvPr/>
        </p:nvSpPr>
        <p:spPr bwMode="auto">
          <a:xfrm>
            <a:off x="8428541" y="4485546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78" name="Oval 16"/>
          <p:cNvSpPr>
            <a:spLocks noChangeArrowheads="1"/>
          </p:cNvSpPr>
          <p:nvPr/>
        </p:nvSpPr>
        <p:spPr bwMode="auto">
          <a:xfrm>
            <a:off x="8415369" y="4480354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79" name="Oval 17"/>
          <p:cNvSpPr>
            <a:spLocks noChangeArrowheads="1"/>
          </p:cNvSpPr>
          <p:nvPr/>
        </p:nvSpPr>
        <p:spPr bwMode="auto">
          <a:xfrm>
            <a:off x="8426099" y="4485546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80" name="Oval 18"/>
          <p:cNvSpPr>
            <a:spLocks noChangeArrowheads="1"/>
          </p:cNvSpPr>
          <p:nvPr/>
        </p:nvSpPr>
        <p:spPr bwMode="auto">
          <a:xfrm>
            <a:off x="8430895" y="4485546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81" name="Oval 19"/>
          <p:cNvSpPr>
            <a:spLocks noChangeArrowheads="1"/>
          </p:cNvSpPr>
          <p:nvPr/>
        </p:nvSpPr>
        <p:spPr bwMode="auto">
          <a:xfrm>
            <a:off x="8428541" y="4490562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82" name="Oval 20"/>
          <p:cNvSpPr>
            <a:spLocks noChangeArrowheads="1"/>
          </p:cNvSpPr>
          <p:nvPr/>
        </p:nvSpPr>
        <p:spPr bwMode="auto">
          <a:xfrm>
            <a:off x="8430895" y="4480354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83" name="Oval 21"/>
          <p:cNvSpPr>
            <a:spLocks noChangeArrowheads="1"/>
          </p:cNvSpPr>
          <p:nvPr/>
        </p:nvSpPr>
        <p:spPr bwMode="auto">
          <a:xfrm>
            <a:off x="8426099" y="4495490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84" name="Oval 22"/>
          <p:cNvSpPr>
            <a:spLocks noChangeArrowheads="1"/>
          </p:cNvSpPr>
          <p:nvPr/>
        </p:nvSpPr>
        <p:spPr bwMode="auto">
          <a:xfrm>
            <a:off x="8415369" y="4495490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85" name="Oval 23"/>
          <p:cNvSpPr>
            <a:spLocks noChangeArrowheads="1"/>
          </p:cNvSpPr>
          <p:nvPr/>
        </p:nvSpPr>
        <p:spPr bwMode="auto">
          <a:xfrm>
            <a:off x="8430895" y="4495490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86" name="Oval 24"/>
          <p:cNvSpPr>
            <a:spLocks noChangeArrowheads="1"/>
          </p:cNvSpPr>
          <p:nvPr/>
        </p:nvSpPr>
        <p:spPr bwMode="auto">
          <a:xfrm>
            <a:off x="8428541" y="4495490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87" name="Oval 25"/>
          <p:cNvSpPr>
            <a:spLocks noChangeArrowheads="1"/>
          </p:cNvSpPr>
          <p:nvPr/>
        </p:nvSpPr>
        <p:spPr bwMode="auto">
          <a:xfrm>
            <a:off x="8426099" y="4490562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188" name="Oval 26"/>
          <p:cNvSpPr>
            <a:spLocks noChangeArrowheads="1"/>
          </p:cNvSpPr>
          <p:nvPr/>
        </p:nvSpPr>
        <p:spPr bwMode="auto">
          <a:xfrm>
            <a:off x="8415369" y="4490562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01" name="Oval 2300"/>
          <p:cNvSpPr/>
          <p:nvPr/>
        </p:nvSpPr>
        <p:spPr>
          <a:xfrm>
            <a:off x="8383970" y="4165984"/>
            <a:ext cx="106439" cy="107395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3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86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29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72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14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58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999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43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50" dirty="0" smtClean="0">
              <a:solidFill>
                <a:srgbClr val="FFFFFF"/>
              </a:solidFill>
            </a:endParaRPr>
          </a:p>
        </p:txBody>
      </p:sp>
      <p:sp>
        <p:nvSpPr>
          <p:cNvPr id="2302" name="Oval 2301"/>
          <p:cNvSpPr/>
          <p:nvPr/>
        </p:nvSpPr>
        <p:spPr>
          <a:xfrm>
            <a:off x="8387857" y="4170303"/>
            <a:ext cx="98625" cy="99510"/>
          </a:xfrm>
          <a:prstGeom prst="ellipse">
            <a:avLst/>
          </a:prstGeom>
          <a:solidFill>
            <a:srgbClr val="57B84D"/>
          </a:soli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07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280" name="Freeform 6"/>
          <p:cNvSpPr>
            <a:spLocks noEditPoints="1"/>
          </p:cNvSpPr>
          <p:nvPr/>
        </p:nvSpPr>
        <p:spPr bwMode="auto">
          <a:xfrm>
            <a:off x="8423460" y="4197147"/>
            <a:ext cx="26762" cy="43510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81" name="Oval 7"/>
          <p:cNvSpPr>
            <a:spLocks noChangeArrowheads="1"/>
          </p:cNvSpPr>
          <p:nvPr/>
        </p:nvSpPr>
        <p:spPr bwMode="auto">
          <a:xfrm>
            <a:off x="8445393" y="4225201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82" name="Oval 8"/>
          <p:cNvSpPr>
            <a:spLocks noChangeArrowheads="1"/>
          </p:cNvSpPr>
          <p:nvPr/>
        </p:nvSpPr>
        <p:spPr bwMode="auto">
          <a:xfrm>
            <a:off x="8439622" y="4225201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83" name="Oval 9"/>
          <p:cNvSpPr>
            <a:spLocks noChangeArrowheads="1"/>
          </p:cNvSpPr>
          <p:nvPr/>
        </p:nvSpPr>
        <p:spPr bwMode="auto">
          <a:xfrm>
            <a:off x="8426713" y="4225201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84" name="Oval 10"/>
          <p:cNvSpPr>
            <a:spLocks noChangeArrowheads="1"/>
          </p:cNvSpPr>
          <p:nvPr/>
        </p:nvSpPr>
        <p:spPr bwMode="auto">
          <a:xfrm>
            <a:off x="8442561" y="4225201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85" name="Oval 11"/>
          <p:cNvSpPr>
            <a:spLocks noChangeArrowheads="1"/>
          </p:cNvSpPr>
          <p:nvPr/>
        </p:nvSpPr>
        <p:spPr bwMode="auto">
          <a:xfrm>
            <a:off x="8439622" y="4200958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86" name="Oval 12"/>
          <p:cNvSpPr>
            <a:spLocks noChangeArrowheads="1"/>
          </p:cNvSpPr>
          <p:nvPr/>
        </p:nvSpPr>
        <p:spPr bwMode="auto">
          <a:xfrm>
            <a:off x="8442561" y="4200958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87" name="Oval 13"/>
          <p:cNvSpPr>
            <a:spLocks noChangeArrowheads="1"/>
          </p:cNvSpPr>
          <p:nvPr/>
        </p:nvSpPr>
        <p:spPr bwMode="auto">
          <a:xfrm>
            <a:off x="8426713" y="4207204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88" name="Oval 14"/>
          <p:cNvSpPr>
            <a:spLocks noChangeArrowheads="1"/>
          </p:cNvSpPr>
          <p:nvPr/>
        </p:nvSpPr>
        <p:spPr bwMode="auto">
          <a:xfrm>
            <a:off x="8445393" y="4213238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89" name="Oval 15"/>
          <p:cNvSpPr>
            <a:spLocks noChangeArrowheads="1"/>
          </p:cNvSpPr>
          <p:nvPr/>
        </p:nvSpPr>
        <p:spPr bwMode="auto">
          <a:xfrm>
            <a:off x="8442561" y="4207204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90" name="Oval 16"/>
          <p:cNvSpPr>
            <a:spLocks noChangeArrowheads="1"/>
          </p:cNvSpPr>
          <p:nvPr/>
        </p:nvSpPr>
        <p:spPr bwMode="auto">
          <a:xfrm>
            <a:off x="8426713" y="4200958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91" name="Oval 17"/>
          <p:cNvSpPr>
            <a:spLocks noChangeArrowheads="1"/>
          </p:cNvSpPr>
          <p:nvPr/>
        </p:nvSpPr>
        <p:spPr bwMode="auto">
          <a:xfrm>
            <a:off x="8439622" y="4207204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92" name="Oval 18"/>
          <p:cNvSpPr>
            <a:spLocks noChangeArrowheads="1"/>
          </p:cNvSpPr>
          <p:nvPr/>
        </p:nvSpPr>
        <p:spPr bwMode="auto">
          <a:xfrm>
            <a:off x="8445393" y="4207204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93" name="Oval 19"/>
          <p:cNvSpPr>
            <a:spLocks noChangeArrowheads="1"/>
          </p:cNvSpPr>
          <p:nvPr/>
        </p:nvSpPr>
        <p:spPr bwMode="auto">
          <a:xfrm>
            <a:off x="8442561" y="4213238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94" name="Oval 20"/>
          <p:cNvSpPr>
            <a:spLocks noChangeArrowheads="1"/>
          </p:cNvSpPr>
          <p:nvPr/>
        </p:nvSpPr>
        <p:spPr bwMode="auto">
          <a:xfrm>
            <a:off x="8445393" y="4200958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95" name="Oval 21"/>
          <p:cNvSpPr>
            <a:spLocks noChangeArrowheads="1"/>
          </p:cNvSpPr>
          <p:nvPr/>
        </p:nvSpPr>
        <p:spPr bwMode="auto">
          <a:xfrm>
            <a:off x="8439622" y="4219167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96" name="Oval 22"/>
          <p:cNvSpPr>
            <a:spLocks noChangeArrowheads="1"/>
          </p:cNvSpPr>
          <p:nvPr/>
        </p:nvSpPr>
        <p:spPr bwMode="auto">
          <a:xfrm>
            <a:off x="8426713" y="4219167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97" name="Oval 23"/>
          <p:cNvSpPr>
            <a:spLocks noChangeArrowheads="1"/>
          </p:cNvSpPr>
          <p:nvPr/>
        </p:nvSpPr>
        <p:spPr bwMode="auto">
          <a:xfrm>
            <a:off x="8445393" y="4219167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98" name="Oval 24"/>
          <p:cNvSpPr>
            <a:spLocks noChangeArrowheads="1"/>
          </p:cNvSpPr>
          <p:nvPr/>
        </p:nvSpPr>
        <p:spPr bwMode="auto">
          <a:xfrm>
            <a:off x="8442561" y="4219167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99" name="Oval 25"/>
          <p:cNvSpPr>
            <a:spLocks noChangeArrowheads="1"/>
          </p:cNvSpPr>
          <p:nvPr/>
        </p:nvSpPr>
        <p:spPr bwMode="auto">
          <a:xfrm>
            <a:off x="8439622" y="4213238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00" name="Oval 26"/>
          <p:cNvSpPr>
            <a:spLocks noChangeArrowheads="1"/>
          </p:cNvSpPr>
          <p:nvPr/>
        </p:nvSpPr>
        <p:spPr bwMode="auto">
          <a:xfrm>
            <a:off x="8426713" y="4213238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59" name="Freeform 6"/>
          <p:cNvSpPr>
            <a:spLocks noEditPoints="1"/>
          </p:cNvSpPr>
          <p:nvPr/>
        </p:nvSpPr>
        <p:spPr bwMode="auto">
          <a:xfrm>
            <a:off x="8450052" y="4201231"/>
            <a:ext cx="22245" cy="36166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62" name="Oval 9"/>
          <p:cNvSpPr>
            <a:spLocks noChangeArrowheads="1"/>
          </p:cNvSpPr>
          <p:nvPr/>
        </p:nvSpPr>
        <p:spPr bwMode="auto">
          <a:xfrm>
            <a:off x="8451104" y="4224549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66" name="Oval 13"/>
          <p:cNvSpPr>
            <a:spLocks noChangeArrowheads="1"/>
          </p:cNvSpPr>
          <p:nvPr/>
        </p:nvSpPr>
        <p:spPr bwMode="auto">
          <a:xfrm>
            <a:off x="8451104" y="4209591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69" name="Oval 16"/>
          <p:cNvSpPr>
            <a:spLocks noChangeArrowheads="1"/>
          </p:cNvSpPr>
          <p:nvPr/>
        </p:nvSpPr>
        <p:spPr bwMode="auto">
          <a:xfrm>
            <a:off x="8451104" y="4204399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75" name="Oval 22"/>
          <p:cNvSpPr>
            <a:spLocks noChangeArrowheads="1"/>
          </p:cNvSpPr>
          <p:nvPr/>
        </p:nvSpPr>
        <p:spPr bwMode="auto">
          <a:xfrm>
            <a:off x="8451104" y="4219534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79" name="Oval 26"/>
          <p:cNvSpPr>
            <a:spLocks noChangeArrowheads="1"/>
          </p:cNvSpPr>
          <p:nvPr/>
        </p:nvSpPr>
        <p:spPr bwMode="auto">
          <a:xfrm>
            <a:off x="8451104" y="4214606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38" name="Freeform 6"/>
          <p:cNvSpPr>
            <a:spLocks noEditPoints="1"/>
          </p:cNvSpPr>
          <p:nvPr/>
        </p:nvSpPr>
        <p:spPr bwMode="auto">
          <a:xfrm>
            <a:off x="8401659" y="4201231"/>
            <a:ext cx="22245" cy="36166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39" name="Oval 7"/>
          <p:cNvSpPr>
            <a:spLocks noChangeArrowheads="1"/>
          </p:cNvSpPr>
          <p:nvPr/>
        </p:nvSpPr>
        <p:spPr bwMode="auto">
          <a:xfrm>
            <a:off x="8419889" y="4224549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40" name="Oval 8"/>
          <p:cNvSpPr>
            <a:spLocks noChangeArrowheads="1"/>
          </p:cNvSpPr>
          <p:nvPr/>
        </p:nvSpPr>
        <p:spPr bwMode="auto">
          <a:xfrm>
            <a:off x="8415093" y="4224549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41" name="Oval 9"/>
          <p:cNvSpPr>
            <a:spLocks noChangeArrowheads="1"/>
          </p:cNvSpPr>
          <p:nvPr/>
        </p:nvSpPr>
        <p:spPr bwMode="auto">
          <a:xfrm>
            <a:off x="8404363" y="4224549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42" name="Oval 10"/>
          <p:cNvSpPr>
            <a:spLocks noChangeArrowheads="1"/>
          </p:cNvSpPr>
          <p:nvPr/>
        </p:nvSpPr>
        <p:spPr bwMode="auto">
          <a:xfrm>
            <a:off x="8417535" y="4224549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43" name="Oval 11"/>
          <p:cNvSpPr>
            <a:spLocks noChangeArrowheads="1"/>
          </p:cNvSpPr>
          <p:nvPr/>
        </p:nvSpPr>
        <p:spPr bwMode="auto">
          <a:xfrm>
            <a:off x="8415093" y="4204399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44" name="Oval 12"/>
          <p:cNvSpPr>
            <a:spLocks noChangeArrowheads="1"/>
          </p:cNvSpPr>
          <p:nvPr/>
        </p:nvSpPr>
        <p:spPr bwMode="auto">
          <a:xfrm>
            <a:off x="8417535" y="4204399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45" name="Oval 13"/>
          <p:cNvSpPr>
            <a:spLocks noChangeArrowheads="1"/>
          </p:cNvSpPr>
          <p:nvPr/>
        </p:nvSpPr>
        <p:spPr bwMode="auto">
          <a:xfrm>
            <a:off x="8404363" y="4209591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46" name="Oval 14"/>
          <p:cNvSpPr>
            <a:spLocks noChangeArrowheads="1"/>
          </p:cNvSpPr>
          <p:nvPr/>
        </p:nvSpPr>
        <p:spPr bwMode="auto">
          <a:xfrm>
            <a:off x="8419889" y="4214606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47" name="Oval 15"/>
          <p:cNvSpPr>
            <a:spLocks noChangeArrowheads="1"/>
          </p:cNvSpPr>
          <p:nvPr/>
        </p:nvSpPr>
        <p:spPr bwMode="auto">
          <a:xfrm>
            <a:off x="8417535" y="4209591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48" name="Oval 16"/>
          <p:cNvSpPr>
            <a:spLocks noChangeArrowheads="1"/>
          </p:cNvSpPr>
          <p:nvPr/>
        </p:nvSpPr>
        <p:spPr bwMode="auto">
          <a:xfrm>
            <a:off x="8404363" y="4204399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49" name="Oval 17"/>
          <p:cNvSpPr>
            <a:spLocks noChangeArrowheads="1"/>
          </p:cNvSpPr>
          <p:nvPr/>
        </p:nvSpPr>
        <p:spPr bwMode="auto">
          <a:xfrm>
            <a:off x="8415093" y="4209591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50" name="Oval 18"/>
          <p:cNvSpPr>
            <a:spLocks noChangeArrowheads="1"/>
          </p:cNvSpPr>
          <p:nvPr/>
        </p:nvSpPr>
        <p:spPr bwMode="auto">
          <a:xfrm>
            <a:off x="8419889" y="4209591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51" name="Oval 19"/>
          <p:cNvSpPr>
            <a:spLocks noChangeArrowheads="1"/>
          </p:cNvSpPr>
          <p:nvPr/>
        </p:nvSpPr>
        <p:spPr bwMode="auto">
          <a:xfrm>
            <a:off x="8417535" y="4214606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52" name="Oval 20"/>
          <p:cNvSpPr>
            <a:spLocks noChangeArrowheads="1"/>
          </p:cNvSpPr>
          <p:nvPr/>
        </p:nvSpPr>
        <p:spPr bwMode="auto">
          <a:xfrm>
            <a:off x="8419889" y="4204399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53" name="Oval 21"/>
          <p:cNvSpPr>
            <a:spLocks noChangeArrowheads="1"/>
          </p:cNvSpPr>
          <p:nvPr/>
        </p:nvSpPr>
        <p:spPr bwMode="auto">
          <a:xfrm>
            <a:off x="8415093" y="4219534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54" name="Oval 22"/>
          <p:cNvSpPr>
            <a:spLocks noChangeArrowheads="1"/>
          </p:cNvSpPr>
          <p:nvPr/>
        </p:nvSpPr>
        <p:spPr bwMode="auto">
          <a:xfrm>
            <a:off x="8404363" y="4219534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55" name="Oval 23"/>
          <p:cNvSpPr>
            <a:spLocks noChangeArrowheads="1"/>
          </p:cNvSpPr>
          <p:nvPr/>
        </p:nvSpPr>
        <p:spPr bwMode="auto">
          <a:xfrm>
            <a:off x="8419889" y="4219534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56" name="Oval 24"/>
          <p:cNvSpPr>
            <a:spLocks noChangeArrowheads="1"/>
          </p:cNvSpPr>
          <p:nvPr/>
        </p:nvSpPr>
        <p:spPr bwMode="auto">
          <a:xfrm>
            <a:off x="8417535" y="4219534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57" name="Oval 25"/>
          <p:cNvSpPr>
            <a:spLocks noChangeArrowheads="1"/>
          </p:cNvSpPr>
          <p:nvPr/>
        </p:nvSpPr>
        <p:spPr bwMode="auto">
          <a:xfrm>
            <a:off x="8415093" y="4214606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258" name="Oval 26"/>
          <p:cNvSpPr>
            <a:spLocks noChangeArrowheads="1"/>
          </p:cNvSpPr>
          <p:nvPr/>
        </p:nvSpPr>
        <p:spPr bwMode="auto">
          <a:xfrm>
            <a:off x="8404363" y="4214606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71" name="Oval 2370"/>
          <p:cNvSpPr/>
          <p:nvPr/>
        </p:nvSpPr>
        <p:spPr>
          <a:xfrm>
            <a:off x="8272311" y="4250055"/>
            <a:ext cx="106439" cy="107395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3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86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29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72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14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58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999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43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50" dirty="0" smtClean="0">
              <a:solidFill>
                <a:srgbClr val="FFFFFF"/>
              </a:solidFill>
            </a:endParaRPr>
          </a:p>
        </p:txBody>
      </p:sp>
      <p:sp>
        <p:nvSpPr>
          <p:cNvPr id="2372" name="Oval 2371"/>
          <p:cNvSpPr/>
          <p:nvPr/>
        </p:nvSpPr>
        <p:spPr>
          <a:xfrm>
            <a:off x="8276199" y="4254373"/>
            <a:ext cx="98625" cy="99510"/>
          </a:xfrm>
          <a:prstGeom prst="ellipse">
            <a:avLst/>
          </a:prstGeom>
          <a:solidFill>
            <a:srgbClr val="57B84D"/>
          </a:soli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07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350" name="Freeform 6"/>
          <p:cNvSpPr>
            <a:spLocks noEditPoints="1"/>
          </p:cNvSpPr>
          <p:nvPr/>
        </p:nvSpPr>
        <p:spPr bwMode="auto">
          <a:xfrm>
            <a:off x="8311802" y="4281217"/>
            <a:ext cx="26762" cy="43510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51" name="Oval 7"/>
          <p:cNvSpPr>
            <a:spLocks noChangeArrowheads="1"/>
          </p:cNvSpPr>
          <p:nvPr/>
        </p:nvSpPr>
        <p:spPr bwMode="auto">
          <a:xfrm>
            <a:off x="8333734" y="4309272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52" name="Oval 8"/>
          <p:cNvSpPr>
            <a:spLocks noChangeArrowheads="1"/>
          </p:cNvSpPr>
          <p:nvPr/>
        </p:nvSpPr>
        <p:spPr bwMode="auto">
          <a:xfrm>
            <a:off x="8327964" y="4309272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53" name="Oval 9"/>
          <p:cNvSpPr>
            <a:spLocks noChangeArrowheads="1"/>
          </p:cNvSpPr>
          <p:nvPr/>
        </p:nvSpPr>
        <p:spPr bwMode="auto">
          <a:xfrm>
            <a:off x="8315055" y="4309272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54" name="Oval 10"/>
          <p:cNvSpPr>
            <a:spLocks noChangeArrowheads="1"/>
          </p:cNvSpPr>
          <p:nvPr/>
        </p:nvSpPr>
        <p:spPr bwMode="auto">
          <a:xfrm>
            <a:off x="8330902" y="4309272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55" name="Oval 11"/>
          <p:cNvSpPr>
            <a:spLocks noChangeArrowheads="1"/>
          </p:cNvSpPr>
          <p:nvPr/>
        </p:nvSpPr>
        <p:spPr bwMode="auto">
          <a:xfrm>
            <a:off x="8327964" y="4285028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56" name="Oval 12"/>
          <p:cNvSpPr>
            <a:spLocks noChangeArrowheads="1"/>
          </p:cNvSpPr>
          <p:nvPr/>
        </p:nvSpPr>
        <p:spPr bwMode="auto">
          <a:xfrm>
            <a:off x="8330902" y="4285028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57" name="Oval 13"/>
          <p:cNvSpPr>
            <a:spLocks noChangeArrowheads="1"/>
          </p:cNvSpPr>
          <p:nvPr/>
        </p:nvSpPr>
        <p:spPr bwMode="auto">
          <a:xfrm>
            <a:off x="8315055" y="4291274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58" name="Oval 14"/>
          <p:cNvSpPr>
            <a:spLocks noChangeArrowheads="1"/>
          </p:cNvSpPr>
          <p:nvPr/>
        </p:nvSpPr>
        <p:spPr bwMode="auto">
          <a:xfrm>
            <a:off x="8333734" y="4297308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59" name="Oval 15"/>
          <p:cNvSpPr>
            <a:spLocks noChangeArrowheads="1"/>
          </p:cNvSpPr>
          <p:nvPr/>
        </p:nvSpPr>
        <p:spPr bwMode="auto">
          <a:xfrm>
            <a:off x="8330902" y="4291274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60" name="Oval 16"/>
          <p:cNvSpPr>
            <a:spLocks noChangeArrowheads="1"/>
          </p:cNvSpPr>
          <p:nvPr/>
        </p:nvSpPr>
        <p:spPr bwMode="auto">
          <a:xfrm>
            <a:off x="8315055" y="4285028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61" name="Oval 17"/>
          <p:cNvSpPr>
            <a:spLocks noChangeArrowheads="1"/>
          </p:cNvSpPr>
          <p:nvPr/>
        </p:nvSpPr>
        <p:spPr bwMode="auto">
          <a:xfrm>
            <a:off x="8327964" y="4291274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62" name="Oval 18"/>
          <p:cNvSpPr>
            <a:spLocks noChangeArrowheads="1"/>
          </p:cNvSpPr>
          <p:nvPr/>
        </p:nvSpPr>
        <p:spPr bwMode="auto">
          <a:xfrm>
            <a:off x="8333734" y="4291274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63" name="Oval 19"/>
          <p:cNvSpPr>
            <a:spLocks noChangeArrowheads="1"/>
          </p:cNvSpPr>
          <p:nvPr/>
        </p:nvSpPr>
        <p:spPr bwMode="auto">
          <a:xfrm>
            <a:off x="8330902" y="4297308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64" name="Oval 20"/>
          <p:cNvSpPr>
            <a:spLocks noChangeArrowheads="1"/>
          </p:cNvSpPr>
          <p:nvPr/>
        </p:nvSpPr>
        <p:spPr bwMode="auto">
          <a:xfrm>
            <a:off x="8333734" y="4285028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65" name="Oval 21"/>
          <p:cNvSpPr>
            <a:spLocks noChangeArrowheads="1"/>
          </p:cNvSpPr>
          <p:nvPr/>
        </p:nvSpPr>
        <p:spPr bwMode="auto">
          <a:xfrm>
            <a:off x="8327964" y="4303237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66" name="Oval 22"/>
          <p:cNvSpPr>
            <a:spLocks noChangeArrowheads="1"/>
          </p:cNvSpPr>
          <p:nvPr/>
        </p:nvSpPr>
        <p:spPr bwMode="auto">
          <a:xfrm>
            <a:off x="8315055" y="4303237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67" name="Oval 23"/>
          <p:cNvSpPr>
            <a:spLocks noChangeArrowheads="1"/>
          </p:cNvSpPr>
          <p:nvPr/>
        </p:nvSpPr>
        <p:spPr bwMode="auto">
          <a:xfrm>
            <a:off x="8333734" y="4303237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68" name="Oval 24"/>
          <p:cNvSpPr>
            <a:spLocks noChangeArrowheads="1"/>
          </p:cNvSpPr>
          <p:nvPr/>
        </p:nvSpPr>
        <p:spPr bwMode="auto">
          <a:xfrm>
            <a:off x="8330902" y="4303237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69" name="Oval 25"/>
          <p:cNvSpPr>
            <a:spLocks noChangeArrowheads="1"/>
          </p:cNvSpPr>
          <p:nvPr/>
        </p:nvSpPr>
        <p:spPr bwMode="auto">
          <a:xfrm>
            <a:off x="8327964" y="4297308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70" name="Oval 26"/>
          <p:cNvSpPr>
            <a:spLocks noChangeArrowheads="1"/>
          </p:cNvSpPr>
          <p:nvPr/>
        </p:nvSpPr>
        <p:spPr bwMode="auto">
          <a:xfrm>
            <a:off x="8315055" y="4297308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29" name="Freeform 6"/>
          <p:cNvSpPr>
            <a:spLocks noEditPoints="1"/>
          </p:cNvSpPr>
          <p:nvPr/>
        </p:nvSpPr>
        <p:spPr bwMode="auto">
          <a:xfrm>
            <a:off x="8338394" y="4285301"/>
            <a:ext cx="22245" cy="36166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30" name="Oval 7"/>
          <p:cNvSpPr>
            <a:spLocks noChangeArrowheads="1"/>
          </p:cNvSpPr>
          <p:nvPr/>
        </p:nvSpPr>
        <p:spPr bwMode="auto">
          <a:xfrm>
            <a:off x="8354971" y="4308620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31" name="Oval 8"/>
          <p:cNvSpPr>
            <a:spLocks noChangeArrowheads="1"/>
          </p:cNvSpPr>
          <p:nvPr/>
        </p:nvSpPr>
        <p:spPr bwMode="auto">
          <a:xfrm>
            <a:off x="8350175" y="4308620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32" name="Oval 9"/>
          <p:cNvSpPr>
            <a:spLocks noChangeArrowheads="1"/>
          </p:cNvSpPr>
          <p:nvPr/>
        </p:nvSpPr>
        <p:spPr bwMode="auto">
          <a:xfrm>
            <a:off x="8339445" y="4308620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33" name="Oval 10"/>
          <p:cNvSpPr>
            <a:spLocks noChangeArrowheads="1"/>
          </p:cNvSpPr>
          <p:nvPr/>
        </p:nvSpPr>
        <p:spPr bwMode="auto">
          <a:xfrm>
            <a:off x="8352617" y="4308620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34" name="Oval 11"/>
          <p:cNvSpPr>
            <a:spLocks noChangeArrowheads="1"/>
          </p:cNvSpPr>
          <p:nvPr/>
        </p:nvSpPr>
        <p:spPr bwMode="auto">
          <a:xfrm>
            <a:off x="8350175" y="4288469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35" name="Oval 12"/>
          <p:cNvSpPr>
            <a:spLocks noChangeArrowheads="1"/>
          </p:cNvSpPr>
          <p:nvPr/>
        </p:nvSpPr>
        <p:spPr bwMode="auto">
          <a:xfrm>
            <a:off x="8352617" y="4288469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36" name="Oval 13"/>
          <p:cNvSpPr>
            <a:spLocks noChangeArrowheads="1"/>
          </p:cNvSpPr>
          <p:nvPr/>
        </p:nvSpPr>
        <p:spPr bwMode="auto">
          <a:xfrm>
            <a:off x="8339445" y="4293661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37" name="Oval 14"/>
          <p:cNvSpPr>
            <a:spLocks noChangeArrowheads="1"/>
          </p:cNvSpPr>
          <p:nvPr/>
        </p:nvSpPr>
        <p:spPr bwMode="auto">
          <a:xfrm>
            <a:off x="8354971" y="4298676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38" name="Oval 15"/>
          <p:cNvSpPr>
            <a:spLocks noChangeArrowheads="1"/>
          </p:cNvSpPr>
          <p:nvPr/>
        </p:nvSpPr>
        <p:spPr bwMode="auto">
          <a:xfrm>
            <a:off x="8352617" y="4293661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39" name="Oval 16"/>
          <p:cNvSpPr>
            <a:spLocks noChangeArrowheads="1"/>
          </p:cNvSpPr>
          <p:nvPr/>
        </p:nvSpPr>
        <p:spPr bwMode="auto">
          <a:xfrm>
            <a:off x="8339445" y="4288469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40" name="Oval 17"/>
          <p:cNvSpPr>
            <a:spLocks noChangeArrowheads="1"/>
          </p:cNvSpPr>
          <p:nvPr/>
        </p:nvSpPr>
        <p:spPr bwMode="auto">
          <a:xfrm>
            <a:off x="8350175" y="4293661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41" name="Oval 18"/>
          <p:cNvSpPr>
            <a:spLocks noChangeArrowheads="1"/>
          </p:cNvSpPr>
          <p:nvPr/>
        </p:nvSpPr>
        <p:spPr bwMode="auto">
          <a:xfrm>
            <a:off x="8354971" y="4293661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42" name="Oval 19"/>
          <p:cNvSpPr>
            <a:spLocks noChangeArrowheads="1"/>
          </p:cNvSpPr>
          <p:nvPr/>
        </p:nvSpPr>
        <p:spPr bwMode="auto">
          <a:xfrm>
            <a:off x="8352617" y="4298676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43" name="Oval 20"/>
          <p:cNvSpPr>
            <a:spLocks noChangeArrowheads="1"/>
          </p:cNvSpPr>
          <p:nvPr/>
        </p:nvSpPr>
        <p:spPr bwMode="auto">
          <a:xfrm>
            <a:off x="8354971" y="4288469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44" name="Oval 21"/>
          <p:cNvSpPr>
            <a:spLocks noChangeArrowheads="1"/>
          </p:cNvSpPr>
          <p:nvPr/>
        </p:nvSpPr>
        <p:spPr bwMode="auto">
          <a:xfrm>
            <a:off x="8350175" y="4303604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45" name="Oval 22"/>
          <p:cNvSpPr>
            <a:spLocks noChangeArrowheads="1"/>
          </p:cNvSpPr>
          <p:nvPr/>
        </p:nvSpPr>
        <p:spPr bwMode="auto">
          <a:xfrm>
            <a:off x="8339445" y="4303604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46" name="Oval 23"/>
          <p:cNvSpPr>
            <a:spLocks noChangeArrowheads="1"/>
          </p:cNvSpPr>
          <p:nvPr/>
        </p:nvSpPr>
        <p:spPr bwMode="auto">
          <a:xfrm>
            <a:off x="8354971" y="4303604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47" name="Oval 24"/>
          <p:cNvSpPr>
            <a:spLocks noChangeArrowheads="1"/>
          </p:cNvSpPr>
          <p:nvPr/>
        </p:nvSpPr>
        <p:spPr bwMode="auto">
          <a:xfrm>
            <a:off x="8352617" y="4303604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48" name="Oval 25"/>
          <p:cNvSpPr>
            <a:spLocks noChangeArrowheads="1"/>
          </p:cNvSpPr>
          <p:nvPr/>
        </p:nvSpPr>
        <p:spPr bwMode="auto">
          <a:xfrm>
            <a:off x="8350175" y="4298676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49" name="Oval 26"/>
          <p:cNvSpPr>
            <a:spLocks noChangeArrowheads="1"/>
          </p:cNvSpPr>
          <p:nvPr/>
        </p:nvSpPr>
        <p:spPr bwMode="auto">
          <a:xfrm>
            <a:off x="8339445" y="4298676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08" name="Freeform 6"/>
          <p:cNvSpPr>
            <a:spLocks noEditPoints="1"/>
          </p:cNvSpPr>
          <p:nvPr/>
        </p:nvSpPr>
        <p:spPr bwMode="auto">
          <a:xfrm>
            <a:off x="8290001" y="4285301"/>
            <a:ext cx="22245" cy="36166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09" name="Oval 7"/>
          <p:cNvSpPr>
            <a:spLocks noChangeArrowheads="1"/>
          </p:cNvSpPr>
          <p:nvPr/>
        </p:nvSpPr>
        <p:spPr bwMode="auto">
          <a:xfrm>
            <a:off x="8308231" y="4308620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10" name="Oval 8"/>
          <p:cNvSpPr>
            <a:spLocks noChangeArrowheads="1"/>
          </p:cNvSpPr>
          <p:nvPr/>
        </p:nvSpPr>
        <p:spPr bwMode="auto">
          <a:xfrm>
            <a:off x="8303435" y="4308620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11" name="Oval 9"/>
          <p:cNvSpPr>
            <a:spLocks noChangeArrowheads="1"/>
          </p:cNvSpPr>
          <p:nvPr/>
        </p:nvSpPr>
        <p:spPr bwMode="auto">
          <a:xfrm>
            <a:off x="8292705" y="4308620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12" name="Oval 10"/>
          <p:cNvSpPr>
            <a:spLocks noChangeArrowheads="1"/>
          </p:cNvSpPr>
          <p:nvPr/>
        </p:nvSpPr>
        <p:spPr bwMode="auto">
          <a:xfrm>
            <a:off x="8305877" y="4308620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13" name="Oval 11"/>
          <p:cNvSpPr>
            <a:spLocks noChangeArrowheads="1"/>
          </p:cNvSpPr>
          <p:nvPr/>
        </p:nvSpPr>
        <p:spPr bwMode="auto">
          <a:xfrm>
            <a:off x="8303435" y="4288469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14" name="Oval 12"/>
          <p:cNvSpPr>
            <a:spLocks noChangeArrowheads="1"/>
          </p:cNvSpPr>
          <p:nvPr/>
        </p:nvSpPr>
        <p:spPr bwMode="auto">
          <a:xfrm>
            <a:off x="8305877" y="4288469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15" name="Oval 13"/>
          <p:cNvSpPr>
            <a:spLocks noChangeArrowheads="1"/>
          </p:cNvSpPr>
          <p:nvPr/>
        </p:nvSpPr>
        <p:spPr bwMode="auto">
          <a:xfrm>
            <a:off x="8292705" y="4293661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16" name="Oval 14"/>
          <p:cNvSpPr>
            <a:spLocks noChangeArrowheads="1"/>
          </p:cNvSpPr>
          <p:nvPr/>
        </p:nvSpPr>
        <p:spPr bwMode="auto">
          <a:xfrm>
            <a:off x="8308231" y="4298676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17" name="Oval 15"/>
          <p:cNvSpPr>
            <a:spLocks noChangeArrowheads="1"/>
          </p:cNvSpPr>
          <p:nvPr/>
        </p:nvSpPr>
        <p:spPr bwMode="auto">
          <a:xfrm>
            <a:off x="8305877" y="4293661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18" name="Oval 16"/>
          <p:cNvSpPr>
            <a:spLocks noChangeArrowheads="1"/>
          </p:cNvSpPr>
          <p:nvPr/>
        </p:nvSpPr>
        <p:spPr bwMode="auto">
          <a:xfrm>
            <a:off x="8292705" y="4288469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19" name="Oval 17"/>
          <p:cNvSpPr>
            <a:spLocks noChangeArrowheads="1"/>
          </p:cNvSpPr>
          <p:nvPr/>
        </p:nvSpPr>
        <p:spPr bwMode="auto">
          <a:xfrm>
            <a:off x="8303435" y="4293661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20" name="Oval 18"/>
          <p:cNvSpPr>
            <a:spLocks noChangeArrowheads="1"/>
          </p:cNvSpPr>
          <p:nvPr/>
        </p:nvSpPr>
        <p:spPr bwMode="auto">
          <a:xfrm>
            <a:off x="8308231" y="4293661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21" name="Oval 19"/>
          <p:cNvSpPr>
            <a:spLocks noChangeArrowheads="1"/>
          </p:cNvSpPr>
          <p:nvPr/>
        </p:nvSpPr>
        <p:spPr bwMode="auto">
          <a:xfrm>
            <a:off x="8305877" y="4298676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22" name="Oval 20"/>
          <p:cNvSpPr>
            <a:spLocks noChangeArrowheads="1"/>
          </p:cNvSpPr>
          <p:nvPr/>
        </p:nvSpPr>
        <p:spPr bwMode="auto">
          <a:xfrm>
            <a:off x="8308231" y="4288469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23" name="Oval 21"/>
          <p:cNvSpPr>
            <a:spLocks noChangeArrowheads="1"/>
          </p:cNvSpPr>
          <p:nvPr/>
        </p:nvSpPr>
        <p:spPr bwMode="auto">
          <a:xfrm>
            <a:off x="8303435" y="4303604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24" name="Oval 22"/>
          <p:cNvSpPr>
            <a:spLocks noChangeArrowheads="1"/>
          </p:cNvSpPr>
          <p:nvPr/>
        </p:nvSpPr>
        <p:spPr bwMode="auto">
          <a:xfrm>
            <a:off x="8292705" y="4303604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25" name="Oval 23"/>
          <p:cNvSpPr>
            <a:spLocks noChangeArrowheads="1"/>
          </p:cNvSpPr>
          <p:nvPr/>
        </p:nvSpPr>
        <p:spPr bwMode="auto">
          <a:xfrm>
            <a:off x="8308231" y="4303604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26" name="Oval 24"/>
          <p:cNvSpPr>
            <a:spLocks noChangeArrowheads="1"/>
          </p:cNvSpPr>
          <p:nvPr/>
        </p:nvSpPr>
        <p:spPr bwMode="auto">
          <a:xfrm>
            <a:off x="8305877" y="4303604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27" name="Oval 25"/>
          <p:cNvSpPr>
            <a:spLocks noChangeArrowheads="1"/>
          </p:cNvSpPr>
          <p:nvPr/>
        </p:nvSpPr>
        <p:spPr bwMode="auto">
          <a:xfrm>
            <a:off x="8303435" y="4298676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28" name="Oval 26"/>
          <p:cNvSpPr>
            <a:spLocks noChangeArrowheads="1"/>
          </p:cNvSpPr>
          <p:nvPr/>
        </p:nvSpPr>
        <p:spPr bwMode="auto">
          <a:xfrm>
            <a:off x="8292705" y="4298676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41" name="Oval 2440"/>
          <p:cNvSpPr/>
          <p:nvPr/>
        </p:nvSpPr>
        <p:spPr>
          <a:xfrm>
            <a:off x="8556708" y="4382355"/>
            <a:ext cx="106439" cy="107395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3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86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29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72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14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58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999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43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50" dirty="0" smtClean="0">
              <a:solidFill>
                <a:srgbClr val="FFFFFF"/>
              </a:solidFill>
            </a:endParaRPr>
          </a:p>
        </p:txBody>
      </p:sp>
      <p:sp>
        <p:nvSpPr>
          <p:cNvPr id="2442" name="Oval 2441"/>
          <p:cNvSpPr/>
          <p:nvPr/>
        </p:nvSpPr>
        <p:spPr>
          <a:xfrm>
            <a:off x="8560595" y="4386673"/>
            <a:ext cx="98625" cy="99510"/>
          </a:xfrm>
          <a:prstGeom prst="ellipse">
            <a:avLst/>
          </a:prstGeom>
          <a:solidFill>
            <a:srgbClr val="57B84D"/>
          </a:soli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07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420" name="Freeform 6"/>
          <p:cNvSpPr>
            <a:spLocks noEditPoints="1"/>
          </p:cNvSpPr>
          <p:nvPr/>
        </p:nvSpPr>
        <p:spPr bwMode="auto">
          <a:xfrm>
            <a:off x="8596198" y="4413518"/>
            <a:ext cx="26762" cy="43510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21" name="Oval 7"/>
          <p:cNvSpPr>
            <a:spLocks noChangeArrowheads="1"/>
          </p:cNvSpPr>
          <p:nvPr/>
        </p:nvSpPr>
        <p:spPr bwMode="auto">
          <a:xfrm>
            <a:off x="8618131" y="4441572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22" name="Oval 8"/>
          <p:cNvSpPr>
            <a:spLocks noChangeArrowheads="1"/>
          </p:cNvSpPr>
          <p:nvPr/>
        </p:nvSpPr>
        <p:spPr bwMode="auto">
          <a:xfrm>
            <a:off x="8612360" y="4441572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23" name="Oval 9"/>
          <p:cNvSpPr>
            <a:spLocks noChangeArrowheads="1"/>
          </p:cNvSpPr>
          <p:nvPr/>
        </p:nvSpPr>
        <p:spPr bwMode="auto">
          <a:xfrm>
            <a:off x="8599451" y="4441572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24" name="Oval 10"/>
          <p:cNvSpPr>
            <a:spLocks noChangeArrowheads="1"/>
          </p:cNvSpPr>
          <p:nvPr/>
        </p:nvSpPr>
        <p:spPr bwMode="auto">
          <a:xfrm>
            <a:off x="8615299" y="4441572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25" name="Oval 11"/>
          <p:cNvSpPr>
            <a:spLocks noChangeArrowheads="1"/>
          </p:cNvSpPr>
          <p:nvPr/>
        </p:nvSpPr>
        <p:spPr bwMode="auto">
          <a:xfrm>
            <a:off x="8612360" y="4417329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26" name="Oval 12"/>
          <p:cNvSpPr>
            <a:spLocks noChangeArrowheads="1"/>
          </p:cNvSpPr>
          <p:nvPr/>
        </p:nvSpPr>
        <p:spPr bwMode="auto">
          <a:xfrm>
            <a:off x="8615299" y="4417329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27" name="Oval 13"/>
          <p:cNvSpPr>
            <a:spLocks noChangeArrowheads="1"/>
          </p:cNvSpPr>
          <p:nvPr/>
        </p:nvSpPr>
        <p:spPr bwMode="auto">
          <a:xfrm>
            <a:off x="8599451" y="4423574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28" name="Oval 14"/>
          <p:cNvSpPr>
            <a:spLocks noChangeArrowheads="1"/>
          </p:cNvSpPr>
          <p:nvPr/>
        </p:nvSpPr>
        <p:spPr bwMode="auto">
          <a:xfrm>
            <a:off x="8618131" y="4429608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29" name="Oval 15"/>
          <p:cNvSpPr>
            <a:spLocks noChangeArrowheads="1"/>
          </p:cNvSpPr>
          <p:nvPr/>
        </p:nvSpPr>
        <p:spPr bwMode="auto">
          <a:xfrm>
            <a:off x="8615299" y="4423574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30" name="Oval 16"/>
          <p:cNvSpPr>
            <a:spLocks noChangeArrowheads="1"/>
          </p:cNvSpPr>
          <p:nvPr/>
        </p:nvSpPr>
        <p:spPr bwMode="auto">
          <a:xfrm>
            <a:off x="8599451" y="4417329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31" name="Oval 17"/>
          <p:cNvSpPr>
            <a:spLocks noChangeArrowheads="1"/>
          </p:cNvSpPr>
          <p:nvPr/>
        </p:nvSpPr>
        <p:spPr bwMode="auto">
          <a:xfrm>
            <a:off x="8612360" y="4423574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32" name="Oval 18"/>
          <p:cNvSpPr>
            <a:spLocks noChangeArrowheads="1"/>
          </p:cNvSpPr>
          <p:nvPr/>
        </p:nvSpPr>
        <p:spPr bwMode="auto">
          <a:xfrm>
            <a:off x="8618131" y="4423574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33" name="Oval 19"/>
          <p:cNvSpPr>
            <a:spLocks noChangeArrowheads="1"/>
          </p:cNvSpPr>
          <p:nvPr/>
        </p:nvSpPr>
        <p:spPr bwMode="auto">
          <a:xfrm>
            <a:off x="8615299" y="4429608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34" name="Oval 20"/>
          <p:cNvSpPr>
            <a:spLocks noChangeArrowheads="1"/>
          </p:cNvSpPr>
          <p:nvPr/>
        </p:nvSpPr>
        <p:spPr bwMode="auto">
          <a:xfrm>
            <a:off x="8618131" y="4417329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35" name="Oval 21"/>
          <p:cNvSpPr>
            <a:spLocks noChangeArrowheads="1"/>
          </p:cNvSpPr>
          <p:nvPr/>
        </p:nvSpPr>
        <p:spPr bwMode="auto">
          <a:xfrm>
            <a:off x="8612360" y="4435537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36" name="Oval 22"/>
          <p:cNvSpPr>
            <a:spLocks noChangeArrowheads="1"/>
          </p:cNvSpPr>
          <p:nvPr/>
        </p:nvSpPr>
        <p:spPr bwMode="auto">
          <a:xfrm>
            <a:off x="8599451" y="4435537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37" name="Oval 23"/>
          <p:cNvSpPr>
            <a:spLocks noChangeArrowheads="1"/>
          </p:cNvSpPr>
          <p:nvPr/>
        </p:nvSpPr>
        <p:spPr bwMode="auto">
          <a:xfrm>
            <a:off x="8618131" y="4435537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38" name="Oval 24"/>
          <p:cNvSpPr>
            <a:spLocks noChangeArrowheads="1"/>
          </p:cNvSpPr>
          <p:nvPr/>
        </p:nvSpPr>
        <p:spPr bwMode="auto">
          <a:xfrm>
            <a:off x="8615299" y="4435537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39" name="Oval 25"/>
          <p:cNvSpPr>
            <a:spLocks noChangeArrowheads="1"/>
          </p:cNvSpPr>
          <p:nvPr/>
        </p:nvSpPr>
        <p:spPr bwMode="auto">
          <a:xfrm>
            <a:off x="8612360" y="4429608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40" name="Oval 26"/>
          <p:cNvSpPr>
            <a:spLocks noChangeArrowheads="1"/>
          </p:cNvSpPr>
          <p:nvPr/>
        </p:nvSpPr>
        <p:spPr bwMode="auto">
          <a:xfrm>
            <a:off x="8599451" y="4429608"/>
            <a:ext cx="2009" cy="202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99" name="Freeform 6"/>
          <p:cNvSpPr>
            <a:spLocks noEditPoints="1"/>
          </p:cNvSpPr>
          <p:nvPr/>
        </p:nvSpPr>
        <p:spPr bwMode="auto">
          <a:xfrm>
            <a:off x="8622791" y="4417602"/>
            <a:ext cx="22245" cy="36166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00" name="Oval 7"/>
          <p:cNvSpPr>
            <a:spLocks noChangeArrowheads="1"/>
          </p:cNvSpPr>
          <p:nvPr/>
        </p:nvSpPr>
        <p:spPr bwMode="auto">
          <a:xfrm>
            <a:off x="8639368" y="4440920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01" name="Oval 8"/>
          <p:cNvSpPr>
            <a:spLocks noChangeArrowheads="1"/>
          </p:cNvSpPr>
          <p:nvPr/>
        </p:nvSpPr>
        <p:spPr bwMode="auto">
          <a:xfrm>
            <a:off x="8634571" y="4440920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02" name="Oval 9"/>
          <p:cNvSpPr>
            <a:spLocks noChangeArrowheads="1"/>
          </p:cNvSpPr>
          <p:nvPr/>
        </p:nvSpPr>
        <p:spPr bwMode="auto">
          <a:xfrm>
            <a:off x="8623842" y="4440920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03" name="Oval 10"/>
          <p:cNvSpPr>
            <a:spLocks noChangeArrowheads="1"/>
          </p:cNvSpPr>
          <p:nvPr/>
        </p:nvSpPr>
        <p:spPr bwMode="auto">
          <a:xfrm>
            <a:off x="8637014" y="4440920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04" name="Oval 11"/>
          <p:cNvSpPr>
            <a:spLocks noChangeArrowheads="1"/>
          </p:cNvSpPr>
          <p:nvPr/>
        </p:nvSpPr>
        <p:spPr bwMode="auto">
          <a:xfrm>
            <a:off x="8634571" y="4420769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05" name="Oval 12"/>
          <p:cNvSpPr>
            <a:spLocks noChangeArrowheads="1"/>
          </p:cNvSpPr>
          <p:nvPr/>
        </p:nvSpPr>
        <p:spPr bwMode="auto">
          <a:xfrm>
            <a:off x="8637014" y="4420769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06" name="Oval 13"/>
          <p:cNvSpPr>
            <a:spLocks noChangeArrowheads="1"/>
          </p:cNvSpPr>
          <p:nvPr/>
        </p:nvSpPr>
        <p:spPr bwMode="auto">
          <a:xfrm>
            <a:off x="8623842" y="4425961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07" name="Oval 14"/>
          <p:cNvSpPr>
            <a:spLocks noChangeArrowheads="1"/>
          </p:cNvSpPr>
          <p:nvPr/>
        </p:nvSpPr>
        <p:spPr bwMode="auto">
          <a:xfrm>
            <a:off x="8639368" y="4430977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08" name="Oval 15"/>
          <p:cNvSpPr>
            <a:spLocks noChangeArrowheads="1"/>
          </p:cNvSpPr>
          <p:nvPr/>
        </p:nvSpPr>
        <p:spPr bwMode="auto">
          <a:xfrm>
            <a:off x="8637014" y="4425961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09" name="Oval 16"/>
          <p:cNvSpPr>
            <a:spLocks noChangeArrowheads="1"/>
          </p:cNvSpPr>
          <p:nvPr/>
        </p:nvSpPr>
        <p:spPr bwMode="auto">
          <a:xfrm>
            <a:off x="8623842" y="4420769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10" name="Oval 17"/>
          <p:cNvSpPr>
            <a:spLocks noChangeArrowheads="1"/>
          </p:cNvSpPr>
          <p:nvPr/>
        </p:nvSpPr>
        <p:spPr bwMode="auto">
          <a:xfrm>
            <a:off x="8634571" y="4425961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11" name="Oval 18"/>
          <p:cNvSpPr>
            <a:spLocks noChangeArrowheads="1"/>
          </p:cNvSpPr>
          <p:nvPr/>
        </p:nvSpPr>
        <p:spPr bwMode="auto">
          <a:xfrm>
            <a:off x="8639368" y="4425961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12" name="Oval 19"/>
          <p:cNvSpPr>
            <a:spLocks noChangeArrowheads="1"/>
          </p:cNvSpPr>
          <p:nvPr/>
        </p:nvSpPr>
        <p:spPr bwMode="auto">
          <a:xfrm>
            <a:off x="8637014" y="4430977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13" name="Oval 20"/>
          <p:cNvSpPr>
            <a:spLocks noChangeArrowheads="1"/>
          </p:cNvSpPr>
          <p:nvPr/>
        </p:nvSpPr>
        <p:spPr bwMode="auto">
          <a:xfrm>
            <a:off x="8639368" y="4420769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14" name="Oval 21"/>
          <p:cNvSpPr>
            <a:spLocks noChangeArrowheads="1"/>
          </p:cNvSpPr>
          <p:nvPr/>
        </p:nvSpPr>
        <p:spPr bwMode="auto">
          <a:xfrm>
            <a:off x="8634571" y="4435904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15" name="Oval 22"/>
          <p:cNvSpPr>
            <a:spLocks noChangeArrowheads="1"/>
          </p:cNvSpPr>
          <p:nvPr/>
        </p:nvSpPr>
        <p:spPr bwMode="auto">
          <a:xfrm>
            <a:off x="8623842" y="4435904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16" name="Oval 23"/>
          <p:cNvSpPr>
            <a:spLocks noChangeArrowheads="1"/>
          </p:cNvSpPr>
          <p:nvPr/>
        </p:nvSpPr>
        <p:spPr bwMode="auto">
          <a:xfrm>
            <a:off x="8639368" y="4435904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17" name="Oval 24"/>
          <p:cNvSpPr>
            <a:spLocks noChangeArrowheads="1"/>
          </p:cNvSpPr>
          <p:nvPr/>
        </p:nvSpPr>
        <p:spPr bwMode="auto">
          <a:xfrm>
            <a:off x="8637014" y="4435904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18" name="Oval 25"/>
          <p:cNvSpPr>
            <a:spLocks noChangeArrowheads="1"/>
          </p:cNvSpPr>
          <p:nvPr/>
        </p:nvSpPr>
        <p:spPr bwMode="auto">
          <a:xfrm>
            <a:off x="8634571" y="4430977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419" name="Oval 26"/>
          <p:cNvSpPr>
            <a:spLocks noChangeArrowheads="1"/>
          </p:cNvSpPr>
          <p:nvPr/>
        </p:nvSpPr>
        <p:spPr bwMode="auto">
          <a:xfrm>
            <a:off x="8623842" y="4430977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78" name="Freeform 6"/>
          <p:cNvSpPr>
            <a:spLocks noEditPoints="1"/>
          </p:cNvSpPr>
          <p:nvPr/>
        </p:nvSpPr>
        <p:spPr bwMode="auto">
          <a:xfrm>
            <a:off x="8574397" y="4417602"/>
            <a:ext cx="22245" cy="36166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79" name="Oval 7"/>
          <p:cNvSpPr>
            <a:spLocks noChangeArrowheads="1"/>
          </p:cNvSpPr>
          <p:nvPr/>
        </p:nvSpPr>
        <p:spPr bwMode="auto">
          <a:xfrm>
            <a:off x="8592627" y="4440920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80" name="Oval 8"/>
          <p:cNvSpPr>
            <a:spLocks noChangeArrowheads="1"/>
          </p:cNvSpPr>
          <p:nvPr/>
        </p:nvSpPr>
        <p:spPr bwMode="auto">
          <a:xfrm>
            <a:off x="8587831" y="4440920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81" name="Oval 9"/>
          <p:cNvSpPr>
            <a:spLocks noChangeArrowheads="1"/>
          </p:cNvSpPr>
          <p:nvPr/>
        </p:nvSpPr>
        <p:spPr bwMode="auto">
          <a:xfrm>
            <a:off x="8577101" y="4440920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82" name="Oval 10"/>
          <p:cNvSpPr>
            <a:spLocks noChangeArrowheads="1"/>
          </p:cNvSpPr>
          <p:nvPr/>
        </p:nvSpPr>
        <p:spPr bwMode="auto">
          <a:xfrm>
            <a:off x="8590273" y="4440920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83" name="Oval 11"/>
          <p:cNvSpPr>
            <a:spLocks noChangeArrowheads="1"/>
          </p:cNvSpPr>
          <p:nvPr/>
        </p:nvSpPr>
        <p:spPr bwMode="auto">
          <a:xfrm>
            <a:off x="8587831" y="4420769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84" name="Oval 12"/>
          <p:cNvSpPr>
            <a:spLocks noChangeArrowheads="1"/>
          </p:cNvSpPr>
          <p:nvPr/>
        </p:nvSpPr>
        <p:spPr bwMode="auto">
          <a:xfrm>
            <a:off x="8590273" y="4420769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85" name="Oval 13"/>
          <p:cNvSpPr>
            <a:spLocks noChangeArrowheads="1"/>
          </p:cNvSpPr>
          <p:nvPr/>
        </p:nvSpPr>
        <p:spPr bwMode="auto">
          <a:xfrm>
            <a:off x="8577101" y="4425961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86" name="Oval 14"/>
          <p:cNvSpPr>
            <a:spLocks noChangeArrowheads="1"/>
          </p:cNvSpPr>
          <p:nvPr/>
        </p:nvSpPr>
        <p:spPr bwMode="auto">
          <a:xfrm>
            <a:off x="8592627" y="4430977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87" name="Oval 15"/>
          <p:cNvSpPr>
            <a:spLocks noChangeArrowheads="1"/>
          </p:cNvSpPr>
          <p:nvPr/>
        </p:nvSpPr>
        <p:spPr bwMode="auto">
          <a:xfrm>
            <a:off x="8590273" y="4425961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88" name="Oval 16"/>
          <p:cNvSpPr>
            <a:spLocks noChangeArrowheads="1"/>
          </p:cNvSpPr>
          <p:nvPr/>
        </p:nvSpPr>
        <p:spPr bwMode="auto">
          <a:xfrm>
            <a:off x="8577101" y="4420769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89" name="Oval 17"/>
          <p:cNvSpPr>
            <a:spLocks noChangeArrowheads="1"/>
          </p:cNvSpPr>
          <p:nvPr/>
        </p:nvSpPr>
        <p:spPr bwMode="auto">
          <a:xfrm>
            <a:off x="8587831" y="4425961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90" name="Oval 18"/>
          <p:cNvSpPr>
            <a:spLocks noChangeArrowheads="1"/>
          </p:cNvSpPr>
          <p:nvPr/>
        </p:nvSpPr>
        <p:spPr bwMode="auto">
          <a:xfrm>
            <a:off x="8592627" y="4425961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91" name="Oval 19"/>
          <p:cNvSpPr>
            <a:spLocks noChangeArrowheads="1"/>
          </p:cNvSpPr>
          <p:nvPr/>
        </p:nvSpPr>
        <p:spPr bwMode="auto">
          <a:xfrm>
            <a:off x="8590273" y="4430977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92" name="Oval 20"/>
          <p:cNvSpPr>
            <a:spLocks noChangeArrowheads="1"/>
          </p:cNvSpPr>
          <p:nvPr/>
        </p:nvSpPr>
        <p:spPr bwMode="auto">
          <a:xfrm>
            <a:off x="8592627" y="4420769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93" name="Oval 21"/>
          <p:cNvSpPr>
            <a:spLocks noChangeArrowheads="1"/>
          </p:cNvSpPr>
          <p:nvPr/>
        </p:nvSpPr>
        <p:spPr bwMode="auto">
          <a:xfrm>
            <a:off x="8587831" y="4435904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94" name="Oval 22"/>
          <p:cNvSpPr>
            <a:spLocks noChangeArrowheads="1"/>
          </p:cNvSpPr>
          <p:nvPr/>
        </p:nvSpPr>
        <p:spPr bwMode="auto">
          <a:xfrm>
            <a:off x="8577101" y="4435904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95" name="Oval 23"/>
          <p:cNvSpPr>
            <a:spLocks noChangeArrowheads="1"/>
          </p:cNvSpPr>
          <p:nvPr/>
        </p:nvSpPr>
        <p:spPr bwMode="auto">
          <a:xfrm>
            <a:off x="8592627" y="4435904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96" name="Oval 24"/>
          <p:cNvSpPr>
            <a:spLocks noChangeArrowheads="1"/>
          </p:cNvSpPr>
          <p:nvPr/>
        </p:nvSpPr>
        <p:spPr bwMode="auto">
          <a:xfrm>
            <a:off x="8590273" y="4435904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97" name="Oval 25"/>
          <p:cNvSpPr>
            <a:spLocks noChangeArrowheads="1"/>
          </p:cNvSpPr>
          <p:nvPr/>
        </p:nvSpPr>
        <p:spPr bwMode="auto">
          <a:xfrm>
            <a:off x="8587831" y="4430977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398" name="Oval 26"/>
          <p:cNvSpPr>
            <a:spLocks noChangeArrowheads="1"/>
          </p:cNvSpPr>
          <p:nvPr/>
        </p:nvSpPr>
        <p:spPr bwMode="auto">
          <a:xfrm>
            <a:off x="8577101" y="4430977"/>
            <a:ext cx="1670" cy="168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8001221" y="4145656"/>
            <a:ext cx="633238" cy="334664"/>
            <a:chOff x="8001221" y="4145656"/>
            <a:chExt cx="633238" cy="334664"/>
          </a:xfrm>
        </p:grpSpPr>
        <p:sp>
          <p:nvSpPr>
            <p:cNvPr id="4277" name="Oval 4276"/>
            <p:cNvSpPr>
              <a:spLocks noChangeAspect="1"/>
            </p:cNvSpPr>
            <p:nvPr/>
          </p:nvSpPr>
          <p:spPr>
            <a:xfrm>
              <a:off x="8072991" y="4290837"/>
              <a:ext cx="42372" cy="42371"/>
            </a:xfrm>
            <a:prstGeom prst="ellipse">
              <a:avLst/>
            </a:prstGeom>
            <a:solidFill>
              <a:srgbClr val="E9B837"/>
            </a:solidFill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278" name="Oval 4277"/>
            <p:cNvSpPr>
              <a:spLocks noChangeAspect="1"/>
            </p:cNvSpPr>
            <p:nvPr/>
          </p:nvSpPr>
          <p:spPr>
            <a:xfrm>
              <a:off x="8001221" y="4177311"/>
              <a:ext cx="42372" cy="42371"/>
            </a:xfrm>
            <a:prstGeom prst="ellipse">
              <a:avLst/>
            </a:prstGeom>
            <a:solidFill>
              <a:srgbClr val="E9B837"/>
            </a:solidFill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282" name="Oval 4281"/>
            <p:cNvSpPr>
              <a:spLocks noChangeAspect="1"/>
            </p:cNvSpPr>
            <p:nvPr/>
          </p:nvSpPr>
          <p:spPr>
            <a:xfrm>
              <a:off x="8227367" y="4171708"/>
              <a:ext cx="42372" cy="42371"/>
            </a:xfrm>
            <a:prstGeom prst="ellipse">
              <a:avLst/>
            </a:prstGeom>
            <a:solidFill>
              <a:srgbClr val="E9B837"/>
            </a:solidFill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286" name="Oval 4285"/>
            <p:cNvSpPr>
              <a:spLocks noChangeAspect="1"/>
            </p:cNvSpPr>
            <p:nvPr/>
          </p:nvSpPr>
          <p:spPr>
            <a:xfrm>
              <a:off x="8088310" y="4145656"/>
              <a:ext cx="42372" cy="42371"/>
            </a:xfrm>
            <a:prstGeom prst="ellipse">
              <a:avLst/>
            </a:prstGeom>
            <a:solidFill>
              <a:srgbClr val="E9B837"/>
            </a:solidFill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03" name="Oval 4302"/>
            <p:cNvSpPr>
              <a:spLocks noChangeAspect="1"/>
            </p:cNvSpPr>
            <p:nvPr/>
          </p:nvSpPr>
          <p:spPr>
            <a:xfrm>
              <a:off x="8220098" y="4437949"/>
              <a:ext cx="42372" cy="42371"/>
            </a:xfrm>
            <a:prstGeom prst="ellipse">
              <a:avLst/>
            </a:prstGeom>
            <a:solidFill>
              <a:srgbClr val="E9B837"/>
            </a:solidFill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04" name="Oval 4303"/>
            <p:cNvSpPr>
              <a:spLocks noChangeAspect="1"/>
            </p:cNvSpPr>
            <p:nvPr/>
          </p:nvSpPr>
          <p:spPr>
            <a:xfrm>
              <a:off x="8166931" y="4279172"/>
              <a:ext cx="42372" cy="42371"/>
            </a:xfrm>
            <a:prstGeom prst="ellipse">
              <a:avLst/>
            </a:prstGeom>
            <a:solidFill>
              <a:srgbClr val="E9B837"/>
            </a:solidFill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05" name="Oval 4304"/>
            <p:cNvSpPr>
              <a:spLocks noChangeAspect="1"/>
            </p:cNvSpPr>
            <p:nvPr/>
          </p:nvSpPr>
          <p:spPr>
            <a:xfrm>
              <a:off x="8334591" y="4321475"/>
              <a:ext cx="42372" cy="42371"/>
            </a:xfrm>
            <a:prstGeom prst="ellipse">
              <a:avLst/>
            </a:prstGeom>
            <a:solidFill>
              <a:srgbClr val="E9B837"/>
            </a:solidFill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06" name="Oval 4305"/>
            <p:cNvSpPr>
              <a:spLocks noChangeAspect="1"/>
            </p:cNvSpPr>
            <p:nvPr/>
          </p:nvSpPr>
          <p:spPr>
            <a:xfrm>
              <a:off x="8235418" y="4292767"/>
              <a:ext cx="42372" cy="42371"/>
            </a:xfrm>
            <a:prstGeom prst="ellipse">
              <a:avLst/>
            </a:prstGeom>
            <a:solidFill>
              <a:srgbClr val="E9B837"/>
            </a:solidFill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68" name="Oval 4367"/>
            <p:cNvSpPr>
              <a:spLocks noChangeAspect="1"/>
            </p:cNvSpPr>
            <p:nvPr/>
          </p:nvSpPr>
          <p:spPr>
            <a:xfrm>
              <a:off x="8477594" y="4431385"/>
              <a:ext cx="42372" cy="42371"/>
            </a:xfrm>
            <a:prstGeom prst="ellipse">
              <a:avLst/>
            </a:prstGeom>
            <a:solidFill>
              <a:srgbClr val="E9B837"/>
            </a:solidFill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69" name="Oval 4368"/>
            <p:cNvSpPr>
              <a:spLocks noChangeAspect="1"/>
            </p:cNvSpPr>
            <p:nvPr/>
          </p:nvSpPr>
          <p:spPr>
            <a:xfrm>
              <a:off x="8405823" y="4317859"/>
              <a:ext cx="42372" cy="42371"/>
            </a:xfrm>
            <a:prstGeom prst="ellipse">
              <a:avLst/>
            </a:prstGeom>
            <a:solidFill>
              <a:srgbClr val="E9B837"/>
            </a:solidFill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70" name="Oval 4369"/>
            <p:cNvSpPr>
              <a:spLocks noChangeAspect="1"/>
            </p:cNvSpPr>
            <p:nvPr/>
          </p:nvSpPr>
          <p:spPr>
            <a:xfrm>
              <a:off x="8592087" y="4314911"/>
              <a:ext cx="42372" cy="42371"/>
            </a:xfrm>
            <a:prstGeom prst="ellipse">
              <a:avLst/>
            </a:prstGeom>
            <a:solidFill>
              <a:srgbClr val="E9B837"/>
            </a:solidFill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71" name="Oval 4370"/>
            <p:cNvSpPr>
              <a:spLocks noChangeAspect="1"/>
            </p:cNvSpPr>
            <p:nvPr/>
          </p:nvSpPr>
          <p:spPr>
            <a:xfrm>
              <a:off x="8492913" y="4286203"/>
              <a:ext cx="42372" cy="42371"/>
            </a:xfrm>
            <a:prstGeom prst="ellipse">
              <a:avLst/>
            </a:prstGeom>
            <a:solidFill>
              <a:srgbClr val="E9B837"/>
            </a:solidFill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</p:grpSp>
      <p:sp>
        <p:nvSpPr>
          <p:cNvPr id="3217" name="Oval 3216"/>
          <p:cNvSpPr/>
          <p:nvPr/>
        </p:nvSpPr>
        <p:spPr>
          <a:xfrm>
            <a:off x="6377047" y="3569504"/>
            <a:ext cx="125304" cy="111125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3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86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29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72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14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58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999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43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50" dirty="0" smtClean="0">
              <a:solidFill>
                <a:srgbClr val="FFFFFF"/>
              </a:solidFill>
            </a:endParaRPr>
          </a:p>
        </p:txBody>
      </p:sp>
      <p:sp>
        <p:nvSpPr>
          <p:cNvPr id="3218" name="Oval 3217"/>
          <p:cNvSpPr/>
          <p:nvPr/>
        </p:nvSpPr>
        <p:spPr>
          <a:xfrm>
            <a:off x="6381623" y="3573972"/>
            <a:ext cx="116104" cy="102966"/>
          </a:xfrm>
          <a:prstGeom prst="ellipse">
            <a:avLst/>
          </a:prstGeom>
          <a:gradFill flip="none" rotWithShape="1">
            <a:gsLst>
              <a:gs pos="13000">
                <a:srgbClr val="F5E102"/>
              </a:gs>
              <a:gs pos="100000">
                <a:srgbClr val="C1AA00"/>
              </a:gs>
            </a:gsLst>
            <a:lin ang="5400000" scaled="0"/>
            <a:tileRect/>
          </a:gra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07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3196" name="Freeform 6"/>
          <p:cNvSpPr>
            <a:spLocks noEditPoints="1"/>
          </p:cNvSpPr>
          <p:nvPr/>
        </p:nvSpPr>
        <p:spPr bwMode="auto">
          <a:xfrm>
            <a:off x="6423536" y="3601749"/>
            <a:ext cx="31505" cy="45021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97" name="Oval 7"/>
          <p:cNvSpPr>
            <a:spLocks noChangeArrowheads="1"/>
          </p:cNvSpPr>
          <p:nvPr/>
        </p:nvSpPr>
        <p:spPr bwMode="auto">
          <a:xfrm>
            <a:off x="6449355" y="3630777"/>
            <a:ext cx="2365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98" name="Oval 8"/>
          <p:cNvSpPr>
            <a:spLocks noChangeArrowheads="1"/>
          </p:cNvSpPr>
          <p:nvPr/>
        </p:nvSpPr>
        <p:spPr bwMode="auto">
          <a:xfrm>
            <a:off x="6442562" y="3630777"/>
            <a:ext cx="2365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99" name="Oval 9"/>
          <p:cNvSpPr>
            <a:spLocks noChangeArrowheads="1"/>
          </p:cNvSpPr>
          <p:nvPr/>
        </p:nvSpPr>
        <p:spPr bwMode="auto">
          <a:xfrm>
            <a:off x="6427366" y="3630777"/>
            <a:ext cx="2365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00" name="Oval 10"/>
          <p:cNvSpPr>
            <a:spLocks noChangeArrowheads="1"/>
          </p:cNvSpPr>
          <p:nvPr/>
        </p:nvSpPr>
        <p:spPr bwMode="auto">
          <a:xfrm>
            <a:off x="6446021" y="3630777"/>
            <a:ext cx="2365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01" name="Oval 11"/>
          <p:cNvSpPr>
            <a:spLocks noChangeArrowheads="1"/>
          </p:cNvSpPr>
          <p:nvPr/>
        </p:nvSpPr>
        <p:spPr bwMode="auto">
          <a:xfrm>
            <a:off x="6442562" y="3605693"/>
            <a:ext cx="2365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02" name="Oval 12"/>
          <p:cNvSpPr>
            <a:spLocks noChangeArrowheads="1"/>
          </p:cNvSpPr>
          <p:nvPr/>
        </p:nvSpPr>
        <p:spPr bwMode="auto">
          <a:xfrm>
            <a:off x="6446021" y="3605693"/>
            <a:ext cx="2365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03" name="Oval 13"/>
          <p:cNvSpPr>
            <a:spLocks noChangeArrowheads="1"/>
          </p:cNvSpPr>
          <p:nvPr/>
        </p:nvSpPr>
        <p:spPr bwMode="auto">
          <a:xfrm>
            <a:off x="6427366" y="3612155"/>
            <a:ext cx="2365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04" name="Oval 14"/>
          <p:cNvSpPr>
            <a:spLocks noChangeArrowheads="1"/>
          </p:cNvSpPr>
          <p:nvPr/>
        </p:nvSpPr>
        <p:spPr bwMode="auto">
          <a:xfrm>
            <a:off x="6449355" y="3618399"/>
            <a:ext cx="2365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05" name="Oval 15"/>
          <p:cNvSpPr>
            <a:spLocks noChangeArrowheads="1"/>
          </p:cNvSpPr>
          <p:nvPr/>
        </p:nvSpPr>
        <p:spPr bwMode="auto">
          <a:xfrm>
            <a:off x="6446021" y="3612155"/>
            <a:ext cx="2365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06" name="Oval 16"/>
          <p:cNvSpPr>
            <a:spLocks noChangeArrowheads="1"/>
          </p:cNvSpPr>
          <p:nvPr/>
        </p:nvSpPr>
        <p:spPr bwMode="auto">
          <a:xfrm>
            <a:off x="6427366" y="3605693"/>
            <a:ext cx="2365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07" name="Oval 17"/>
          <p:cNvSpPr>
            <a:spLocks noChangeArrowheads="1"/>
          </p:cNvSpPr>
          <p:nvPr/>
        </p:nvSpPr>
        <p:spPr bwMode="auto">
          <a:xfrm>
            <a:off x="6442562" y="3612155"/>
            <a:ext cx="2365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08" name="Oval 18"/>
          <p:cNvSpPr>
            <a:spLocks noChangeArrowheads="1"/>
          </p:cNvSpPr>
          <p:nvPr/>
        </p:nvSpPr>
        <p:spPr bwMode="auto">
          <a:xfrm>
            <a:off x="6449355" y="3612155"/>
            <a:ext cx="2365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09" name="Oval 19"/>
          <p:cNvSpPr>
            <a:spLocks noChangeArrowheads="1"/>
          </p:cNvSpPr>
          <p:nvPr/>
        </p:nvSpPr>
        <p:spPr bwMode="auto">
          <a:xfrm>
            <a:off x="6446021" y="3618399"/>
            <a:ext cx="2365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10" name="Oval 20"/>
          <p:cNvSpPr>
            <a:spLocks noChangeArrowheads="1"/>
          </p:cNvSpPr>
          <p:nvPr/>
        </p:nvSpPr>
        <p:spPr bwMode="auto">
          <a:xfrm>
            <a:off x="6449355" y="3605693"/>
            <a:ext cx="2365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11" name="Oval 21"/>
          <p:cNvSpPr>
            <a:spLocks noChangeArrowheads="1"/>
          </p:cNvSpPr>
          <p:nvPr/>
        </p:nvSpPr>
        <p:spPr bwMode="auto">
          <a:xfrm>
            <a:off x="6442562" y="3624534"/>
            <a:ext cx="2365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12" name="Oval 22"/>
          <p:cNvSpPr>
            <a:spLocks noChangeArrowheads="1"/>
          </p:cNvSpPr>
          <p:nvPr/>
        </p:nvSpPr>
        <p:spPr bwMode="auto">
          <a:xfrm>
            <a:off x="6427366" y="3624534"/>
            <a:ext cx="2365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13" name="Oval 23"/>
          <p:cNvSpPr>
            <a:spLocks noChangeArrowheads="1"/>
          </p:cNvSpPr>
          <p:nvPr/>
        </p:nvSpPr>
        <p:spPr bwMode="auto">
          <a:xfrm>
            <a:off x="6449355" y="3624534"/>
            <a:ext cx="2365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14" name="Oval 24"/>
          <p:cNvSpPr>
            <a:spLocks noChangeArrowheads="1"/>
          </p:cNvSpPr>
          <p:nvPr/>
        </p:nvSpPr>
        <p:spPr bwMode="auto">
          <a:xfrm>
            <a:off x="6446021" y="3624534"/>
            <a:ext cx="2365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15" name="Oval 25"/>
          <p:cNvSpPr>
            <a:spLocks noChangeArrowheads="1"/>
          </p:cNvSpPr>
          <p:nvPr/>
        </p:nvSpPr>
        <p:spPr bwMode="auto">
          <a:xfrm>
            <a:off x="6442562" y="3618399"/>
            <a:ext cx="2365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16" name="Oval 26"/>
          <p:cNvSpPr>
            <a:spLocks noChangeArrowheads="1"/>
          </p:cNvSpPr>
          <p:nvPr/>
        </p:nvSpPr>
        <p:spPr bwMode="auto">
          <a:xfrm>
            <a:off x="6427366" y="3618399"/>
            <a:ext cx="2365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75" name="Freeform 6"/>
          <p:cNvSpPr>
            <a:spLocks noEditPoints="1"/>
          </p:cNvSpPr>
          <p:nvPr/>
        </p:nvSpPr>
        <p:spPr bwMode="auto">
          <a:xfrm>
            <a:off x="6454841" y="3605975"/>
            <a:ext cx="26187" cy="37422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76" name="Oval 7"/>
          <p:cNvSpPr>
            <a:spLocks noChangeArrowheads="1"/>
          </p:cNvSpPr>
          <p:nvPr/>
        </p:nvSpPr>
        <p:spPr bwMode="auto">
          <a:xfrm>
            <a:off x="6474356" y="3630103"/>
            <a:ext cx="196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77" name="Oval 8"/>
          <p:cNvSpPr>
            <a:spLocks noChangeArrowheads="1"/>
          </p:cNvSpPr>
          <p:nvPr/>
        </p:nvSpPr>
        <p:spPr bwMode="auto">
          <a:xfrm>
            <a:off x="6468710" y="3630103"/>
            <a:ext cx="196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78" name="Oval 9"/>
          <p:cNvSpPr>
            <a:spLocks noChangeArrowheads="1"/>
          </p:cNvSpPr>
          <p:nvPr/>
        </p:nvSpPr>
        <p:spPr bwMode="auto">
          <a:xfrm>
            <a:off x="6456078" y="3630103"/>
            <a:ext cx="196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79" name="Oval 10"/>
          <p:cNvSpPr>
            <a:spLocks noChangeArrowheads="1"/>
          </p:cNvSpPr>
          <p:nvPr/>
        </p:nvSpPr>
        <p:spPr bwMode="auto">
          <a:xfrm>
            <a:off x="6471585" y="3630103"/>
            <a:ext cx="196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80" name="Oval 11"/>
          <p:cNvSpPr>
            <a:spLocks noChangeArrowheads="1"/>
          </p:cNvSpPr>
          <p:nvPr/>
        </p:nvSpPr>
        <p:spPr bwMode="auto">
          <a:xfrm>
            <a:off x="6468710" y="3609253"/>
            <a:ext cx="196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81" name="Oval 12"/>
          <p:cNvSpPr>
            <a:spLocks noChangeArrowheads="1"/>
          </p:cNvSpPr>
          <p:nvPr/>
        </p:nvSpPr>
        <p:spPr bwMode="auto">
          <a:xfrm>
            <a:off x="6471585" y="3609253"/>
            <a:ext cx="196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82" name="Oval 13"/>
          <p:cNvSpPr>
            <a:spLocks noChangeArrowheads="1"/>
          </p:cNvSpPr>
          <p:nvPr/>
        </p:nvSpPr>
        <p:spPr bwMode="auto">
          <a:xfrm>
            <a:off x="6456078" y="3614625"/>
            <a:ext cx="196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83" name="Oval 14"/>
          <p:cNvSpPr>
            <a:spLocks noChangeArrowheads="1"/>
          </p:cNvSpPr>
          <p:nvPr/>
        </p:nvSpPr>
        <p:spPr bwMode="auto">
          <a:xfrm>
            <a:off x="6474356" y="3619814"/>
            <a:ext cx="196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84" name="Oval 15"/>
          <p:cNvSpPr>
            <a:spLocks noChangeArrowheads="1"/>
          </p:cNvSpPr>
          <p:nvPr/>
        </p:nvSpPr>
        <p:spPr bwMode="auto">
          <a:xfrm>
            <a:off x="6471585" y="3614625"/>
            <a:ext cx="196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85" name="Oval 16"/>
          <p:cNvSpPr>
            <a:spLocks noChangeArrowheads="1"/>
          </p:cNvSpPr>
          <p:nvPr/>
        </p:nvSpPr>
        <p:spPr bwMode="auto">
          <a:xfrm>
            <a:off x="6456078" y="3609253"/>
            <a:ext cx="196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86" name="Oval 17"/>
          <p:cNvSpPr>
            <a:spLocks noChangeArrowheads="1"/>
          </p:cNvSpPr>
          <p:nvPr/>
        </p:nvSpPr>
        <p:spPr bwMode="auto">
          <a:xfrm>
            <a:off x="6468710" y="3614625"/>
            <a:ext cx="196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87" name="Oval 18"/>
          <p:cNvSpPr>
            <a:spLocks noChangeArrowheads="1"/>
          </p:cNvSpPr>
          <p:nvPr/>
        </p:nvSpPr>
        <p:spPr bwMode="auto">
          <a:xfrm>
            <a:off x="6474356" y="3614625"/>
            <a:ext cx="196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88" name="Oval 19"/>
          <p:cNvSpPr>
            <a:spLocks noChangeArrowheads="1"/>
          </p:cNvSpPr>
          <p:nvPr/>
        </p:nvSpPr>
        <p:spPr bwMode="auto">
          <a:xfrm>
            <a:off x="6471585" y="3619814"/>
            <a:ext cx="196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89" name="Oval 20"/>
          <p:cNvSpPr>
            <a:spLocks noChangeArrowheads="1"/>
          </p:cNvSpPr>
          <p:nvPr/>
        </p:nvSpPr>
        <p:spPr bwMode="auto">
          <a:xfrm>
            <a:off x="6474356" y="3609253"/>
            <a:ext cx="196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90" name="Oval 21"/>
          <p:cNvSpPr>
            <a:spLocks noChangeArrowheads="1"/>
          </p:cNvSpPr>
          <p:nvPr/>
        </p:nvSpPr>
        <p:spPr bwMode="auto">
          <a:xfrm>
            <a:off x="6468710" y="3624913"/>
            <a:ext cx="196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91" name="Oval 22"/>
          <p:cNvSpPr>
            <a:spLocks noChangeArrowheads="1"/>
          </p:cNvSpPr>
          <p:nvPr/>
        </p:nvSpPr>
        <p:spPr bwMode="auto">
          <a:xfrm>
            <a:off x="6456078" y="3624913"/>
            <a:ext cx="196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92" name="Oval 23"/>
          <p:cNvSpPr>
            <a:spLocks noChangeArrowheads="1"/>
          </p:cNvSpPr>
          <p:nvPr/>
        </p:nvSpPr>
        <p:spPr bwMode="auto">
          <a:xfrm>
            <a:off x="6474356" y="3624913"/>
            <a:ext cx="196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93" name="Oval 24"/>
          <p:cNvSpPr>
            <a:spLocks noChangeArrowheads="1"/>
          </p:cNvSpPr>
          <p:nvPr/>
        </p:nvSpPr>
        <p:spPr bwMode="auto">
          <a:xfrm>
            <a:off x="6471585" y="3624913"/>
            <a:ext cx="196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94" name="Oval 25"/>
          <p:cNvSpPr>
            <a:spLocks noChangeArrowheads="1"/>
          </p:cNvSpPr>
          <p:nvPr/>
        </p:nvSpPr>
        <p:spPr bwMode="auto">
          <a:xfrm>
            <a:off x="6468710" y="3619814"/>
            <a:ext cx="196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95" name="Oval 26"/>
          <p:cNvSpPr>
            <a:spLocks noChangeArrowheads="1"/>
          </p:cNvSpPr>
          <p:nvPr/>
        </p:nvSpPr>
        <p:spPr bwMode="auto">
          <a:xfrm>
            <a:off x="6456078" y="3619814"/>
            <a:ext cx="196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54" name="Freeform 6"/>
          <p:cNvSpPr>
            <a:spLocks noEditPoints="1"/>
          </p:cNvSpPr>
          <p:nvPr/>
        </p:nvSpPr>
        <p:spPr bwMode="auto">
          <a:xfrm>
            <a:off x="6397871" y="3605975"/>
            <a:ext cx="26187" cy="37422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55" name="Oval 7"/>
          <p:cNvSpPr>
            <a:spLocks noChangeArrowheads="1"/>
          </p:cNvSpPr>
          <p:nvPr/>
        </p:nvSpPr>
        <p:spPr bwMode="auto">
          <a:xfrm>
            <a:off x="6419332" y="3630103"/>
            <a:ext cx="196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56" name="Oval 8"/>
          <p:cNvSpPr>
            <a:spLocks noChangeArrowheads="1"/>
          </p:cNvSpPr>
          <p:nvPr/>
        </p:nvSpPr>
        <p:spPr bwMode="auto">
          <a:xfrm>
            <a:off x="6413686" y="3630103"/>
            <a:ext cx="196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57" name="Oval 9"/>
          <p:cNvSpPr>
            <a:spLocks noChangeArrowheads="1"/>
          </p:cNvSpPr>
          <p:nvPr/>
        </p:nvSpPr>
        <p:spPr bwMode="auto">
          <a:xfrm>
            <a:off x="6401054" y="3630103"/>
            <a:ext cx="196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58" name="Oval 10"/>
          <p:cNvSpPr>
            <a:spLocks noChangeArrowheads="1"/>
          </p:cNvSpPr>
          <p:nvPr/>
        </p:nvSpPr>
        <p:spPr bwMode="auto">
          <a:xfrm>
            <a:off x="6416560" y="3630103"/>
            <a:ext cx="196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59" name="Oval 11"/>
          <p:cNvSpPr>
            <a:spLocks noChangeArrowheads="1"/>
          </p:cNvSpPr>
          <p:nvPr/>
        </p:nvSpPr>
        <p:spPr bwMode="auto">
          <a:xfrm>
            <a:off x="6413686" y="3609253"/>
            <a:ext cx="196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60" name="Oval 12"/>
          <p:cNvSpPr>
            <a:spLocks noChangeArrowheads="1"/>
          </p:cNvSpPr>
          <p:nvPr/>
        </p:nvSpPr>
        <p:spPr bwMode="auto">
          <a:xfrm>
            <a:off x="6416560" y="3609253"/>
            <a:ext cx="196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61" name="Oval 13"/>
          <p:cNvSpPr>
            <a:spLocks noChangeArrowheads="1"/>
          </p:cNvSpPr>
          <p:nvPr/>
        </p:nvSpPr>
        <p:spPr bwMode="auto">
          <a:xfrm>
            <a:off x="6401054" y="3614625"/>
            <a:ext cx="196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62" name="Oval 14"/>
          <p:cNvSpPr>
            <a:spLocks noChangeArrowheads="1"/>
          </p:cNvSpPr>
          <p:nvPr/>
        </p:nvSpPr>
        <p:spPr bwMode="auto">
          <a:xfrm>
            <a:off x="6419332" y="3619814"/>
            <a:ext cx="196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63" name="Oval 15"/>
          <p:cNvSpPr>
            <a:spLocks noChangeArrowheads="1"/>
          </p:cNvSpPr>
          <p:nvPr/>
        </p:nvSpPr>
        <p:spPr bwMode="auto">
          <a:xfrm>
            <a:off x="6416560" y="3614625"/>
            <a:ext cx="196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64" name="Oval 16"/>
          <p:cNvSpPr>
            <a:spLocks noChangeArrowheads="1"/>
          </p:cNvSpPr>
          <p:nvPr/>
        </p:nvSpPr>
        <p:spPr bwMode="auto">
          <a:xfrm>
            <a:off x="6401054" y="3609253"/>
            <a:ext cx="196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65" name="Oval 17"/>
          <p:cNvSpPr>
            <a:spLocks noChangeArrowheads="1"/>
          </p:cNvSpPr>
          <p:nvPr/>
        </p:nvSpPr>
        <p:spPr bwMode="auto">
          <a:xfrm>
            <a:off x="6413686" y="3614625"/>
            <a:ext cx="196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66" name="Oval 18"/>
          <p:cNvSpPr>
            <a:spLocks noChangeArrowheads="1"/>
          </p:cNvSpPr>
          <p:nvPr/>
        </p:nvSpPr>
        <p:spPr bwMode="auto">
          <a:xfrm>
            <a:off x="6419332" y="3614625"/>
            <a:ext cx="196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67" name="Oval 19"/>
          <p:cNvSpPr>
            <a:spLocks noChangeArrowheads="1"/>
          </p:cNvSpPr>
          <p:nvPr/>
        </p:nvSpPr>
        <p:spPr bwMode="auto">
          <a:xfrm>
            <a:off x="6416560" y="3619814"/>
            <a:ext cx="196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68" name="Oval 20"/>
          <p:cNvSpPr>
            <a:spLocks noChangeArrowheads="1"/>
          </p:cNvSpPr>
          <p:nvPr/>
        </p:nvSpPr>
        <p:spPr bwMode="auto">
          <a:xfrm>
            <a:off x="6419332" y="3609253"/>
            <a:ext cx="196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69" name="Oval 21"/>
          <p:cNvSpPr>
            <a:spLocks noChangeArrowheads="1"/>
          </p:cNvSpPr>
          <p:nvPr/>
        </p:nvSpPr>
        <p:spPr bwMode="auto">
          <a:xfrm>
            <a:off x="6413686" y="3624913"/>
            <a:ext cx="196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70" name="Oval 22"/>
          <p:cNvSpPr>
            <a:spLocks noChangeArrowheads="1"/>
          </p:cNvSpPr>
          <p:nvPr/>
        </p:nvSpPr>
        <p:spPr bwMode="auto">
          <a:xfrm>
            <a:off x="6401054" y="3624913"/>
            <a:ext cx="196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71" name="Oval 23"/>
          <p:cNvSpPr>
            <a:spLocks noChangeArrowheads="1"/>
          </p:cNvSpPr>
          <p:nvPr/>
        </p:nvSpPr>
        <p:spPr bwMode="auto">
          <a:xfrm>
            <a:off x="6419332" y="3624913"/>
            <a:ext cx="196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72" name="Oval 24"/>
          <p:cNvSpPr>
            <a:spLocks noChangeArrowheads="1"/>
          </p:cNvSpPr>
          <p:nvPr/>
        </p:nvSpPr>
        <p:spPr bwMode="auto">
          <a:xfrm>
            <a:off x="6416560" y="3624913"/>
            <a:ext cx="196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73" name="Oval 25"/>
          <p:cNvSpPr>
            <a:spLocks noChangeArrowheads="1"/>
          </p:cNvSpPr>
          <p:nvPr/>
        </p:nvSpPr>
        <p:spPr bwMode="auto">
          <a:xfrm>
            <a:off x="6413686" y="3619814"/>
            <a:ext cx="196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74" name="Oval 26"/>
          <p:cNvSpPr>
            <a:spLocks noChangeArrowheads="1"/>
          </p:cNvSpPr>
          <p:nvPr/>
        </p:nvSpPr>
        <p:spPr bwMode="auto">
          <a:xfrm>
            <a:off x="6401054" y="3619814"/>
            <a:ext cx="196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57" name="Oval 2656"/>
          <p:cNvSpPr/>
          <p:nvPr/>
        </p:nvSpPr>
        <p:spPr>
          <a:xfrm>
            <a:off x="6436839" y="3991756"/>
            <a:ext cx="125304" cy="12643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3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86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29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72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14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58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999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43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50" dirty="0" smtClean="0">
              <a:solidFill>
                <a:srgbClr val="FFFFFF"/>
              </a:solidFill>
            </a:endParaRPr>
          </a:p>
        </p:txBody>
      </p:sp>
      <p:sp>
        <p:nvSpPr>
          <p:cNvPr id="2658" name="Oval 2657"/>
          <p:cNvSpPr/>
          <p:nvPr/>
        </p:nvSpPr>
        <p:spPr>
          <a:xfrm>
            <a:off x="6441415" y="3996840"/>
            <a:ext cx="116104" cy="117148"/>
          </a:xfrm>
          <a:prstGeom prst="ellipse">
            <a:avLst/>
          </a:prstGeom>
          <a:solidFill>
            <a:srgbClr val="57B84D"/>
          </a:soli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07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636" name="Freeform 6"/>
          <p:cNvSpPr>
            <a:spLocks noEditPoints="1"/>
          </p:cNvSpPr>
          <p:nvPr/>
        </p:nvSpPr>
        <p:spPr bwMode="auto">
          <a:xfrm>
            <a:off x="6483329" y="4028442"/>
            <a:ext cx="31505" cy="51222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37" name="Oval 7"/>
          <p:cNvSpPr>
            <a:spLocks noChangeArrowheads="1"/>
          </p:cNvSpPr>
          <p:nvPr/>
        </p:nvSpPr>
        <p:spPr bwMode="auto">
          <a:xfrm>
            <a:off x="6509148" y="4061468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38" name="Oval 8"/>
          <p:cNvSpPr>
            <a:spLocks noChangeArrowheads="1"/>
          </p:cNvSpPr>
          <p:nvPr/>
        </p:nvSpPr>
        <p:spPr bwMode="auto">
          <a:xfrm>
            <a:off x="6502355" y="4061468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39" name="Oval 9"/>
          <p:cNvSpPr>
            <a:spLocks noChangeArrowheads="1"/>
          </p:cNvSpPr>
          <p:nvPr/>
        </p:nvSpPr>
        <p:spPr bwMode="auto">
          <a:xfrm>
            <a:off x="6487158" y="4061468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40" name="Oval 10"/>
          <p:cNvSpPr>
            <a:spLocks noChangeArrowheads="1"/>
          </p:cNvSpPr>
          <p:nvPr/>
        </p:nvSpPr>
        <p:spPr bwMode="auto">
          <a:xfrm>
            <a:off x="6505813" y="4061468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41" name="Oval 11"/>
          <p:cNvSpPr>
            <a:spLocks noChangeArrowheads="1"/>
          </p:cNvSpPr>
          <p:nvPr/>
        </p:nvSpPr>
        <p:spPr bwMode="auto">
          <a:xfrm>
            <a:off x="6502355" y="4032928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42" name="Oval 12"/>
          <p:cNvSpPr>
            <a:spLocks noChangeArrowheads="1"/>
          </p:cNvSpPr>
          <p:nvPr/>
        </p:nvSpPr>
        <p:spPr bwMode="auto">
          <a:xfrm>
            <a:off x="6505813" y="4032928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43" name="Oval 13"/>
          <p:cNvSpPr>
            <a:spLocks noChangeArrowheads="1"/>
          </p:cNvSpPr>
          <p:nvPr/>
        </p:nvSpPr>
        <p:spPr bwMode="auto">
          <a:xfrm>
            <a:off x="6487158" y="4040281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44" name="Oval 14"/>
          <p:cNvSpPr>
            <a:spLocks noChangeArrowheads="1"/>
          </p:cNvSpPr>
          <p:nvPr/>
        </p:nvSpPr>
        <p:spPr bwMode="auto">
          <a:xfrm>
            <a:off x="6509148" y="4047385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45" name="Oval 15"/>
          <p:cNvSpPr>
            <a:spLocks noChangeArrowheads="1"/>
          </p:cNvSpPr>
          <p:nvPr/>
        </p:nvSpPr>
        <p:spPr bwMode="auto">
          <a:xfrm>
            <a:off x="6505813" y="4040281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46" name="Oval 16"/>
          <p:cNvSpPr>
            <a:spLocks noChangeArrowheads="1"/>
          </p:cNvSpPr>
          <p:nvPr/>
        </p:nvSpPr>
        <p:spPr bwMode="auto">
          <a:xfrm>
            <a:off x="6487158" y="4032928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47" name="Oval 17"/>
          <p:cNvSpPr>
            <a:spLocks noChangeArrowheads="1"/>
          </p:cNvSpPr>
          <p:nvPr/>
        </p:nvSpPr>
        <p:spPr bwMode="auto">
          <a:xfrm>
            <a:off x="6502355" y="4040281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48" name="Oval 18"/>
          <p:cNvSpPr>
            <a:spLocks noChangeArrowheads="1"/>
          </p:cNvSpPr>
          <p:nvPr/>
        </p:nvSpPr>
        <p:spPr bwMode="auto">
          <a:xfrm>
            <a:off x="6509148" y="4040281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49" name="Oval 19"/>
          <p:cNvSpPr>
            <a:spLocks noChangeArrowheads="1"/>
          </p:cNvSpPr>
          <p:nvPr/>
        </p:nvSpPr>
        <p:spPr bwMode="auto">
          <a:xfrm>
            <a:off x="6505813" y="4047385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50" name="Oval 20"/>
          <p:cNvSpPr>
            <a:spLocks noChangeArrowheads="1"/>
          </p:cNvSpPr>
          <p:nvPr/>
        </p:nvSpPr>
        <p:spPr bwMode="auto">
          <a:xfrm>
            <a:off x="6509148" y="4032928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51" name="Oval 21"/>
          <p:cNvSpPr>
            <a:spLocks noChangeArrowheads="1"/>
          </p:cNvSpPr>
          <p:nvPr/>
        </p:nvSpPr>
        <p:spPr bwMode="auto">
          <a:xfrm>
            <a:off x="6502355" y="4054365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52" name="Oval 22"/>
          <p:cNvSpPr>
            <a:spLocks noChangeArrowheads="1"/>
          </p:cNvSpPr>
          <p:nvPr/>
        </p:nvSpPr>
        <p:spPr bwMode="auto">
          <a:xfrm>
            <a:off x="6487158" y="4054365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53" name="Oval 23"/>
          <p:cNvSpPr>
            <a:spLocks noChangeArrowheads="1"/>
          </p:cNvSpPr>
          <p:nvPr/>
        </p:nvSpPr>
        <p:spPr bwMode="auto">
          <a:xfrm>
            <a:off x="6509148" y="4054365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54" name="Oval 24"/>
          <p:cNvSpPr>
            <a:spLocks noChangeArrowheads="1"/>
          </p:cNvSpPr>
          <p:nvPr/>
        </p:nvSpPr>
        <p:spPr bwMode="auto">
          <a:xfrm>
            <a:off x="6505813" y="4054365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55" name="Oval 25"/>
          <p:cNvSpPr>
            <a:spLocks noChangeArrowheads="1"/>
          </p:cNvSpPr>
          <p:nvPr/>
        </p:nvSpPr>
        <p:spPr bwMode="auto">
          <a:xfrm>
            <a:off x="6502355" y="4047385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56" name="Oval 26"/>
          <p:cNvSpPr>
            <a:spLocks noChangeArrowheads="1"/>
          </p:cNvSpPr>
          <p:nvPr/>
        </p:nvSpPr>
        <p:spPr bwMode="auto">
          <a:xfrm>
            <a:off x="6487158" y="4047385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15" name="Freeform 6"/>
          <p:cNvSpPr>
            <a:spLocks noEditPoints="1"/>
          </p:cNvSpPr>
          <p:nvPr/>
        </p:nvSpPr>
        <p:spPr bwMode="auto">
          <a:xfrm>
            <a:off x="6514634" y="4033250"/>
            <a:ext cx="26187" cy="42576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16" name="Oval 7"/>
          <p:cNvSpPr>
            <a:spLocks noChangeArrowheads="1"/>
          </p:cNvSpPr>
          <p:nvPr/>
        </p:nvSpPr>
        <p:spPr bwMode="auto">
          <a:xfrm>
            <a:off x="6534149" y="4060702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17" name="Oval 8"/>
          <p:cNvSpPr>
            <a:spLocks noChangeArrowheads="1"/>
          </p:cNvSpPr>
          <p:nvPr/>
        </p:nvSpPr>
        <p:spPr bwMode="auto">
          <a:xfrm>
            <a:off x="6528503" y="4060702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18" name="Oval 9"/>
          <p:cNvSpPr>
            <a:spLocks noChangeArrowheads="1"/>
          </p:cNvSpPr>
          <p:nvPr/>
        </p:nvSpPr>
        <p:spPr bwMode="auto">
          <a:xfrm>
            <a:off x="6515870" y="4060702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19" name="Oval 10"/>
          <p:cNvSpPr>
            <a:spLocks noChangeArrowheads="1"/>
          </p:cNvSpPr>
          <p:nvPr/>
        </p:nvSpPr>
        <p:spPr bwMode="auto">
          <a:xfrm>
            <a:off x="6531377" y="4060702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20" name="Oval 11"/>
          <p:cNvSpPr>
            <a:spLocks noChangeArrowheads="1"/>
          </p:cNvSpPr>
          <p:nvPr/>
        </p:nvSpPr>
        <p:spPr bwMode="auto">
          <a:xfrm>
            <a:off x="6528503" y="4036979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21" name="Oval 12"/>
          <p:cNvSpPr>
            <a:spLocks noChangeArrowheads="1"/>
          </p:cNvSpPr>
          <p:nvPr/>
        </p:nvSpPr>
        <p:spPr bwMode="auto">
          <a:xfrm>
            <a:off x="6531377" y="4036979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22" name="Oval 13"/>
          <p:cNvSpPr>
            <a:spLocks noChangeArrowheads="1"/>
          </p:cNvSpPr>
          <p:nvPr/>
        </p:nvSpPr>
        <p:spPr bwMode="auto">
          <a:xfrm>
            <a:off x="6515870" y="4043091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23" name="Oval 14"/>
          <p:cNvSpPr>
            <a:spLocks noChangeArrowheads="1"/>
          </p:cNvSpPr>
          <p:nvPr/>
        </p:nvSpPr>
        <p:spPr bwMode="auto">
          <a:xfrm>
            <a:off x="6534149" y="4048996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24" name="Oval 15"/>
          <p:cNvSpPr>
            <a:spLocks noChangeArrowheads="1"/>
          </p:cNvSpPr>
          <p:nvPr/>
        </p:nvSpPr>
        <p:spPr bwMode="auto">
          <a:xfrm>
            <a:off x="6531377" y="4043091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25" name="Oval 16"/>
          <p:cNvSpPr>
            <a:spLocks noChangeArrowheads="1"/>
          </p:cNvSpPr>
          <p:nvPr/>
        </p:nvSpPr>
        <p:spPr bwMode="auto">
          <a:xfrm>
            <a:off x="6515870" y="4036979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26" name="Oval 17"/>
          <p:cNvSpPr>
            <a:spLocks noChangeArrowheads="1"/>
          </p:cNvSpPr>
          <p:nvPr/>
        </p:nvSpPr>
        <p:spPr bwMode="auto">
          <a:xfrm>
            <a:off x="6528503" y="4043091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27" name="Oval 18"/>
          <p:cNvSpPr>
            <a:spLocks noChangeArrowheads="1"/>
          </p:cNvSpPr>
          <p:nvPr/>
        </p:nvSpPr>
        <p:spPr bwMode="auto">
          <a:xfrm>
            <a:off x="6534149" y="4043091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28" name="Oval 19"/>
          <p:cNvSpPr>
            <a:spLocks noChangeArrowheads="1"/>
          </p:cNvSpPr>
          <p:nvPr/>
        </p:nvSpPr>
        <p:spPr bwMode="auto">
          <a:xfrm>
            <a:off x="6531377" y="4048996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29" name="Oval 20"/>
          <p:cNvSpPr>
            <a:spLocks noChangeArrowheads="1"/>
          </p:cNvSpPr>
          <p:nvPr/>
        </p:nvSpPr>
        <p:spPr bwMode="auto">
          <a:xfrm>
            <a:off x="6534149" y="4036979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30" name="Oval 21"/>
          <p:cNvSpPr>
            <a:spLocks noChangeArrowheads="1"/>
          </p:cNvSpPr>
          <p:nvPr/>
        </p:nvSpPr>
        <p:spPr bwMode="auto">
          <a:xfrm>
            <a:off x="6528503" y="4054796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31" name="Oval 22"/>
          <p:cNvSpPr>
            <a:spLocks noChangeArrowheads="1"/>
          </p:cNvSpPr>
          <p:nvPr/>
        </p:nvSpPr>
        <p:spPr bwMode="auto">
          <a:xfrm>
            <a:off x="6515870" y="4054796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32" name="Oval 23"/>
          <p:cNvSpPr>
            <a:spLocks noChangeArrowheads="1"/>
          </p:cNvSpPr>
          <p:nvPr/>
        </p:nvSpPr>
        <p:spPr bwMode="auto">
          <a:xfrm>
            <a:off x="6534149" y="4054796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33" name="Oval 24"/>
          <p:cNvSpPr>
            <a:spLocks noChangeArrowheads="1"/>
          </p:cNvSpPr>
          <p:nvPr/>
        </p:nvSpPr>
        <p:spPr bwMode="auto">
          <a:xfrm>
            <a:off x="6531377" y="4054796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34" name="Oval 25"/>
          <p:cNvSpPr>
            <a:spLocks noChangeArrowheads="1"/>
          </p:cNvSpPr>
          <p:nvPr/>
        </p:nvSpPr>
        <p:spPr bwMode="auto">
          <a:xfrm>
            <a:off x="6528503" y="4048996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35" name="Oval 26"/>
          <p:cNvSpPr>
            <a:spLocks noChangeArrowheads="1"/>
          </p:cNvSpPr>
          <p:nvPr/>
        </p:nvSpPr>
        <p:spPr bwMode="auto">
          <a:xfrm>
            <a:off x="6515870" y="4048996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594" name="Freeform 6"/>
          <p:cNvSpPr>
            <a:spLocks noEditPoints="1"/>
          </p:cNvSpPr>
          <p:nvPr/>
        </p:nvSpPr>
        <p:spPr bwMode="auto">
          <a:xfrm>
            <a:off x="6457664" y="4033250"/>
            <a:ext cx="26187" cy="42576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595" name="Oval 7"/>
          <p:cNvSpPr>
            <a:spLocks noChangeArrowheads="1"/>
          </p:cNvSpPr>
          <p:nvPr/>
        </p:nvSpPr>
        <p:spPr bwMode="auto">
          <a:xfrm>
            <a:off x="6479125" y="4060702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596" name="Oval 8"/>
          <p:cNvSpPr>
            <a:spLocks noChangeArrowheads="1"/>
          </p:cNvSpPr>
          <p:nvPr/>
        </p:nvSpPr>
        <p:spPr bwMode="auto">
          <a:xfrm>
            <a:off x="6473478" y="4060702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597" name="Oval 9"/>
          <p:cNvSpPr>
            <a:spLocks noChangeArrowheads="1"/>
          </p:cNvSpPr>
          <p:nvPr/>
        </p:nvSpPr>
        <p:spPr bwMode="auto">
          <a:xfrm>
            <a:off x="6460846" y="4060702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598" name="Oval 10"/>
          <p:cNvSpPr>
            <a:spLocks noChangeArrowheads="1"/>
          </p:cNvSpPr>
          <p:nvPr/>
        </p:nvSpPr>
        <p:spPr bwMode="auto">
          <a:xfrm>
            <a:off x="6476353" y="4060702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599" name="Oval 11"/>
          <p:cNvSpPr>
            <a:spLocks noChangeArrowheads="1"/>
          </p:cNvSpPr>
          <p:nvPr/>
        </p:nvSpPr>
        <p:spPr bwMode="auto">
          <a:xfrm>
            <a:off x="6473478" y="4036979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00" name="Oval 12"/>
          <p:cNvSpPr>
            <a:spLocks noChangeArrowheads="1"/>
          </p:cNvSpPr>
          <p:nvPr/>
        </p:nvSpPr>
        <p:spPr bwMode="auto">
          <a:xfrm>
            <a:off x="6476353" y="4036979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01" name="Oval 13"/>
          <p:cNvSpPr>
            <a:spLocks noChangeArrowheads="1"/>
          </p:cNvSpPr>
          <p:nvPr/>
        </p:nvSpPr>
        <p:spPr bwMode="auto">
          <a:xfrm>
            <a:off x="6460846" y="4043091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02" name="Oval 14"/>
          <p:cNvSpPr>
            <a:spLocks noChangeArrowheads="1"/>
          </p:cNvSpPr>
          <p:nvPr/>
        </p:nvSpPr>
        <p:spPr bwMode="auto">
          <a:xfrm>
            <a:off x="6479125" y="4048996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03" name="Oval 15"/>
          <p:cNvSpPr>
            <a:spLocks noChangeArrowheads="1"/>
          </p:cNvSpPr>
          <p:nvPr/>
        </p:nvSpPr>
        <p:spPr bwMode="auto">
          <a:xfrm>
            <a:off x="6476353" y="4043091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04" name="Oval 16"/>
          <p:cNvSpPr>
            <a:spLocks noChangeArrowheads="1"/>
          </p:cNvSpPr>
          <p:nvPr/>
        </p:nvSpPr>
        <p:spPr bwMode="auto">
          <a:xfrm>
            <a:off x="6460846" y="4036979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05" name="Oval 17"/>
          <p:cNvSpPr>
            <a:spLocks noChangeArrowheads="1"/>
          </p:cNvSpPr>
          <p:nvPr/>
        </p:nvSpPr>
        <p:spPr bwMode="auto">
          <a:xfrm>
            <a:off x="6473478" y="4043091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06" name="Oval 18"/>
          <p:cNvSpPr>
            <a:spLocks noChangeArrowheads="1"/>
          </p:cNvSpPr>
          <p:nvPr/>
        </p:nvSpPr>
        <p:spPr bwMode="auto">
          <a:xfrm>
            <a:off x="6479125" y="4043091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07" name="Oval 19"/>
          <p:cNvSpPr>
            <a:spLocks noChangeArrowheads="1"/>
          </p:cNvSpPr>
          <p:nvPr/>
        </p:nvSpPr>
        <p:spPr bwMode="auto">
          <a:xfrm>
            <a:off x="6476353" y="4048996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08" name="Oval 20"/>
          <p:cNvSpPr>
            <a:spLocks noChangeArrowheads="1"/>
          </p:cNvSpPr>
          <p:nvPr/>
        </p:nvSpPr>
        <p:spPr bwMode="auto">
          <a:xfrm>
            <a:off x="6479125" y="4036979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09" name="Oval 21"/>
          <p:cNvSpPr>
            <a:spLocks noChangeArrowheads="1"/>
          </p:cNvSpPr>
          <p:nvPr/>
        </p:nvSpPr>
        <p:spPr bwMode="auto">
          <a:xfrm>
            <a:off x="6473478" y="4054796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10" name="Oval 22"/>
          <p:cNvSpPr>
            <a:spLocks noChangeArrowheads="1"/>
          </p:cNvSpPr>
          <p:nvPr/>
        </p:nvSpPr>
        <p:spPr bwMode="auto">
          <a:xfrm>
            <a:off x="6460846" y="4054796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11" name="Oval 23"/>
          <p:cNvSpPr>
            <a:spLocks noChangeArrowheads="1"/>
          </p:cNvSpPr>
          <p:nvPr/>
        </p:nvSpPr>
        <p:spPr bwMode="auto">
          <a:xfrm>
            <a:off x="6479125" y="4054796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12" name="Oval 24"/>
          <p:cNvSpPr>
            <a:spLocks noChangeArrowheads="1"/>
          </p:cNvSpPr>
          <p:nvPr/>
        </p:nvSpPr>
        <p:spPr bwMode="auto">
          <a:xfrm>
            <a:off x="6476353" y="4054796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13" name="Oval 25"/>
          <p:cNvSpPr>
            <a:spLocks noChangeArrowheads="1"/>
          </p:cNvSpPr>
          <p:nvPr/>
        </p:nvSpPr>
        <p:spPr bwMode="auto">
          <a:xfrm>
            <a:off x="6473478" y="4048996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14" name="Oval 26"/>
          <p:cNvSpPr>
            <a:spLocks noChangeArrowheads="1"/>
          </p:cNvSpPr>
          <p:nvPr/>
        </p:nvSpPr>
        <p:spPr bwMode="auto">
          <a:xfrm>
            <a:off x="6460846" y="4048996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27" name="Oval 2726"/>
          <p:cNvSpPr/>
          <p:nvPr/>
        </p:nvSpPr>
        <p:spPr>
          <a:xfrm>
            <a:off x="6483111" y="3795672"/>
            <a:ext cx="125304" cy="12643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3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86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29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72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14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58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999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43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50" dirty="0" smtClean="0">
              <a:solidFill>
                <a:srgbClr val="FFFFFF"/>
              </a:solidFill>
            </a:endParaRPr>
          </a:p>
        </p:txBody>
      </p:sp>
      <p:sp>
        <p:nvSpPr>
          <p:cNvPr id="2728" name="Oval 2727"/>
          <p:cNvSpPr/>
          <p:nvPr/>
        </p:nvSpPr>
        <p:spPr>
          <a:xfrm>
            <a:off x="6487687" y="3800757"/>
            <a:ext cx="116104" cy="117148"/>
          </a:xfrm>
          <a:prstGeom prst="ellipse">
            <a:avLst/>
          </a:prstGeom>
          <a:solidFill>
            <a:srgbClr val="57B84D"/>
          </a:soli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07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706" name="Freeform 6"/>
          <p:cNvSpPr>
            <a:spLocks noEditPoints="1"/>
          </p:cNvSpPr>
          <p:nvPr/>
        </p:nvSpPr>
        <p:spPr bwMode="auto">
          <a:xfrm>
            <a:off x="6529601" y="3832359"/>
            <a:ext cx="31505" cy="51222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07" name="Oval 7"/>
          <p:cNvSpPr>
            <a:spLocks noChangeArrowheads="1"/>
          </p:cNvSpPr>
          <p:nvPr/>
        </p:nvSpPr>
        <p:spPr bwMode="auto">
          <a:xfrm>
            <a:off x="6555420" y="3865385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08" name="Oval 8"/>
          <p:cNvSpPr>
            <a:spLocks noChangeArrowheads="1"/>
          </p:cNvSpPr>
          <p:nvPr/>
        </p:nvSpPr>
        <p:spPr bwMode="auto">
          <a:xfrm>
            <a:off x="6548626" y="3865385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09" name="Oval 9"/>
          <p:cNvSpPr>
            <a:spLocks noChangeArrowheads="1"/>
          </p:cNvSpPr>
          <p:nvPr/>
        </p:nvSpPr>
        <p:spPr bwMode="auto">
          <a:xfrm>
            <a:off x="6533430" y="3865385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10" name="Oval 10"/>
          <p:cNvSpPr>
            <a:spLocks noChangeArrowheads="1"/>
          </p:cNvSpPr>
          <p:nvPr/>
        </p:nvSpPr>
        <p:spPr bwMode="auto">
          <a:xfrm>
            <a:off x="6552085" y="3865385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11" name="Oval 11"/>
          <p:cNvSpPr>
            <a:spLocks noChangeArrowheads="1"/>
          </p:cNvSpPr>
          <p:nvPr/>
        </p:nvSpPr>
        <p:spPr bwMode="auto">
          <a:xfrm>
            <a:off x="6548626" y="3836845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12" name="Oval 12"/>
          <p:cNvSpPr>
            <a:spLocks noChangeArrowheads="1"/>
          </p:cNvSpPr>
          <p:nvPr/>
        </p:nvSpPr>
        <p:spPr bwMode="auto">
          <a:xfrm>
            <a:off x="6552085" y="3836845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13" name="Oval 13"/>
          <p:cNvSpPr>
            <a:spLocks noChangeArrowheads="1"/>
          </p:cNvSpPr>
          <p:nvPr/>
        </p:nvSpPr>
        <p:spPr bwMode="auto">
          <a:xfrm>
            <a:off x="6533430" y="3844198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14" name="Oval 14"/>
          <p:cNvSpPr>
            <a:spLocks noChangeArrowheads="1"/>
          </p:cNvSpPr>
          <p:nvPr/>
        </p:nvSpPr>
        <p:spPr bwMode="auto">
          <a:xfrm>
            <a:off x="6555420" y="3851302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15" name="Oval 15"/>
          <p:cNvSpPr>
            <a:spLocks noChangeArrowheads="1"/>
          </p:cNvSpPr>
          <p:nvPr/>
        </p:nvSpPr>
        <p:spPr bwMode="auto">
          <a:xfrm>
            <a:off x="6552085" y="3844198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16" name="Oval 16"/>
          <p:cNvSpPr>
            <a:spLocks noChangeArrowheads="1"/>
          </p:cNvSpPr>
          <p:nvPr/>
        </p:nvSpPr>
        <p:spPr bwMode="auto">
          <a:xfrm>
            <a:off x="6533430" y="3836845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17" name="Oval 17"/>
          <p:cNvSpPr>
            <a:spLocks noChangeArrowheads="1"/>
          </p:cNvSpPr>
          <p:nvPr/>
        </p:nvSpPr>
        <p:spPr bwMode="auto">
          <a:xfrm>
            <a:off x="6548626" y="3844198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18" name="Oval 18"/>
          <p:cNvSpPr>
            <a:spLocks noChangeArrowheads="1"/>
          </p:cNvSpPr>
          <p:nvPr/>
        </p:nvSpPr>
        <p:spPr bwMode="auto">
          <a:xfrm>
            <a:off x="6555420" y="3844198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19" name="Oval 19"/>
          <p:cNvSpPr>
            <a:spLocks noChangeArrowheads="1"/>
          </p:cNvSpPr>
          <p:nvPr/>
        </p:nvSpPr>
        <p:spPr bwMode="auto">
          <a:xfrm>
            <a:off x="6552085" y="3851302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20" name="Oval 20"/>
          <p:cNvSpPr>
            <a:spLocks noChangeArrowheads="1"/>
          </p:cNvSpPr>
          <p:nvPr/>
        </p:nvSpPr>
        <p:spPr bwMode="auto">
          <a:xfrm>
            <a:off x="6555420" y="3836845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21" name="Oval 21"/>
          <p:cNvSpPr>
            <a:spLocks noChangeArrowheads="1"/>
          </p:cNvSpPr>
          <p:nvPr/>
        </p:nvSpPr>
        <p:spPr bwMode="auto">
          <a:xfrm>
            <a:off x="6548626" y="3858281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22" name="Oval 22"/>
          <p:cNvSpPr>
            <a:spLocks noChangeArrowheads="1"/>
          </p:cNvSpPr>
          <p:nvPr/>
        </p:nvSpPr>
        <p:spPr bwMode="auto">
          <a:xfrm>
            <a:off x="6533430" y="3858281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23" name="Oval 23"/>
          <p:cNvSpPr>
            <a:spLocks noChangeArrowheads="1"/>
          </p:cNvSpPr>
          <p:nvPr/>
        </p:nvSpPr>
        <p:spPr bwMode="auto">
          <a:xfrm>
            <a:off x="6555420" y="3858281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24" name="Oval 24"/>
          <p:cNvSpPr>
            <a:spLocks noChangeArrowheads="1"/>
          </p:cNvSpPr>
          <p:nvPr/>
        </p:nvSpPr>
        <p:spPr bwMode="auto">
          <a:xfrm>
            <a:off x="6552085" y="3858281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25" name="Oval 25"/>
          <p:cNvSpPr>
            <a:spLocks noChangeArrowheads="1"/>
          </p:cNvSpPr>
          <p:nvPr/>
        </p:nvSpPr>
        <p:spPr bwMode="auto">
          <a:xfrm>
            <a:off x="6548626" y="3851302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26" name="Oval 26"/>
          <p:cNvSpPr>
            <a:spLocks noChangeArrowheads="1"/>
          </p:cNvSpPr>
          <p:nvPr/>
        </p:nvSpPr>
        <p:spPr bwMode="auto">
          <a:xfrm>
            <a:off x="6533430" y="3851302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85" name="Freeform 6"/>
          <p:cNvSpPr>
            <a:spLocks noEditPoints="1"/>
          </p:cNvSpPr>
          <p:nvPr/>
        </p:nvSpPr>
        <p:spPr bwMode="auto">
          <a:xfrm>
            <a:off x="6560905" y="3837166"/>
            <a:ext cx="26187" cy="42576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86" name="Oval 7"/>
          <p:cNvSpPr>
            <a:spLocks noChangeArrowheads="1"/>
          </p:cNvSpPr>
          <p:nvPr/>
        </p:nvSpPr>
        <p:spPr bwMode="auto">
          <a:xfrm>
            <a:off x="6580421" y="3864618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87" name="Oval 8"/>
          <p:cNvSpPr>
            <a:spLocks noChangeArrowheads="1"/>
          </p:cNvSpPr>
          <p:nvPr/>
        </p:nvSpPr>
        <p:spPr bwMode="auto">
          <a:xfrm>
            <a:off x="6574774" y="3864618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88" name="Oval 9"/>
          <p:cNvSpPr>
            <a:spLocks noChangeArrowheads="1"/>
          </p:cNvSpPr>
          <p:nvPr/>
        </p:nvSpPr>
        <p:spPr bwMode="auto">
          <a:xfrm>
            <a:off x="6562142" y="3864618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89" name="Oval 10"/>
          <p:cNvSpPr>
            <a:spLocks noChangeArrowheads="1"/>
          </p:cNvSpPr>
          <p:nvPr/>
        </p:nvSpPr>
        <p:spPr bwMode="auto">
          <a:xfrm>
            <a:off x="6577649" y="3864618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90" name="Oval 11"/>
          <p:cNvSpPr>
            <a:spLocks noChangeArrowheads="1"/>
          </p:cNvSpPr>
          <p:nvPr/>
        </p:nvSpPr>
        <p:spPr bwMode="auto">
          <a:xfrm>
            <a:off x="6574774" y="3840896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91" name="Oval 12"/>
          <p:cNvSpPr>
            <a:spLocks noChangeArrowheads="1"/>
          </p:cNvSpPr>
          <p:nvPr/>
        </p:nvSpPr>
        <p:spPr bwMode="auto">
          <a:xfrm>
            <a:off x="6577649" y="3840896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92" name="Oval 13"/>
          <p:cNvSpPr>
            <a:spLocks noChangeArrowheads="1"/>
          </p:cNvSpPr>
          <p:nvPr/>
        </p:nvSpPr>
        <p:spPr bwMode="auto">
          <a:xfrm>
            <a:off x="6562142" y="3847008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93" name="Oval 14"/>
          <p:cNvSpPr>
            <a:spLocks noChangeArrowheads="1"/>
          </p:cNvSpPr>
          <p:nvPr/>
        </p:nvSpPr>
        <p:spPr bwMode="auto">
          <a:xfrm>
            <a:off x="6580421" y="3852913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94" name="Oval 15"/>
          <p:cNvSpPr>
            <a:spLocks noChangeArrowheads="1"/>
          </p:cNvSpPr>
          <p:nvPr/>
        </p:nvSpPr>
        <p:spPr bwMode="auto">
          <a:xfrm>
            <a:off x="6577649" y="3847008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95" name="Oval 16"/>
          <p:cNvSpPr>
            <a:spLocks noChangeArrowheads="1"/>
          </p:cNvSpPr>
          <p:nvPr/>
        </p:nvSpPr>
        <p:spPr bwMode="auto">
          <a:xfrm>
            <a:off x="6562142" y="3840896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96" name="Oval 17"/>
          <p:cNvSpPr>
            <a:spLocks noChangeArrowheads="1"/>
          </p:cNvSpPr>
          <p:nvPr/>
        </p:nvSpPr>
        <p:spPr bwMode="auto">
          <a:xfrm>
            <a:off x="6574774" y="3847008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97" name="Oval 18"/>
          <p:cNvSpPr>
            <a:spLocks noChangeArrowheads="1"/>
          </p:cNvSpPr>
          <p:nvPr/>
        </p:nvSpPr>
        <p:spPr bwMode="auto">
          <a:xfrm>
            <a:off x="6580421" y="3847008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98" name="Oval 19"/>
          <p:cNvSpPr>
            <a:spLocks noChangeArrowheads="1"/>
          </p:cNvSpPr>
          <p:nvPr/>
        </p:nvSpPr>
        <p:spPr bwMode="auto">
          <a:xfrm>
            <a:off x="6577649" y="3852913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99" name="Oval 20"/>
          <p:cNvSpPr>
            <a:spLocks noChangeArrowheads="1"/>
          </p:cNvSpPr>
          <p:nvPr/>
        </p:nvSpPr>
        <p:spPr bwMode="auto">
          <a:xfrm>
            <a:off x="6580421" y="3840896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00" name="Oval 21"/>
          <p:cNvSpPr>
            <a:spLocks noChangeArrowheads="1"/>
          </p:cNvSpPr>
          <p:nvPr/>
        </p:nvSpPr>
        <p:spPr bwMode="auto">
          <a:xfrm>
            <a:off x="6574774" y="3858713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01" name="Oval 22"/>
          <p:cNvSpPr>
            <a:spLocks noChangeArrowheads="1"/>
          </p:cNvSpPr>
          <p:nvPr/>
        </p:nvSpPr>
        <p:spPr bwMode="auto">
          <a:xfrm>
            <a:off x="6562142" y="3858713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02" name="Oval 23"/>
          <p:cNvSpPr>
            <a:spLocks noChangeArrowheads="1"/>
          </p:cNvSpPr>
          <p:nvPr/>
        </p:nvSpPr>
        <p:spPr bwMode="auto">
          <a:xfrm>
            <a:off x="6580421" y="3858713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03" name="Oval 24"/>
          <p:cNvSpPr>
            <a:spLocks noChangeArrowheads="1"/>
          </p:cNvSpPr>
          <p:nvPr/>
        </p:nvSpPr>
        <p:spPr bwMode="auto">
          <a:xfrm>
            <a:off x="6577649" y="3858713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04" name="Oval 25"/>
          <p:cNvSpPr>
            <a:spLocks noChangeArrowheads="1"/>
          </p:cNvSpPr>
          <p:nvPr/>
        </p:nvSpPr>
        <p:spPr bwMode="auto">
          <a:xfrm>
            <a:off x="6574774" y="3852913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05" name="Oval 26"/>
          <p:cNvSpPr>
            <a:spLocks noChangeArrowheads="1"/>
          </p:cNvSpPr>
          <p:nvPr/>
        </p:nvSpPr>
        <p:spPr bwMode="auto">
          <a:xfrm>
            <a:off x="6562142" y="3852913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64" name="Freeform 6"/>
          <p:cNvSpPr>
            <a:spLocks noEditPoints="1"/>
          </p:cNvSpPr>
          <p:nvPr/>
        </p:nvSpPr>
        <p:spPr bwMode="auto">
          <a:xfrm>
            <a:off x="6503936" y="3837166"/>
            <a:ext cx="26187" cy="42576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65" name="Oval 7"/>
          <p:cNvSpPr>
            <a:spLocks noChangeArrowheads="1"/>
          </p:cNvSpPr>
          <p:nvPr/>
        </p:nvSpPr>
        <p:spPr bwMode="auto">
          <a:xfrm>
            <a:off x="6525397" y="3864618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66" name="Oval 8"/>
          <p:cNvSpPr>
            <a:spLocks noChangeArrowheads="1"/>
          </p:cNvSpPr>
          <p:nvPr/>
        </p:nvSpPr>
        <p:spPr bwMode="auto">
          <a:xfrm>
            <a:off x="6519750" y="3864618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67" name="Oval 9"/>
          <p:cNvSpPr>
            <a:spLocks noChangeArrowheads="1"/>
          </p:cNvSpPr>
          <p:nvPr/>
        </p:nvSpPr>
        <p:spPr bwMode="auto">
          <a:xfrm>
            <a:off x="6507118" y="3864618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68" name="Oval 10"/>
          <p:cNvSpPr>
            <a:spLocks noChangeArrowheads="1"/>
          </p:cNvSpPr>
          <p:nvPr/>
        </p:nvSpPr>
        <p:spPr bwMode="auto">
          <a:xfrm>
            <a:off x="6522625" y="3864618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69" name="Oval 11"/>
          <p:cNvSpPr>
            <a:spLocks noChangeArrowheads="1"/>
          </p:cNvSpPr>
          <p:nvPr/>
        </p:nvSpPr>
        <p:spPr bwMode="auto">
          <a:xfrm>
            <a:off x="6519750" y="3840896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70" name="Oval 12"/>
          <p:cNvSpPr>
            <a:spLocks noChangeArrowheads="1"/>
          </p:cNvSpPr>
          <p:nvPr/>
        </p:nvSpPr>
        <p:spPr bwMode="auto">
          <a:xfrm>
            <a:off x="6522625" y="3840896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71" name="Oval 13"/>
          <p:cNvSpPr>
            <a:spLocks noChangeArrowheads="1"/>
          </p:cNvSpPr>
          <p:nvPr/>
        </p:nvSpPr>
        <p:spPr bwMode="auto">
          <a:xfrm>
            <a:off x="6507118" y="3847008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72" name="Oval 14"/>
          <p:cNvSpPr>
            <a:spLocks noChangeArrowheads="1"/>
          </p:cNvSpPr>
          <p:nvPr/>
        </p:nvSpPr>
        <p:spPr bwMode="auto">
          <a:xfrm>
            <a:off x="6525397" y="3852913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73" name="Oval 15"/>
          <p:cNvSpPr>
            <a:spLocks noChangeArrowheads="1"/>
          </p:cNvSpPr>
          <p:nvPr/>
        </p:nvSpPr>
        <p:spPr bwMode="auto">
          <a:xfrm>
            <a:off x="6522625" y="3847008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74" name="Oval 16"/>
          <p:cNvSpPr>
            <a:spLocks noChangeArrowheads="1"/>
          </p:cNvSpPr>
          <p:nvPr/>
        </p:nvSpPr>
        <p:spPr bwMode="auto">
          <a:xfrm>
            <a:off x="6507118" y="3840896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75" name="Oval 17"/>
          <p:cNvSpPr>
            <a:spLocks noChangeArrowheads="1"/>
          </p:cNvSpPr>
          <p:nvPr/>
        </p:nvSpPr>
        <p:spPr bwMode="auto">
          <a:xfrm>
            <a:off x="6519750" y="3847008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76" name="Oval 18"/>
          <p:cNvSpPr>
            <a:spLocks noChangeArrowheads="1"/>
          </p:cNvSpPr>
          <p:nvPr/>
        </p:nvSpPr>
        <p:spPr bwMode="auto">
          <a:xfrm>
            <a:off x="6525397" y="3847008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77" name="Oval 19"/>
          <p:cNvSpPr>
            <a:spLocks noChangeArrowheads="1"/>
          </p:cNvSpPr>
          <p:nvPr/>
        </p:nvSpPr>
        <p:spPr bwMode="auto">
          <a:xfrm>
            <a:off x="6522625" y="3852913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78" name="Oval 20"/>
          <p:cNvSpPr>
            <a:spLocks noChangeArrowheads="1"/>
          </p:cNvSpPr>
          <p:nvPr/>
        </p:nvSpPr>
        <p:spPr bwMode="auto">
          <a:xfrm>
            <a:off x="6525397" y="3840896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79" name="Oval 21"/>
          <p:cNvSpPr>
            <a:spLocks noChangeArrowheads="1"/>
          </p:cNvSpPr>
          <p:nvPr/>
        </p:nvSpPr>
        <p:spPr bwMode="auto">
          <a:xfrm>
            <a:off x="6519750" y="3858713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80" name="Oval 22"/>
          <p:cNvSpPr>
            <a:spLocks noChangeArrowheads="1"/>
          </p:cNvSpPr>
          <p:nvPr/>
        </p:nvSpPr>
        <p:spPr bwMode="auto">
          <a:xfrm>
            <a:off x="6507118" y="3858713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81" name="Oval 23"/>
          <p:cNvSpPr>
            <a:spLocks noChangeArrowheads="1"/>
          </p:cNvSpPr>
          <p:nvPr/>
        </p:nvSpPr>
        <p:spPr bwMode="auto">
          <a:xfrm>
            <a:off x="6525397" y="3858713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82" name="Oval 24"/>
          <p:cNvSpPr>
            <a:spLocks noChangeArrowheads="1"/>
          </p:cNvSpPr>
          <p:nvPr/>
        </p:nvSpPr>
        <p:spPr bwMode="auto">
          <a:xfrm>
            <a:off x="6522625" y="3858713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83" name="Oval 25"/>
          <p:cNvSpPr>
            <a:spLocks noChangeArrowheads="1"/>
          </p:cNvSpPr>
          <p:nvPr/>
        </p:nvSpPr>
        <p:spPr bwMode="auto">
          <a:xfrm>
            <a:off x="6519750" y="3852913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684" name="Oval 26"/>
          <p:cNvSpPr>
            <a:spLocks noChangeArrowheads="1"/>
          </p:cNvSpPr>
          <p:nvPr/>
        </p:nvSpPr>
        <p:spPr bwMode="auto">
          <a:xfrm>
            <a:off x="6507118" y="3852913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97" name="Oval 2796"/>
          <p:cNvSpPr/>
          <p:nvPr/>
        </p:nvSpPr>
        <p:spPr>
          <a:xfrm>
            <a:off x="6653409" y="3771716"/>
            <a:ext cx="125304" cy="12643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3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86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29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72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14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58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999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43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50" dirty="0" smtClean="0">
              <a:solidFill>
                <a:srgbClr val="FFFFFF"/>
              </a:solidFill>
            </a:endParaRPr>
          </a:p>
        </p:txBody>
      </p:sp>
      <p:sp>
        <p:nvSpPr>
          <p:cNvPr id="2798" name="Oval 2797"/>
          <p:cNvSpPr/>
          <p:nvPr/>
        </p:nvSpPr>
        <p:spPr>
          <a:xfrm>
            <a:off x="6657985" y="3776801"/>
            <a:ext cx="116104" cy="117148"/>
          </a:xfrm>
          <a:prstGeom prst="ellipse">
            <a:avLst/>
          </a:prstGeom>
          <a:solidFill>
            <a:srgbClr val="57B84D"/>
          </a:soli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07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776" name="Freeform 6"/>
          <p:cNvSpPr>
            <a:spLocks noEditPoints="1"/>
          </p:cNvSpPr>
          <p:nvPr/>
        </p:nvSpPr>
        <p:spPr bwMode="auto">
          <a:xfrm>
            <a:off x="6699898" y="3808402"/>
            <a:ext cx="31505" cy="51222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77" name="Oval 7"/>
          <p:cNvSpPr>
            <a:spLocks noChangeArrowheads="1"/>
          </p:cNvSpPr>
          <p:nvPr/>
        </p:nvSpPr>
        <p:spPr bwMode="auto">
          <a:xfrm>
            <a:off x="6725717" y="3841429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78" name="Oval 8"/>
          <p:cNvSpPr>
            <a:spLocks noChangeArrowheads="1"/>
          </p:cNvSpPr>
          <p:nvPr/>
        </p:nvSpPr>
        <p:spPr bwMode="auto">
          <a:xfrm>
            <a:off x="6718924" y="3841429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79" name="Oval 9"/>
          <p:cNvSpPr>
            <a:spLocks noChangeArrowheads="1"/>
          </p:cNvSpPr>
          <p:nvPr/>
        </p:nvSpPr>
        <p:spPr bwMode="auto">
          <a:xfrm>
            <a:off x="6703728" y="3841429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80" name="Oval 10"/>
          <p:cNvSpPr>
            <a:spLocks noChangeArrowheads="1"/>
          </p:cNvSpPr>
          <p:nvPr/>
        </p:nvSpPr>
        <p:spPr bwMode="auto">
          <a:xfrm>
            <a:off x="6722383" y="3841429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81" name="Oval 11"/>
          <p:cNvSpPr>
            <a:spLocks noChangeArrowheads="1"/>
          </p:cNvSpPr>
          <p:nvPr/>
        </p:nvSpPr>
        <p:spPr bwMode="auto">
          <a:xfrm>
            <a:off x="6718924" y="3812889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82" name="Oval 12"/>
          <p:cNvSpPr>
            <a:spLocks noChangeArrowheads="1"/>
          </p:cNvSpPr>
          <p:nvPr/>
        </p:nvSpPr>
        <p:spPr bwMode="auto">
          <a:xfrm>
            <a:off x="6722383" y="3812889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83" name="Oval 13"/>
          <p:cNvSpPr>
            <a:spLocks noChangeArrowheads="1"/>
          </p:cNvSpPr>
          <p:nvPr/>
        </p:nvSpPr>
        <p:spPr bwMode="auto">
          <a:xfrm>
            <a:off x="6703728" y="3820242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84" name="Oval 14"/>
          <p:cNvSpPr>
            <a:spLocks noChangeArrowheads="1"/>
          </p:cNvSpPr>
          <p:nvPr/>
        </p:nvSpPr>
        <p:spPr bwMode="auto">
          <a:xfrm>
            <a:off x="6725717" y="3827346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85" name="Oval 15"/>
          <p:cNvSpPr>
            <a:spLocks noChangeArrowheads="1"/>
          </p:cNvSpPr>
          <p:nvPr/>
        </p:nvSpPr>
        <p:spPr bwMode="auto">
          <a:xfrm>
            <a:off x="6722383" y="3820242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86" name="Oval 16"/>
          <p:cNvSpPr>
            <a:spLocks noChangeArrowheads="1"/>
          </p:cNvSpPr>
          <p:nvPr/>
        </p:nvSpPr>
        <p:spPr bwMode="auto">
          <a:xfrm>
            <a:off x="6703728" y="3812889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87" name="Oval 17"/>
          <p:cNvSpPr>
            <a:spLocks noChangeArrowheads="1"/>
          </p:cNvSpPr>
          <p:nvPr/>
        </p:nvSpPr>
        <p:spPr bwMode="auto">
          <a:xfrm>
            <a:off x="6718924" y="3820242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88" name="Oval 18"/>
          <p:cNvSpPr>
            <a:spLocks noChangeArrowheads="1"/>
          </p:cNvSpPr>
          <p:nvPr/>
        </p:nvSpPr>
        <p:spPr bwMode="auto">
          <a:xfrm>
            <a:off x="6725717" y="3820242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89" name="Oval 19"/>
          <p:cNvSpPr>
            <a:spLocks noChangeArrowheads="1"/>
          </p:cNvSpPr>
          <p:nvPr/>
        </p:nvSpPr>
        <p:spPr bwMode="auto">
          <a:xfrm>
            <a:off x="6722383" y="3827346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90" name="Oval 20"/>
          <p:cNvSpPr>
            <a:spLocks noChangeArrowheads="1"/>
          </p:cNvSpPr>
          <p:nvPr/>
        </p:nvSpPr>
        <p:spPr bwMode="auto">
          <a:xfrm>
            <a:off x="6725717" y="3812889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91" name="Oval 21"/>
          <p:cNvSpPr>
            <a:spLocks noChangeArrowheads="1"/>
          </p:cNvSpPr>
          <p:nvPr/>
        </p:nvSpPr>
        <p:spPr bwMode="auto">
          <a:xfrm>
            <a:off x="6718924" y="3834325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92" name="Oval 22"/>
          <p:cNvSpPr>
            <a:spLocks noChangeArrowheads="1"/>
          </p:cNvSpPr>
          <p:nvPr/>
        </p:nvSpPr>
        <p:spPr bwMode="auto">
          <a:xfrm>
            <a:off x="6703728" y="3834325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93" name="Oval 23"/>
          <p:cNvSpPr>
            <a:spLocks noChangeArrowheads="1"/>
          </p:cNvSpPr>
          <p:nvPr/>
        </p:nvSpPr>
        <p:spPr bwMode="auto">
          <a:xfrm>
            <a:off x="6725717" y="3834325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94" name="Oval 24"/>
          <p:cNvSpPr>
            <a:spLocks noChangeArrowheads="1"/>
          </p:cNvSpPr>
          <p:nvPr/>
        </p:nvSpPr>
        <p:spPr bwMode="auto">
          <a:xfrm>
            <a:off x="6722383" y="3834325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95" name="Oval 25"/>
          <p:cNvSpPr>
            <a:spLocks noChangeArrowheads="1"/>
          </p:cNvSpPr>
          <p:nvPr/>
        </p:nvSpPr>
        <p:spPr bwMode="auto">
          <a:xfrm>
            <a:off x="6718924" y="3827346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96" name="Oval 26"/>
          <p:cNvSpPr>
            <a:spLocks noChangeArrowheads="1"/>
          </p:cNvSpPr>
          <p:nvPr/>
        </p:nvSpPr>
        <p:spPr bwMode="auto">
          <a:xfrm>
            <a:off x="6703728" y="3827346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55" name="Freeform 6"/>
          <p:cNvSpPr>
            <a:spLocks noEditPoints="1"/>
          </p:cNvSpPr>
          <p:nvPr/>
        </p:nvSpPr>
        <p:spPr bwMode="auto">
          <a:xfrm>
            <a:off x="6731203" y="3813210"/>
            <a:ext cx="26187" cy="42576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56" name="Oval 7"/>
          <p:cNvSpPr>
            <a:spLocks noChangeArrowheads="1"/>
          </p:cNvSpPr>
          <p:nvPr/>
        </p:nvSpPr>
        <p:spPr bwMode="auto">
          <a:xfrm>
            <a:off x="6750719" y="3840662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57" name="Oval 8"/>
          <p:cNvSpPr>
            <a:spLocks noChangeArrowheads="1"/>
          </p:cNvSpPr>
          <p:nvPr/>
        </p:nvSpPr>
        <p:spPr bwMode="auto">
          <a:xfrm>
            <a:off x="6745072" y="3840662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58" name="Oval 9"/>
          <p:cNvSpPr>
            <a:spLocks noChangeArrowheads="1"/>
          </p:cNvSpPr>
          <p:nvPr/>
        </p:nvSpPr>
        <p:spPr bwMode="auto">
          <a:xfrm>
            <a:off x="6732440" y="3840662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59" name="Oval 10"/>
          <p:cNvSpPr>
            <a:spLocks noChangeArrowheads="1"/>
          </p:cNvSpPr>
          <p:nvPr/>
        </p:nvSpPr>
        <p:spPr bwMode="auto">
          <a:xfrm>
            <a:off x="6747947" y="3840662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60" name="Oval 11"/>
          <p:cNvSpPr>
            <a:spLocks noChangeArrowheads="1"/>
          </p:cNvSpPr>
          <p:nvPr/>
        </p:nvSpPr>
        <p:spPr bwMode="auto">
          <a:xfrm>
            <a:off x="6745072" y="3816940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61" name="Oval 12"/>
          <p:cNvSpPr>
            <a:spLocks noChangeArrowheads="1"/>
          </p:cNvSpPr>
          <p:nvPr/>
        </p:nvSpPr>
        <p:spPr bwMode="auto">
          <a:xfrm>
            <a:off x="6747947" y="3816940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62" name="Oval 13"/>
          <p:cNvSpPr>
            <a:spLocks noChangeArrowheads="1"/>
          </p:cNvSpPr>
          <p:nvPr/>
        </p:nvSpPr>
        <p:spPr bwMode="auto">
          <a:xfrm>
            <a:off x="6732440" y="3823051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63" name="Oval 14"/>
          <p:cNvSpPr>
            <a:spLocks noChangeArrowheads="1"/>
          </p:cNvSpPr>
          <p:nvPr/>
        </p:nvSpPr>
        <p:spPr bwMode="auto">
          <a:xfrm>
            <a:off x="6750719" y="3828957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64" name="Oval 15"/>
          <p:cNvSpPr>
            <a:spLocks noChangeArrowheads="1"/>
          </p:cNvSpPr>
          <p:nvPr/>
        </p:nvSpPr>
        <p:spPr bwMode="auto">
          <a:xfrm>
            <a:off x="6747947" y="3823051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65" name="Oval 16"/>
          <p:cNvSpPr>
            <a:spLocks noChangeArrowheads="1"/>
          </p:cNvSpPr>
          <p:nvPr/>
        </p:nvSpPr>
        <p:spPr bwMode="auto">
          <a:xfrm>
            <a:off x="6732440" y="3816940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66" name="Oval 17"/>
          <p:cNvSpPr>
            <a:spLocks noChangeArrowheads="1"/>
          </p:cNvSpPr>
          <p:nvPr/>
        </p:nvSpPr>
        <p:spPr bwMode="auto">
          <a:xfrm>
            <a:off x="6745072" y="3823051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67" name="Oval 18"/>
          <p:cNvSpPr>
            <a:spLocks noChangeArrowheads="1"/>
          </p:cNvSpPr>
          <p:nvPr/>
        </p:nvSpPr>
        <p:spPr bwMode="auto">
          <a:xfrm>
            <a:off x="6750719" y="3823051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68" name="Oval 19"/>
          <p:cNvSpPr>
            <a:spLocks noChangeArrowheads="1"/>
          </p:cNvSpPr>
          <p:nvPr/>
        </p:nvSpPr>
        <p:spPr bwMode="auto">
          <a:xfrm>
            <a:off x="6747947" y="3828957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69" name="Oval 20"/>
          <p:cNvSpPr>
            <a:spLocks noChangeArrowheads="1"/>
          </p:cNvSpPr>
          <p:nvPr/>
        </p:nvSpPr>
        <p:spPr bwMode="auto">
          <a:xfrm>
            <a:off x="6750719" y="3816940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70" name="Oval 21"/>
          <p:cNvSpPr>
            <a:spLocks noChangeArrowheads="1"/>
          </p:cNvSpPr>
          <p:nvPr/>
        </p:nvSpPr>
        <p:spPr bwMode="auto">
          <a:xfrm>
            <a:off x="6745072" y="3834757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71" name="Oval 22"/>
          <p:cNvSpPr>
            <a:spLocks noChangeArrowheads="1"/>
          </p:cNvSpPr>
          <p:nvPr/>
        </p:nvSpPr>
        <p:spPr bwMode="auto">
          <a:xfrm>
            <a:off x="6732440" y="3834757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72" name="Oval 23"/>
          <p:cNvSpPr>
            <a:spLocks noChangeArrowheads="1"/>
          </p:cNvSpPr>
          <p:nvPr/>
        </p:nvSpPr>
        <p:spPr bwMode="auto">
          <a:xfrm>
            <a:off x="6750719" y="3834757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73" name="Oval 24"/>
          <p:cNvSpPr>
            <a:spLocks noChangeArrowheads="1"/>
          </p:cNvSpPr>
          <p:nvPr/>
        </p:nvSpPr>
        <p:spPr bwMode="auto">
          <a:xfrm>
            <a:off x="6747947" y="3834757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74" name="Oval 25"/>
          <p:cNvSpPr>
            <a:spLocks noChangeArrowheads="1"/>
          </p:cNvSpPr>
          <p:nvPr/>
        </p:nvSpPr>
        <p:spPr bwMode="auto">
          <a:xfrm>
            <a:off x="6745072" y="3828957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75" name="Oval 26"/>
          <p:cNvSpPr>
            <a:spLocks noChangeArrowheads="1"/>
          </p:cNvSpPr>
          <p:nvPr/>
        </p:nvSpPr>
        <p:spPr bwMode="auto">
          <a:xfrm>
            <a:off x="6732440" y="3828957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34" name="Freeform 6"/>
          <p:cNvSpPr>
            <a:spLocks noEditPoints="1"/>
          </p:cNvSpPr>
          <p:nvPr/>
        </p:nvSpPr>
        <p:spPr bwMode="auto">
          <a:xfrm>
            <a:off x="6674233" y="3813210"/>
            <a:ext cx="26187" cy="42576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35" name="Oval 7"/>
          <p:cNvSpPr>
            <a:spLocks noChangeArrowheads="1"/>
          </p:cNvSpPr>
          <p:nvPr/>
        </p:nvSpPr>
        <p:spPr bwMode="auto">
          <a:xfrm>
            <a:off x="6695695" y="3840662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36" name="Oval 8"/>
          <p:cNvSpPr>
            <a:spLocks noChangeArrowheads="1"/>
          </p:cNvSpPr>
          <p:nvPr/>
        </p:nvSpPr>
        <p:spPr bwMode="auto">
          <a:xfrm>
            <a:off x="6690048" y="3840662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37" name="Oval 9"/>
          <p:cNvSpPr>
            <a:spLocks noChangeArrowheads="1"/>
          </p:cNvSpPr>
          <p:nvPr/>
        </p:nvSpPr>
        <p:spPr bwMode="auto">
          <a:xfrm>
            <a:off x="6677416" y="3840662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38" name="Oval 10"/>
          <p:cNvSpPr>
            <a:spLocks noChangeArrowheads="1"/>
          </p:cNvSpPr>
          <p:nvPr/>
        </p:nvSpPr>
        <p:spPr bwMode="auto">
          <a:xfrm>
            <a:off x="6692923" y="3840662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39" name="Oval 11"/>
          <p:cNvSpPr>
            <a:spLocks noChangeArrowheads="1"/>
          </p:cNvSpPr>
          <p:nvPr/>
        </p:nvSpPr>
        <p:spPr bwMode="auto">
          <a:xfrm>
            <a:off x="6690048" y="3816940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40" name="Oval 12"/>
          <p:cNvSpPr>
            <a:spLocks noChangeArrowheads="1"/>
          </p:cNvSpPr>
          <p:nvPr/>
        </p:nvSpPr>
        <p:spPr bwMode="auto">
          <a:xfrm>
            <a:off x="6692923" y="3816940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41" name="Oval 13"/>
          <p:cNvSpPr>
            <a:spLocks noChangeArrowheads="1"/>
          </p:cNvSpPr>
          <p:nvPr/>
        </p:nvSpPr>
        <p:spPr bwMode="auto">
          <a:xfrm>
            <a:off x="6677416" y="3823051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42" name="Oval 14"/>
          <p:cNvSpPr>
            <a:spLocks noChangeArrowheads="1"/>
          </p:cNvSpPr>
          <p:nvPr/>
        </p:nvSpPr>
        <p:spPr bwMode="auto">
          <a:xfrm>
            <a:off x="6695695" y="3828957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43" name="Oval 15"/>
          <p:cNvSpPr>
            <a:spLocks noChangeArrowheads="1"/>
          </p:cNvSpPr>
          <p:nvPr/>
        </p:nvSpPr>
        <p:spPr bwMode="auto">
          <a:xfrm>
            <a:off x="6692923" y="3823051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44" name="Oval 16"/>
          <p:cNvSpPr>
            <a:spLocks noChangeArrowheads="1"/>
          </p:cNvSpPr>
          <p:nvPr/>
        </p:nvSpPr>
        <p:spPr bwMode="auto">
          <a:xfrm>
            <a:off x="6677416" y="3816940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45" name="Oval 17"/>
          <p:cNvSpPr>
            <a:spLocks noChangeArrowheads="1"/>
          </p:cNvSpPr>
          <p:nvPr/>
        </p:nvSpPr>
        <p:spPr bwMode="auto">
          <a:xfrm>
            <a:off x="6690048" y="3823051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46" name="Oval 18"/>
          <p:cNvSpPr>
            <a:spLocks noChangeArrowheads="1"/>
          </p:cNvSpPr>
          <p:nvPr/>
        </p:nvSpPr>
        <p:spPr bwMode="auto">
          <a:xfrm>
            <a:off x="6695695" y="3823051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47" name="Oval 19"/>
          <p:cNvSpPr>
            <a:spLocks noChangeArrowheads="1"/>
          </p:cNvSpPr>
          <p:nvPr/>
        </p:nvSpPr>
        <p:spPr bwMode="auto">
          <a:xfrm>
            <a:off x="6692923" y="3828957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48" name="Oval 20"/>
          <p:cNvSpPr>
            <a:spLocks noChangeArrowheads="1"/>
          </p:cNvSpPr>
          <p:nvPr/>
        </p:nvSpPr>
        <p:spPr bwMode="auto">
          <a:xfrm>
            <a:off x="6695695" y="3816940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49" name="Oval 21"/>
          <p:cNvSpPr>
            <a:spLocks noChangeArrowheads="1"/>
          </p:cNvSpPr>
          <p:nvPr/>
        </p:nvSpPr>
        <p:spPr bwMode="auto">
          <a:xfrm>
            <a:off x="6690048" y="3834757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50" name="Oval 22"/>
          <p:cNvSpPr>
            <a:spLocks noChangeArrowheads="1"/>
          </p:cNvSpPr>
          <p:nvPr/>
        </p:nvSpPr>
        <p:spPr bwMode="auto">
          <a:xfrm>
            <a:off x="6677416" y="3834757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51" name="Oval 23"/>
          <p:cNvSpPr>
            <a:spLocks noChangeArrowheads="1"/>
          </p:cNvSpPr>
          <p:nvPr/>
        </p:nvSpPr>
        <p:spPr bwMode="auto">
          <a:xfrm>
            <a:off x="6695695" y="3834757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52" name="Oval 24"/>
          <p:cNvSpPr>
            <a:spLocks noChangeArrowheads="1"/>
          </p:cNvSpPr>
          <p:nvPr/>
        </p:nvSpPr>
        <p:spPr bwMode="auto">
          <a:xfrm>
            <a:off x="6692923" y="3834757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53" name="Oval 25"/>
          <p:cNvSpPr>
            <a:spLocks noChangeArrowheads="1"/>
          </p:cNvSpPr>
          <p:nvPr/>
        </p:nvSpPr>
        <p:spPr bwMode="auto">
          <a:xfrm>
            <a:off x="6690048" y="3828957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754" name="Oval 26"/>
          <p:cNvSpPr>
            <a:spLocks noChangeArrowheads="1"/>
          </p:cNvSpPr>
          <p:nvPr/>
        </p:nvSpPr>
        <p:spPr bwMode="auto">
          <a:xfrm>
            <a:off x="6677416" y="3828957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67" name="Oval 2866"/>
          <p:cNvSpPr/>
          <p:nvPr/>
        </p:nvSpPr>
        <p:spPr>
          <a:xfrm>
            <a:off x="6646943" y="3968008"/>
            <a:ext cx="125304" cy="12643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3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86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29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72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14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58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999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43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50" dirty="0" smtClean="0">
              <a:solidFill>
                <a:srgbClr val="FFFFFF"/>
              </a:solidFill>
            </a:endParaRPr>
          </a:p>
        </p:txBody>
      </p:sp>
      <p:sp>
        <p:nvSpPr>
          <p:cNvPr id="2868" name="Oval 2867"/>
          <p:cNvSpPr/>
          <p:nvPr/>
        </p:nvSpPr>
        <p:spPr>
          <a:xfrm>
            <a:off x="6651519" y="3973092"/>
            <a:ext cx="116104" cy="117148"/>
          </a:xfrm>
          <a:prstGeom prst="ellipse">
            <a:avLst/>
          </a:prstGeom>
          <a:solidFill>
            <a:srgbClr val="57B84D"/>
          </a:soli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07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846" name="Freeform 6"/>
          <p:cNvSpPr>
            <a:spLocks noEditPoints="1"/>
          </p:cNvSpPr>
          <p:nvPr/>
        </p:nvSpPr>
        <p:spPr bwMode="auto">
          <a:xfrm>
            <a:off x="6693432" y="4004694"/>
            <a:ext cx="31505" cy="51222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47" name="Oval 7"/>
          <p:cNvSpPr>
            <a:spLocks noChangeArrowheads="1"/>
          </p:cNvSpPr>
          <p:nvPr/>
        </p:nvSpPr>
        <p:spPr bwMode="auto">
          <a:xfrm>
            <a:off x="6719251" y="4037721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48" name="Oval 8"/>
          <p:cNvSpPr>
            <a:spLocks noChangeArrowheads="1"/>
          </p:cNvSpPr>
          <p:nvPr/>
        </p:nvSpPr>
        <p:spPr bwMode="auto">
          <a:xfrm>
            <a:off x="6712458" y="4037721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49" name="Oval 9"/>
          <p:cNvSpPr>
            <a:spLocks noChangeArrowheads="1"/>
          </p:cNvSpPr>
          <p:nvPr/>
        </p:nvSpPr>
        <p:spPr bwMode="auto">
          <a:xfrm>
            <a:off x="6697262" y="4037721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50" name="Oval 10"/>
          <p:cNvSpPr>
            <a:spLocks noChangeArrowheads="1"/>
          </p:cNvSpPr>
          <p:nvPr/>
        </p:nvSpPr>
        <p:spPr bwMode="auto">
          <a:xfrm>
            <a:off x="6715917" y="4037721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51" name="Oval 11"/>
          <p:cNvSpPr>
            <a:spLocks noChangeArrowheads="1"/>
          </p:cNvSpPr>
          <p:nvPr/>
        </p:nvSpPr>
        <p:spPr bwMode="auto">
          <a:xfrm>
            <a:off x="6712458" y="4009181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52" name="Oval 12"/>
          <p:cNvSpPr>
            <a:spLocks noChangeArrowheads="1"/>
          </p:cNvSpPr>
          <p:nvPr/>
        </p:nvSpPr>
        <p:spPr bwMode="auto">
          <a:xfrm>
            <a:off x="6715917" y="4009181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53" name="Oval 13"/>
          <p:cNvSpPr>
            <a:spLocks noChangeArrowheads="1"/>
          </p:cNvSpPr>
          <p:nvPr/>
        </p:nvSpPr>
        <p:spPr bwMode="auto">
          <a:xfrm>
            <a:off x="6697262" y="4016534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54" name="Oval 14"/>
          <p:cNvSpPr>
            <a:spLocks noChangeArrowheads="1"/>
          </p:cNvSpPr>
          <p:nvPr/>
        </p:nvSpPr>
        <p:spPr bwMode="auto">
          <a:xfrm>
            <a:off x="6719251" y="4023637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55" name="Oval 15"/>
          <p:cNvSpPr>
            <a:spLocks noChangeArrowheads="1"/>
          </p:cNvSpPr>
          <p:nvPr/>
        </p:nvSpPr>
        <p:spPr bwMode="auto">
          <a:xfrm>
            <a:off x="6715917" y="4016534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56" name="Oval 16"/>
          <p:cNvSpPr>
            <a:spLocks noChangeArrowheads="1"/>
          </p:cNvSpPr>
          <p:nvPr/>
        </p:nvSpPr>
        <p:spPr bwMode="auto">
          <a:xfrm>
            <a:off x="6697262" y="4009181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57" name="Oval 17"/>
          <p:cNvSpPr>
            <a:spLocks noChangeArrowheads="1"/>
          </p:cNvSpPr>
          <p:nvPr/>
        </p:nvSpPr>
        <p:spPr bwMode="auto">
          <a:xfrm>
            <a:off x="6712458" y="4016534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58" name="Oval 18"/>
          <p:cNvSpPr>
            <a:spLocks noChangeArrowheads="1"/>
          </p:cNvSpPr>
          <p:nvPr/>
        </p:nvSpPr>
        <p:spPr bwMode="auto">
          <a:xfrm>
            <a:off x="6719251" y="4016534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59" name="Oval 19"/>
          <p:cNvSpPr>
            <a:spLocks noChangeArrowheads="1"/>
          </p:cNvSpPr>
          <p:nvPr/>
        </p:nvSpPr>
        <p:spPr bwMode="auto">
          <a:xfrm>
            <a:off x="6715917" y="4023637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60" name="Oval 20"/>
          <p:cNvSpPr>
            <a:spLocks noChangeArrowheads="1"/>
          </p:cNvSpPr>
          <p:nvPr/>
        </p:nvSpPr>
        <p:spPr bwMode="auto">
          <a:xfrm>
            <a:off x="6719251" y="4009181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61" name="Oval 21"/>
          <p:cNvSpPr>
            <a:spLocks noChangeArrowheads="1"/>
          </p:cNvSpPr>
          <p:nvPr/>
        </p:nvSpPr>
        <p:spPr bwMode="auto">
          <a:xfrm>
            <a:off x="6712458" y="4030617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62" name="Oval 22"/>
          <p:cNvSpPr>
            <a:spLocks noChangeArrowheads="1"/>
          </p:cNvSpPr>
          <p:nvPr/>
        </p:nvSpPr>
        <p:spPr bwMode="auto">
          <a:xfrm>
            <a:off x="6697262" y="4030617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63" name="Oval 23"/>
          <p:cNvSpPr>
            <a:spLocks noChangeArrowheads="1"/>
          </p:cNvSpPr>
          <p:nvPr/>
        </p:nvSpPr>
        <p:spPr bwMode="auto">
          <a:xfrm>
            <a:off x="6719251" y="4030617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64" name="Oval 24"/>
          <p:cNvSpPr>
            <a:spLocks noChangeArrowheads="1"/>
          </p:cNvSpPr>
          <p:nvPr/>
        </p:nvSpPr>
        <p:spPr bwMode="auto">
          <a:xfrm>
            <a:off x="6715917" y="4030617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65" name="Oval 25"/>
          <p:cNvSpPr>
            <a:spLocks noChangeArrowheads="1"/>
          </p:cNvSpPr>
          <p:nvPr/>
        </p:nvSpPr>
        <p:spPr bwMode="auto">
          <a:xfrm>
            <a:off x="6712458" y="4023637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66" name="Oval 26"/>
          <p:cNvSpPr>
            <a:spLocks noChangeArrowheads="1"/>
          </p:cNvSpPr>
          <p:nvPr/>
        </p:nvSpPr>
        <p:spPr bwMode="auto">
          <a:xfrm>
            <a:off x="6697262" y="4023637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25" name="Freeform 6"/>
          <p:cNvSpPr>
            <a:spLocks noEditPoints="1"/>
          </p:cNvSpPr>
          <p:nvPr/>
        </p:nvSpPr>
        <p:spPr bwMode="auto">
          <a:xfrm>
            <a:off x="6724737" y="4009502"/>
            <a:ext cx="26187" cy="42576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26" name="Oval 7"/>
          <p:cNvSpPr>
            <a:spLocks noChangeArrowheads="1"/>
          </p:cNvSpPr>
          <p:nvPr/>
        </p:nvSpPr>
        <p:spPr bwMode="auto">
          <a:xfrm>
            <a:off x="6744253" y="4036954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27" name="Oval 8"/>
          <p:cNvSpPr>
            <a:spLocks noChangeArrowheads="1"/>
          </p:cNvSpPr>
          <p:nvPr/>
        </p:nvSpPr>
        <p:spPr bwMode="auto">
          <a:xfrm>
            <a:off x="6738606" y="4036954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28" name="Oval 9"/>
          <p:cNvSpPr>
            <a:spLocks noChangeArrowheads="1"/>
          </p:cNvSpPr>
          <p:nvPr/>
        </p:nvSpPr>
        <p:spPr bwMode="auto">
          <a:xfrm>
            <a:off x="6725974" y="4036954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29" name="Oval 10"/>
          <p:cNvSpPr>
            <a:spLocks noChangeArrowheads="1"/>
          </p:cNvSpPr>
          <p:nvPr/>
        </p:nvSpPr>
        <p:spPr bwMode="auto">
          <a:xfrm>
            <a:off x="6741481" y="4036954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30" name="Oval 11"/>
          <p:cNvSpPr>
            <a:spLocks noChangeArrowheads="1"/>
          </p:cNvSpPr>
          <p:nvPr/>
        </p:nvSpPr>
        <p:spPr bwMode="auto">
          <a:xfrm>
            <a:off x="6738606" y="4013231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31" name="Oval 12"/>
          <p:cNvSpPr>
            <a:spLocks noChangeArrowheads="1"/>
          </p:cNvSpPr>
          <p:nvPr/>
        </p:nvSpPr>
        <p:spPr bwMode="auto">
          <a:xfrm>
            <a:off x="6741481" y="4013231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32" name="Oval 13"/>
          <p:cNvSpPr>
            <a:spLocks noChangeArrowheads="1"/>
          </p:cNvSpPr>
          <p:nvPr/>
        </p:nvSpPr>
        <p:spPr bwMode="auto">
          <a:xfrm>
            <a:off x="6725974" y="4019343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33" name="Oval 14"/>
          <p:cNvSpPr>
            <a:spLocks noChangeArrowheads="1"/>
          </p:cNvSpPr>
          <p:nvPr/>
        </p:nvSpPr>
        <p:spPr bwMode="auto">
          <a:xfrm>
            <a:off x="6744253" y="4025248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34" name="Oval 15"/>
          <p:cNvSpPr>
            <a:spLocks noChangeArrowheads="1"/>
          </p:cNvSpPr>
          <p:nvPr/>
        </p:nvSpPr>
        <p:spPr bwMode="auto">
          <a:xfrm>
            <a:off x="6741481" y="4019343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35" name="Oval 16"/>
          <p:cNvSpPr>
            <a:spLocks noChangeArrowheads="1"/>
          </p:cNvSpPr>
          <p:nvPr/>
        </p:nvSpPr>
        <p:spPr bwMode="auto">
          <a:xfrm>
            <a:off x="6725974" y="4013231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36" name="Oval 17"/>
          <p:cNvSpPr>
            <a:spLocks noChangeArrowheads="1"/>
          </p:cNvSpPr>
          <p:nvPr/>
        </p:nvSpPr>
        <p:spPr bwMode="auto">
          <a:xfrm>
            <a:off x="6738606" y="4019343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37" name="Oval 18"/>
          <p:cNvSpPr>
            <a:spLocks noChangeArrowheads="1"/>
          </p:cNvSpPr>
          <p:nvPr/>
        </p:nvSpPr>
        <p:spPr bwMode="auto">
          <a:xfrm>
            <a:off x="6744253" y="4019343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38" name="Oval 19"/>
          <p:cNvSpPr>
            <a:spLocks noChangeArrowheads="1"/>
          </p:cNvSpPr>
          <p:nvPr/>
        </p:nvSpPr>
        <p:spPr bwMode="auto">
          <a:xfrm>
            <a:off x="6741481" y="4025248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39" name="Oval 20"/>
          <p:cNvSpPr>
            <a:spLocks noChangeArrowheads="1"/>
          </p:cNvSpPr>
          <p:nvPr/>
        </p:nvSpPr>
        <p:spPr bwMode="auto">
          <a:xfrm>
            <a:off x="6744253" y="4013231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40" name="Oval 21"/>
          <p:cNvSpPr>
            <a:spLocks noChangeArrowheads="1"/>
          </p:cNvSpPr>
          <p:nvPr/>
        </p:nvSpPr>
        <p:spPr bwMode="auto">
          <a:xfrm>
            <a:off x="6738606" y="4031049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41" name="Oval 22"/>
          <p:cNvSpPr>
            <a:spLocks noChangeArrowheads="1"/>
          </p:cNvSpPr>
          <p:nvPr/>
        </p:nvSpPr>
        <p:spPr bwMode="auto">
          <a:xfrm>
            <a:off x="6725974" y="4031049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42" name="Oval 23"/>
          <p:cNvSpPr>
            <a:spLocks noChangeArrowheads="1"/>
          </p:cNvSpPr>
          <p:nvPr/>
        </p:nvSpPr>
        <p:spPr bwMode="auto">
          <a:xfrm>
            <a:off x="6744253" y="4031049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43" name="Oval 24"/>
          <p:cNvSpPr>
            <a:spLocks noChangeArrowheads="1"/>
          </p:cNvSpPr>
          <p:nvPr/>
        </p:nvSpPr>
        <p:spPr bwMode="auto">
          <a:xfrm>
            <a:off x="6741481" y="4031049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44" name="Oval 25"/>
          <p:cNvSpPr>
            <a:spLocks noChangeArrowheads="1"/>
          </p:cNvSpPr>
          <p:nvPr/>
        </p:nvSpPr>
        <p:spPr bwMode="auto">
          <a:xfrm>
            <a:off x="6738606" y="4025248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45" name="Oval 26"/>
          <p:cNvSpPr>
            <a:spLocks noChangeArrowheads="1"/>
          </p:cNvSpPr>
          <p:nvPr/>
        </p:nvSpPr>
        <p:spPr bwMode="auto">
          <a:xfrm>
            <a:off x="6725974" y="4025248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04" name="Freeform 6"/>
          <p:cNvSpPr>
            <a:spLocks noEditPoints="1"/>
          </p:cNvSpPr>
          <p:nvPr/>
        </p:nvSpPr>
        <p:spPr bwMode="auto">
          <a:xfrm>
            <a:off x="6667767" y="4009502"/>
            <a:ext cx="26187" cy="42576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05" name="Oval 7"/>
          <p:cNvSpPr>
            <a:spLocks noChangeArrowheads="1"/>
          </p:cNvSpPr>
          <p:nvPr/>
        </p:nvSpPr>
        <p:spPr bwMode="auto">
          <a:xfrm>
            <a:off x="6689229" y="4036954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06" name="Oval 8"/>
          <p:cNvSpPr>
            <a:spLocks noChangeArrowheads="1"/>
          </p:cNvSpPr>
          <p:nvPr/>
        </p:nvSpPr>
        <p:spPr bwMode="auto">
          <a:xfrm>
            <a:off x="6683582" y="4036954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07" name="Oval 9"/>
          <p:cNvSpPr>
            <a:spLocks noChangeArrowheads="1"/>
          </p:cNvSpPr>
          <p:nvPr/>
        </p:nvSpPr>
        <p:spPr bwMode="auto">
          <a:xfrm>
            <a:off x="6670950" y="4036954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08" name="Oval 10"/>
          <p:cNvSpPr>
            <a:spLocks noChangeArrowheads="1"/>
          </p:cNvSpPr>
          <p:nvPr/>
        </p:nvSpPr>
        <p:spPr bwMode="auto">
          <a:xfrm>
            <a:off x="6686457" y="4036954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09" name="Oval 11"/>
          <p:cNvSpPr>
            <a:spLocks noChangeArrowheads="1"/>
          </p:cNvSpPr>
          <p:nvPr/>
        </p:nvSpPr>
        <p:spPr bwMode="auto">
          <a:xfrm>
            <a:off x="6683582" y="4013231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10" name="Oval 12"/>
          <p:cNvSpPr>
            <a:spLocks noChangeArrowheads="1"/>
          </p:cNvSpPr>
          <p:nvPr/>
        </p:nvSpPr>
        <p:spPr bwMode="auto">
          <a:xfrm>
            <a:off x="6686457" y="4013231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11" name="Oval 13"/>
          <p:cNvSpPr>
            <a:spLocks noChangeArrowheads="1"/>
          </p:cNvSpPr>
          <p:nvPr/>
        </p:nvSpPr>
        <p:spPr bwMode="auto">
          <a:xfrm>
            <a:off x="6670950" y="4019343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12" name="Oval 14"/>
          <p:cNvSpPr>
            <a:spLocks noChangeArrowheads="1"/>
          </p:cNvSpPr>
          <p:nvPr/>
        </p:nvSpPr>
        <p:spPr bwMode="auto">
          <a:xfrm>
            <a:off x="6689229" y="4025248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13" name="Oval 15"/>
          <p:cNvSpPr>
            <a:spLocks noChangeArrowheads="1"/>
          </p:cNvSpPr>
          <p:nvPr/>
        </p:nvSpPr>
        <p:spPr bwMode="auto">
          <a:xfrm>
            <a:off x="6686457" y="4019343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14" name="Oval 16"/>
          <p:cNvSpPr>
            <a:spLocks noChangeArrowheads="1"/>
          </p:cNvSpPr>
          <p:nvPr/>
        </p:nvSpPr>
        <p:spPr bwMode="auto">
          <a:xfrm>
            <a:off x="6670950" y="4013231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15" name="Oval 17"/>
          <p:cNvSpPr>
            <a:spLocks noChangeArrowheads="1"/>
          </p:cNvSpPr>
          <p:nvPr/>
        </p:nvSpPr>
        <p:spPr bwMode="auto">
          <a:xfrm>
            <a:off x="6683582" y="4019343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16" name="Oval 18"/>
          <p:cNvSpPr>
            <a:spLocks noChangeArrowheads="1"/>
          </p:cNvSpPr>
          <p:nvPr/>
        </p:nvSpPr>
        <p:spPr bwMode="auto">
          <a:xfrm>
            <a:off x="6689229" y="4019343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17" name="Oval 19"/>
          <p:cNvSpPr>
            <a:spLocks noChangeArrowheads="1"/>
          </p:cNvSpPr>
          <p:nvPr/>
        </p:nvSpPr>
        <p:spPr bwMode="auto">
          <a:xfrm>
            <a:off x="6686457" y="4025248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18" name="Oval 20"/>
          <p:cNvSpPr>
            <a:spLocks noChangeArrowheads="1"/>
          </p:cNvSpPr>
          <p:nvPr/>
        </p:nvSpPr>
        <p:spPr bwMode="auto">
          <a:xfrm>
            <a:off x="6689229" y="4013231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19" name="Oval 21"/>
          <p:cNvSpPr>
            <a:spLocks noChangeArrowheads="1"/>
          </p:cNvSpPr>
          <p:nvPr/>
        </p:nvSpPr>
        <p:spPr bwMode="auto">
          <a:xfrm>
            <a:off x="6683582" y="4031049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20" name="Oval 22"/>
          <p:cNvSpPr>
            <a:spLocks noChangeArrowheads="1"/>
          </p:cNvSpPr>
          <p:nvPr/>
        </p:nvSpPr>
        <p:spPr bwMode="auto">
          <a:xfrm>
            <a:off x="6670950" y="4031049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21" name="Oval 23"/>
          <p:cNvSpPr>
            <a:spLocks noChangeArrowheads="1"/>
          </p:cNvSpPr>
          <p:nvPr/>
        </p:nvSpPr>
        <p:spPr bwMode="auto">
          <a:xfrm>
            <a:off x="6689229" y="4031049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22" name="Oval 24"/>
          <p:cNvSpPr>
            <a:spLocks noChangeArrowheads="1"/>
          </p:cNvSpPr>
          <p:nvPr/>
        </p:nvSpPr>
        <p:spPr bwMode="auto">
          <a:xfrm>
            <a:off x="6686457" y="4031049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23" name="Oval 25"/>
          <p:cNvSpPr>
            <a:spLocks noChangeArrowheads="1"/>
          </p:cNvSpPr>
          <p:nvPr/>
        </p:nvSpPr>
        <p:spPr bwMode="auto">
          <a:xfrm>
            <a:off x="6683582" y="4025248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24" name="Oval 26"/>
          <p:cNvSpPr>
            <a:spLocks noChangeArrowheads="1"/>
          </p:cNvSpPr>
          <p:nvPr/>
        </p:nvSpPr>
        <p:spPr bwMode="auto">
          <a:xfrm>
            <a:off x="6670950" y="4025248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37" name="Oval 2936"/>
          <p:cNvSpPr/>
          <p:nvPr/>
        </p:nvSpPr>
        <p:spPr>
          <a:xfrm>
            <a:off x="6882612" y="3734565"/>
            <a:ext cx="125304" cy="12643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3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86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29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72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14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58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999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43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50" dirty="0" smtClean="0">
              <a:solidFill>
                <a:srgbClr val="FFFFFF"/>
              </a:solidFill>
            </a:endParaRPr>
          </a:p>
        </p:txBody>
      </p:sp>
      <p:sp>
        <p:nvSpPr>
          <p:cNvPr id="2938" name="Oval 2937"/>
          <p:cNvSpPr/>
          <p:nvPr/>
        </p:nvSpPr>
        <p:spPr>
          <a:xfrm>
            <a:off x="6887188" y="3739649"/>
            <a:ext cx="116104" cy="117148"/>
          </a:xfrm>
          <a:prstGeom prst="ellipse">
            <a:avLst/>
          </a:prstGeom>
          <a:solidFill>
            <a:srgbClr val="57B84D"/>
          </a:soli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07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916" name="Freeform 6"/>
          <p:cNvSpPr>
            <a:spLocks noEditPoints="1"/>
          </p:cNvSpPr>
          <p:nvPr/>
        </p:nvSpPr>
        <p:spPr bwMode="auto">
          <a:xfrm>
            <a:off x="6929102" y="3771251"/>
            <a:ext cx="31505" cy="51222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17" name="Oval 7"/>
          <p:cNvSpPr>
            <a:spLocks noChangeArrowheads="1"/>
          </p:cNvSpPr>
          <p:nvPr/>
        </p:nvSpPr>
        <p:spPr bwMode="auto">
          <a:xfrm>
            <a:off x="6954921" y="3804277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18" name="Oval 8"/>
          <p:cNvSpPr>
            <a:spLocks noChangeArrowheads="1"/>
          </p:cNvSpPr>
          <p:nvPr/>
        </p:nvSpPr>
        <p:spPr bwMode="auto">
          <a:xfrm>
            <a:off x="6948128" y="3804277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19" name="Oval 9"/>
          <p:cNvSpPr>
            <a:spLocks noChangeArrowheads="1"/>
          </p:cNvSpPr>
          <p:nvPr/>
        </p:nvSpPr>
        <p:spPr bwMode="auto">
          <a:xfrm>
            <a:off x="6932931" y="3804277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20" name="Oval 10"/>
          <p:cNvSpPr>
            <a:spLocks noChangeArrowheads="1"/>
          </p:cNvSpPr>
          <p:nvPr/>
        </p:nvSpPr>
        <p:spPr bwMode="auto">
          <a:xfrm>
            <a:off x="6951586" y="3804277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21" name="Oval 11"/>
          <p:cNvSpPr>
            <a:spLocks noChangeArrowheads="1"/>
          </p:cNvSpPr>
          <p:nvPr/>
        </p:nvSpPr>
        <p:spPr bwMode="auto">
          <a:xfrm>
            <a:off x="6948128" y="3775738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22" name="Oval 12"/>
          <p:cNvSpPr>
            <a:spLocks noChangeArrowheads="1"/>
          </p:cNvSpPr>
          <p:nvPr/>
        </p:nvSpPr>
        <p:spPr bwMode="auto">
          <a:xfrm>
            <a:off x="6951586" y="3775738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23" name="Oval 13"/>
          <p:cNvSpPr>
            <a:spLocks noChangeArrowheads="1"/>
          </p:cNvSpPr>
          <p:nvPr/>
        </p:nvSpPr>
        <p:spPr bwMode="auto">
          <a:xfrm>
            <a:off x="6932931" y="3783091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24" name="Oval 14"/>
          <p:cNvSpPr>
            <a:spLocks noChangeArrowheads="1"/>
          </p:cNvSpPr>
          <p:nvPr/>
        </p:nvSpPr>
        <p:spPr bwMode="auto">
          <a:xfrm>
            <a:off x="6954921" y="3790194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25" name="Oval 15"/>
          <p:cNvSpPr>
            <a:spLocks noChangeArrowheads="1"/>
          </p:cNvSpPr>
          <p:nvPr/>
        </p:nvSpPr>
        <p:spPr bwMode="auto">
          <a:xfrm>
            <a:off x="6951586" y="3783091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26" name="Oval 16"/>
          <p:cNvSpPr>
            <a:spLocks noChangeArrowheads="1"/>
          </p:cNvSpPr>
          <p:nvPr/>
        </p:nvSpPr>
        <p:spPr bwMode="auto">
          <a:xfrm>
            <a:off x="6932931" y="3775738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27" name="Oval 17"/>
          <p:cNvSpPr>
            <a:spLocks noChangeArrowheads="1"/>
          </p:cNvSpPr>
          <p:nvPr/>
        </p:nvSpPr>
        <p:spPr bwMode="auto">
          <a:xfrm>
            <a:off x="6948128" y="3783091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28" name="Oval 18"/>
          <p:cNvSpPr>
            <a:spLocks noChangeArrowheads="1"/>
          </p:cNvSpPr>
          <p:nvPr/>
        </p:nvSpPr>
        <p:spPr bwMode="auto">
          <a:xfrm>
            <a:off x="6954921" y="3783091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29" name="Oval 19"/>
          <p:cNvSpPr>
            <a:spLocks noChangeArrowheads="1"/>
          </p:cNvSpPr>
          <p:nvPr/>
        </p:nvSpPr>
        <p:spPr bwMode="auto">
          <a:xfrm>
            <a:off x="6951586" y="3790194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30" name="Oval 20"/>
          <p:cNvSpPr>
            <a:spLocks noChangeArrowheads="1"/>
          </p:cNvSpPr>
          <p:nvPr/>
        </p:nvSpPr>
        <p:spPr bwMode="auto">
          <a:xfrm>
            <a:off x="6954921" y="3775738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31" name="Oval 21"/>
          <p:cNvSpPr>
            <a:spLocks noChangeArrowheads="1"/>
          </p:cNvSpPr>
          <p:nvPr/>
        </p:nvSpPr>
        <p:spPr bwMode="auto">
          <a:xfrm>
            <a:off x="6948128" y="3797174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32" name="Oval 22"/>
          <p:cNvSpPr>
            <a:spLocks noChangeArrowheads="1"/>
          </p:cNvSpPr>
          <p:nvPr/>
        </p:nvSpPr>
        <p:spPr bwMode="auto">
          <a:xfrm>
            <a:off x="6932931" y="3797174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33" name="Oval 23"/>
          <p:cNvSpPr>
            <a:spLocks noChangeArrowheads="1"/>
          </p:cNvSpPr>
          <p:nvPr/>
        </p:nvSpPr>
        <p:spPr bwMode="auto">
          <a:xfrm>
            <a:off x="6954921" y="3797174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34" name="Oval 24"/>
          <p:cNvSpPr>
            <a:spLocks noChangeArrowheads="1"/>
          </p:cNvSpPr>
          <p:nvPr/>
        </p:nvSpPr>
        <p:spPr bwMode="auto">
          <a:xfrm>
            <a:off x="6951586" y="3797174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35" name="Oval 25"/>
          <p:cNvSpPr>
            <a:spLocks noChangeArrowheads="1"/>
          </p:cNvSpPr>
          <p:nvPr/>
        </p:nvSpPr>
        <p:spPr bwMode="auto">
          <a:xfrm>
            <a:off x="6948128" y="3790194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36" name="Oval 26"/>
          <p:cNvSpPr>
            <a:spLocks noChangeArrowheads="1"/>
          </p:cNvSpPr>
          <p:nvPr/>
        </p:nvSpPr>
        <p:spPr bwMode="auto">
          <a:xfrm>
            <a:off x="6932931" y="3790194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95" name="Freeform 6"/>
          <p:cNvSpPr>
            <a:spLocks noEditPoints="1"/>
          </p:cNvSpPr>
          <p:nvPr/>
        </p:nvSpPr>
        <p:spPr bwMode="auto">
          <a:xfrm>
            <a:off x="6960406" y="3776059"/>
            <a:ext cx="26187" cy="42576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96" name="Oval 7"/>
          <p:cNvSpPr>
            <a:spLocks noChangeArrowheads="1"/>
          </p:cNvSpPr>
          <p:nvPr/>
        </p:nvSpPr>
        <p:spPr bwMode="auto">
          <a:xfrm>
            <a:off x="6979922" y="3803511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97" name="Oval 8"/>
          <p:cNvSpPr>
            <a:spLocks noChangeArrowheads="1"/>
          </p:cNvSpPr>
          <p:nvPr/>
        </p:nvSpPr>
        <p:spPr bwMode="auto">
          <a:xfrm>
            <a:off x="6974275" y="3803511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98" name="Oval 9"/>
          <p:cNvSpPr>
            <a:spLocks noChangeArrowheads="1"/>
          </p:cNvSpPr>
          <p:nvPr/>
        </p:nvSpPr>
        <p:spPr bwMode="auto">
          <a:xfrm>
            <a:off x="6961643" y="3803511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99" name="Oval 10"/>
          <p:cNvSpPr>
            <a:spLocks noChangeArrowheads="1"/>
          </p:cNvSpPr>
          <p:nvPr/>
        </p:nvSpPr>
        <p:spPr bwMode="auto">
          <a:xfrm>
            <a:off x="6977150" y="3803511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00" name="Oval 11"/>
          <p:cNvSpPr>
            <a:spLocks noChangeArrowheads="1"/>
          </p:cNvSpPr>
          <p:nvPr/>
        </p:nvSpPr>
        <p:spPr bwMode="auto">
          <a:xfrm>
            <a:off x="6974275" y="3779788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01" name="Oval 12"/>
          <p:cNvSpPr>
            <a:spLocks noChangeArrowheads="1"/>
          </p:cNvSpPr>
          <p:nvPr/>
        </p:nvSpPr>
        <p:spPr bwMode="auto">
          <a:xfrm>
            <a:off x="6977150" y="3779788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02" name="Oval 13"/>
          <p:cNvSpPr>
            <a:spLocks noChangeArrowheads="1"/>
          </p:cNvSpPr>
          <p:nvPr/>
        </p:nvSpPr>
        <p:spPr bwMode="auto">
          <a:xfrm>
            <a:off x="6961643" y="3785900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03" name="Oval 14"/>
          <p:cNvSpPr>
            <a:spLocks noChangeArrowheads="1"/>
          </p:cNvSpPr>
          <p:nvPr/>
        </p:nvSpPr>
        <p:spPr bwMode="auto">
          <a:xfrm>
            <a:off x="6979922" y="3791805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04" name="Oval 15"/>
          <p:cNvSpPr>
            <a:spLocks noChangeArrowheads="1"/>
          </p:cNvSpPr>
          <p:nvPr/>
        </p:nvSpPr>
        <p:spPr bwMode="auto">
          <a:xfrm>
            <a:off x="6977150" y="3785900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05" name="Oval 16"/>
          <p:cNvSpPr>
            <a:spLocks noChangeArrowheads="1"/>
          </p:cNvSpPr>
          <p:nvPr/>
        </p:nvSpPr>
        <p:spPr bwMode="auto">
          <a:xfrm>
            <a:off x="6961643" y="3779788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06" name="Oval 17"/>
          <p:cNvSpPr>
            <a:spLocks noChangeArrowheads="1"/>
          </p:cNvSpPr>
          <p:nvPr/>
        </p:nvSpPr>
        <p:spPr bwMode="auto">
          <a:xfrm>
            <a:off x="6974275" y="3785900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07" name="Oval 18"/>
          <p:cNvSpPr>
            <a:spLocks noChangeArrowheads="1"/>
          </p:cNvSpPr>
          <p:nvPr/>
        </p:nvSpPr>
        <p:spPr bwMode="auto">
          <a:xfrm>
            <a:off x="6979922" y="3785900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08" name="Oval 19"/>
          <p:cNvSpPr>
            <a:spLocks noChangeArrowheads="1"/>
          </p:cNvSpPr>
          <p:nvPr/>
        </p:nvSpPr>
        <p:spPr bwMode="auto">
          <a:xfrm>
            <a:off x="6977150" y="3791805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09" name="Oval 20"/>
          <p:cNvSpPr>
            <a:spLocks noChangeArrowheads="1"/>
          </p:cNvSpPr>
          <p:nvPr/>
        </p:nvSpPr>
        <p:spPr bwMode="auto">
          <a:xfrm>
            <a:off x="6979922" y="3779788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10" name="Oval 21"/>
          <p:cNvSpPr>
            <a:spLocks noChangeArrowheads="1"/>
          </p:cNvSpPr>
          <p:nvPr/>
        </p:nvSpPr>
        <p:spPr bwMode="auto">
          <a:xfrm>
            <a:off x="6974275" y="3797606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11" name="Oval 22"/>
          <p:cNvSpPr>
            <a:spLocks noChangeArrowheads="1"/>
          </p:cNvSpPr>
          <p:nvPr/>
        </p:nvSpPr>
        <p:spPr bwMode="auto">
          <a:xfrm>
            <a:off x="6961643" y="3797606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12" name="Oval 23"/>
          <p:cNvSpPr>
            <a:spLocks noChangeArrowheads="1"/>
          </p:cNvSpPr>
          <p:nvPr/>
        </p:nvSpPr>
        <p:spPr bwMode="auto">
          <a:xfrm>
            <a:off x="6979922" y="3797606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13" name="Oval 24"/>
          <p:cNvSpPr>
            <a:spLocks noChangeArrowheads="1"/>
          </p:cNvSpPr>
          <p:nvPr/>
        </p:nvSpPr>
        <p:spPr bwMode="auto">
          <a:xfrm>
            <a:off x="6977150" y="3797606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14" name="Oval 25"/>
          <p:cNvSpPr>
            <a:spLocks noChangeArrowheads="1"/>
          </p:cNvSpPr>
          <p:nvPr/>
        </p:nvSpPr>
        <p:spPr bwMode="auto">
          <a:xfrm>
            <a:off x="6974275" y="3791805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15" name="Oval 26"/>
          <p:cNvSpPr>
            <a:spLocks noChangeArrowheads="1"/>
          </p:cNvSpPr>
          <p:nvPr/>
        </p:nvSpPr>
        <p:spPr bwMode="auto">
          <a:xfrm>
            <a:off x="6961643" y="3791805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74" name="Freeform 6"/>
          <p:cNvSpPr>
            <a:spLocks noEditPoints="1"/>
          </p:cNvSpPr>
          <p:nvPr/>
        </p:nvSpPr>
        <p:spPr bwMode="auto">
          <a:xfrm>
            <a:off x="6903437" y="3776059"/>
            <a:ext cx="26187" cy="42576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75" name="Oval 7"/>
          <p:cNvSpPr>
            <a:spLocks noChangeArrowheads="1"/>
          </p:cNvSpPr>
          <p:nvPr/>
        </p:nvSpPr>
        <p:spPr bwMode="auto">
          <a:xfrm>
            <a:off x="6924898" y="3803511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76" name="Oval 8"/>
          <p:cNvSpPr>
            <a:spLocks noChangeArrowheads="1"/>
          </p:cNvSpPr>
          <p:nvPr/>
        </p:nvSpPr>
        <p:spPr bwMode="auto">
          <a:xfrm>
            <a:off x="6919251" y="3803511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77" name="Oval 9"/>
          <p:cNvSpPr>
            <a:spLocks noChangeArrowheads="1"/>
          </p:cNvSpPr>
          <p:nvPr/>
        </p:nvSpPr>
        <p:spPr bwMode="auto">
          <a:xfrm>
            <a:off x="6906619" y="3803511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78" name="Oval 10"/>
          <p:cNvSpPr>
            <a:spLocks noChangeArrowheads="1"/>
          </p:cNvSpPr>
          <p:nvPr/>
        </p:nvSpPr>
        <p:spPr bwMode="auto">
          <a:xfrm>
            <a:off x="6922126" y="3803511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79" name="Oval 11"/>
          <p:cNvSpPr>
            <a:spLocks noChangeArrowheads="1"/>
          </p:cNvSpPr>
          <p:nvPr/>
        </p:nvSpPr>
        <p:spPr bwMode="auto">
          <a:xfrm>
            <a:off x="6919251" y="3779788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80" name="Oval 12"/>
          <p:cNvSpPr>
            <a:spLocks noChangeArrowheads="1"/>
          </p:cNvSpPr>
          <p:nvPr/>
        </p:nvSpPr>
        <p:spPr bwMode="auto">
          <a:xfrm>
            <a:off x="6922126" y="3779788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81" name="Oval 13"/>
          <p:cNvSpPr>
            <a:spLocks noChangeArrowheads="1"/>
          </p:cNvSpPr>
          <p:nvPr/>
        </p:nvSpPr>
        <p:spPr bwMode="auto">
          <a:xfrm>
            <a:off x="6906619" y="3785900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82" name="Oval 14"/>
          <p:cNvSpPr>
            <a:spLocks noChangeArrowheads="1"/>
          </p:cNvSpPr>
          <p:nvPr/>
        </p:nvSpPr>
        <p:spPr bwMode="auto">
          <a:xfrm>
            <a:off x="6924898" y="3791805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83" name="Oval 15"/>
          <p:cNvSpPr>
            <a:spLocks noChangeArrowheads="1"/>
          </p:cNvSpPr>
          <p:nvPr/>
        </p:nvSpPr>
        <p:spPr bwMode="auto">
          <a:xfrm>
            <a:off x="6922126" y="3785900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84" name="Oval 16"/>
          <p:cNvSpPr>
            <a:spLocks noChangeArrowheads="1"/>
          </p:cNvSpPr>
          <p:nvPr/>
        </p:nvSpPr>
        <p:spPr bwMode="auto">
          <a:xfrm>
            <a:off x="6906619" y="3779788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85" name="Oval 17"/>
          <p:cNvSpPr>
            <a:spLocks noChangeArrowheads="1"/>
          </p:cNvSpPr>
          <p:nvPr/>
        </p:nvSpPr>
        <p:spPr bwMode="auto">
          <a:xfrm>
            <a:off x="6919251" y="3785900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86" name="Oval 18"/>
          <p:cNvSpPr>
            <a:spLocks noChangeArrowheads="1"/>
          </p:cNvSpPr>
          <p:nvPr/>
        </p:nvSpPr>
        <p:spPr bwMode="auto">
          <a:xfrm>
            <a:off x="6924898" y="3785900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87" name="Oval 19"/>
          <p:cNvSpPr>
            <a:spLocks noChangeArrowheads="1"/>
          </p:cNvSpPr>
          <p:nvPr/>
        </p:nvSpPr>
        <p:spPr bwMode="auto">
          <a:xfrm>
            <a:off x="6922126" y="3791805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88" name="Oval 20"/>
          <p:cNvSpPr>
            <a:spLocks noChangeArrowheads="1"/>
          </p:cNvSpPr>
          <p:nvPr/>
        </p:nvSpPr>
        <p:spPr bwMode="auto">
          <a:xfrm>
            <a:off x="6924898" y="3779788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89" name="Oval 21"/>
          <p:cNvSpPr>
            <a:spLocks noChangeArrowheads="1"/>
          </p:cNvSpPr>
          <p:nvPr/>
        </p:nvSpPr>
        <p:spPr bwMode="auto">
          <a:xfrm>
            <a:off x="6919251" y="3797606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90" name="Oval 22"/>
          <p:cNvSpPr>
            <a:spLocks noChangeArrowheads="1"/>
          </p:cNvSpPr>
          <p:nvPr/>
        </p:nvSpPr>
        <p:spPr bwMode="auto">
          <a:xfrm>
            <a:off x="6906619" y="3797606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91" name="Oval 23"/>
          <p:cNvSpPr>
            <a:spLocks noChangeArrowheads="1"/>
          </p:cNvSpPr>
          <p:nvPr/>
        </p:nvSpPr>
        <p:spPr bwMode="auto">
          <a:xfrm>
            <a:off x="6924898" y="3797606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92" name="Oval 24"/>
          <p:cNvSpPr>
            <a:spLocks noChangeArrowheads="1"/>
          </p:cNvSpPr>
          <p:nvPr/>
        </p:nvSpPr>
        <p:spPr bwMode="auto">
          <a:xfrm>
            <a:off x="6922126" y="3797606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93" name="Oval 25"/>
          <p:cNvSpPr>
            <a:spLocks noChangeArrowheads="1"/>
          </p:cNvSpPr>
          <p:nvPr/>
        </p:nvSpPr>
        <p:spPr bwMode="auto">
          <a:xfrm>
            <a:off x="6919251" y="3791805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894" name="Oval 26"/>
          <p:cNvSpPr>
            <a:spLocks noChangeArrowheads="1"/>
          </p:cNvSpPr>
          <p:nvPr/>
        </p:nvSpPr>
        <p:spPr bwMode="auto">
          <a:xfrm>
            <a:off x="6906619" y="3791805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07" name="Oval 3006"/>
          <p:cNvSpPr/>
          <p:nvPr/>
        </p:nvSpPr>
        <p:spPr>
          <a:xfrm>
            <a:off x="6904309" y="3943451"/>
            <a:ext cx="125304" cy="12643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3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86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29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72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14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58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999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43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50" dirty="0" smtClean="0">
              <a:solidFill>
                <a:srgbClr val="FFFFFF"/>
              </a:solidFill>
            </a:endParaRPr>
          </a:p>
        </p:txBody>
      </p:sp>
      <p:sp>
        <p:nvSpPr>
          <p:cNvPr id="3008" name="Oval 3007"/>
          <p:cNvSpPr/>
          <p:nvPr/>
        </p:nvSpPr>
        <p:spPr>
          <a:xfrm>
            <a:off x="6908886" y="3948535"/>
            <a:ext cx="116104" cy="117148"/>
          </a:xfrm>
          <a:prstGeom prst="ellipse">
            <a:avLst/>
          </a:prstGeom>
          <a:solidFill>
            <a:srgbClr val="57B84D"/>
          </a:soli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07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986" name="Freeform 6"/>
          <p:cNvSpPr>
            <a:spLocks noEditPoints="1"/>
          </p:cNvSpPr>
          <p:nvPr/>
        </p:nvSpPr>
        <p:spPr bwMode="auto">
          <a:xfrm>
            <a:off x="6950799" y="3980137"/>
            <a:ext cx="31505" cy="51222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87" name="Oval 7"/>
          <p:cNvSpPr>
            <a:spLocks noChangeArrowheads="1"/>
          </p:cNvSpPr>
          <p:nvPr/>
        </p:nvSpPr>
        <p:spPr bwMode="auto">
          <a:xfrm>
            <a:off x="6976618" y="4013164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88" name="Oval 8"/>
          <p:cNvSpPr>
            <a:spLocks noChangeArrowheads="1"/>
          </p:cNvSpPr>
          <p:nvPr/>
        </p:nvSpPr>
        <p:spPr bwMode="auto">
          <a:xfrm>
            <a:off x="6969825" y="4013164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89" name="Oval 9"/>
          <p:cNvSpPr>
            <a:spLocks noChangeArrowheads="1"/>
          </p:cNvSpPr>
          <p:nvPr/>
        </p:nvSpPr>
        <p:spPr bwMode="auto">
          <a:xfrm>
            <a:off x="6954629" y="4013164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90" name="Oval 10"/>
          <p:cNvSpPr>
            <a:spLocks noChangeArrowheads="1"/>
          </p:cNvSpPr>
          <p:nvPr/>
        </p:nvSpPr>
        <p:spPr bwMode="auto">
          <a:xfrm>
            <a:off x="6973284" y="4013164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91" name="Oval 11"/>
          <p:cNvSpPr>
            <a:spLocks noChangeArrowheads="1"/>
          </p:cNvSpPr>
          <p:nvPr/>
        </p:nvSpPr>
        <p:spPr bwMode="auto">
          <a:xfrm>
            <a:off x="6969825" y="3984624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92" name="Oval 12"/>
          <p:cNvSpPr>
            <a:spLocks noChangeArrowheads="1"/>
          </p:cNvSpPr>
          <p:nvPr/>
        </p:nvSpPr>
        <p:spPr bwMode="auto">
          <a:xfrm>
            <a:off x="6973284" y="3984624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93" name="Oval 13"/>
          <p:cNvSpPr>
            <a:spLocks noChangeArrowheads="1"/>
          </p:cNvSpPr>
          <p:nvPr/>
        </p:nvSpPr>
        <p:spPr bwMode="auto">
          <a:xfrm>
            <a:off x="6954629" y="3991977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94" name="Oval 14"/>
          <p:cNvSpPr>
            <a:spLocks noChangeArrowheads="1"/>
          </p:cNvSpPr>
          <p:nvPr/>
        </p:nvSpPr>
        <p:spPr bwMode="auto">
          <a:xfrm>
            <a:off x="6976618" y="3999080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95" name="Oval 15"/>
          <p:cNvSpPr>
            <a:spLocks noChangeArrowheads="1"/>
          </p:cNvSpPr>
          <p:nvPr/>
        </p:nvSpPr>
        <p:spPr bwMode="auto">
          <a:xfrm>
            <a:off x="6973284" y="3991977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96" name="Oval 16"/>
          <p:cNvSpPr>
            <a:spLocks noChangeArrowheads="1"/>
          </p:cNvSpPr>
          <p:nvPr/>
        </p:nvSpPr>
        <p:spPr bwMode="auto">
          <a:xfrm>
            <a:off x="6954629" y="3984624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97" name="Oval 17"/>
          <p:cNvSpPr>
            <a:spLocks noChangeArrowheads="1"/>
          </p:cNvSpPr>
          <p:nvPr/>
        </p:nvSpPr>
        <p:spPr bwMode="auto">
          <a:xfrm>
            <a:off x="6969825" y="3991977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98" name="Oval 18"/>
          <p:cNvSpPr>
            <a:spLocks noChangeArrowheads="1"/>
          </p:cNvSpPr>
          <p:nvPr/>
        </p:nvSpPr>
        <p:spPr bwMode="auto">
          <a:xfrm>
            <a:off x="6976618" y="3991977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99" name="Oval 19"/>
          <p:cNvSpPr>
            <a:spLocks noChangeArrowheads="1"/>
          </p:cNvSpPr>
          <p:nvPr/>
        </p:nvSpPr>
        <p:spPr bwMode="auto">
          <a:xfrm>
            <a:off x="6973284" y="3999080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00" name="Oval 20"/>
          <p:cNvSpPr>
            <a:spLocks noChangeArrowheads="1"/>
          </p:cNvSpPr>
          <p:nvPr/>
        </p:nvSpPr>
        <p:spPr bwMode="auto">
          <a:xfrm>
            <a:off x="6976618" y="3984624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01" name="Oval 21"/>
          <p:cNvSpPr>
            <a:spLocks noChangeArrowheads="1"/>
          </p:cNvSpPr>
          <p:nvPr/>
        </p:nvSpPr>
        <p:spPr bwMode="auto">
          <a:xfrm>
            <a:off x="6969825" y="4006060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02" name="Oval 22"/>
          <p:cNvSpPr>
            <a:spLocks noChangeArrowheads="1"/>
          </p:cNvSpPr>
          <p:nvPr/>
        </p:nvSpPr>
        <p:spPr bwMode="auto">
          <a:xfrm>
            <a:off x="6954629" y="4006060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03" name="Oval 23"/>
          <p:cNvSpPr>
            <a:spLocks noChangeArrowheads="1"/>
          </p:cNvSpPr>
          <p:nvPr/>
        </p:nvSpPr>
        <p:spPr bwMode="auto">
          <a:xfrm>
            <a:off x="6976618" y="4006060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04" name="Oval 24"/>
          <p:cNvSpPr>
            <a:spLocks noChangeArrowheads="1"/>
          </p:cNvSpPr>
          <p:nvPr/>
        </p:nvSpPr>
        <p:spPr bwMode="auto">
          <a:xfrm>
            <a:off x="6973284" y="4006060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05" name="Oval 25"/>
          <p:cNvSpPr>
            <a:spLocks noChangeArrowheads="1"/>
          </p:cNvSpPr>
          <p:nvPr/>
        </p:nvSpPr>
        <p:spPr bwMode="auto">
          <a:xfrm>
            <a:off x="6969825" y="3999080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06" name="Oval 26"/>
          <p:cNvSpPr>
            <a:spLocks noChangeArrowheads="1"/>
          </p:cNvSpPr>
          <p:nvPr/>
        </p:nvSpPr>
        <p:spPr bwMode="auto">
          <a:xfrm>
            <a:off x="6954629" y="3999080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65" name="Freeform 6"/>
          <p:cNvSpPr>
            <a:spLocks noEditPoints="1"/>
          </p:cNvSpPr>
          <p:nvPr/>
        </p:nvSpPr>
        <p:spPr bwMode="auto">
          <a:xfrm>
            <a:off x="6982104" y="3984945"/>
            <a:ext cx="26187" cy="42576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66" name="Oval 7"/>
          <p:cNvSpPr>
            <a:spLocks noChangeArrowheads="1"/>
          </p:cNvSpPr>
          <p:nvPr/>
        </p:nvSpPr>
        <p:spPr bwMode="auto">
          <a:xfrm>
            <a:off x="7001619" y="4012397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67" name="Oval 8"/>
          <p:cNvSpPr>
            <a:spLocks noChangeArrowheads="1"/>
          </p:cNvSpPr>
          <p:nvPr/>
        </p:nvSpPr>
        <p:spPr bwMode="auto">
          <a:xfrm>
            <a:off x="6995973" y="4012397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68" name="Oval 9"/>
          <p:cNvSpPr>
            <a:spLocks noChangeArrowheads="1"/>
          </p:cNvSpPr>
          <p:nvPr/>
        </p:nvSpPr>
        <p:spPr bwMode="auto">
          <a:xfrm>
            <a:off x="6983341" y="4012397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69" name="Oval 10"/>
          <p:cNvSpPr>
            <a:spLocks noChangeArrowheads="1"/>
          </p:cNvSpPr>
          <p:nvPr/>
        </p:nvSpPr>
        <p:spPr bwMode="auto">
          <a:xfrm>
            <a:off x="6998847" y="4012397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70" name="Oval 11"/>
          <p:cNvSpPr>
            <a:spLocks noChangeArrowheads="1"/>
          </p:cNvSpPr>
          <p:nvPr/>
        </p:nvSpPr>
        <p:spPr bwMode="auto">
          <a:xfrm>
            <a:off x="6995973" y="3988674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71" name="Oval 12"/>
          <p:cNvSpPr>
            <a:spLocks noChangeArrowheads="1"/>
          </p:cNvSpPr>
          <p:nvPr/>
        </p:nvSpPr>
        <p:spPr bwMode="auto">
          <a:xfrm>
            <a:off x="6998847" y="3988674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72" name="Oval 13"/>
          <p:cNvSpPr>
            <a:spLocks noChangeArrowheads="1"/>
          </p:cNvSpPr>
          <p:nvPr/>
        </p:nvSpPr>
        <p:spPr bwMode="auto">
          <a:xfrm>
            <a:off x="6983341" y="3994786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73" name="Oval 14"/>
          <p:cNvSpPr>
            <a:spLocks noChangeArrowheads="1"/>
          </p:cNvSpPr>
          <p:nvPr/>
        </p:nvSpPr>
        <p:spPr bwMode="auto">
          <a:xfrm>
            <a:off x="7001619" y="4000691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74" name="Oval 15"/>
          <p:cNvSpPr>
            <a:spLocks noChangeArrowheads="1"/>
          </p:cNvSpPr>
          <p:nvPr/>
        </p:nvSpPr>
        <p:spPr bwMode="auto">
          <a:xfrm>
            <a:off x="6998847" y="3994786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75" name="Oval 16"/>
          <p:cNvSpPr>
            <a:spLocks noChangeArrowheads="1"/>
          </p:cNvSpPr>
          <p:nvPr/>
        </p:nvSpPr>
        <p:spPr bwMode="auto">
          <a:xfrm>
            <a:off x="6983341" y="3988674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76" name="Oval 17"/>
          <p:cNvSpPr>
            <a:spLocks noChangeArrowheads="1"/>
          </p:cNvSpPr>
          <p:nvPr/>
        </p:nvSpPr>
        <p:spPr bwMode="auto">
          <a:xfrm>
            <a:off x="6995973" y="3994786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77" name="Oval 18"/>
          <p:cNvSpPr>
            <a:spLocks noChangeArrowheads="1"/>
          </p:cNvSpPr>
          <p:nvPr/>
        </p:nvSpPr>
        <p:spPr bwMode="auto">
          <a:xfrm>
            <a:off x="7001619" y="3994786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78" name="Oval 19"/>
          <p:cNvSpPr>
            <a:spLocks noChangeArrowheads="1"/>
          </p:cNvSpPr>
          <p:nvPr/>
        </p:nvSpPr>
        <p:spPr bwMode="auto">
          <a:xfrm>
            <a:off x="6998847" y="4000691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79" name="Oval 20"/>
          <p:cNvSpPr>
            <a:spLocks noChangeArrowheads="1"/>
          </p:cNvSpPr>
          <p:nvPr/>
        </p:nvSpPr>
        <p:spPr bwMode="auto">
          <a:xfrm>
            <a:off x="7001619" y="3988674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80" name="Oval 21"/>
          <p:cNvSpPr>
            <a:spLocks noChangeArrowheads="1"/>
          </p:cNvSpPr>
          <p:nvPr/>
        </p:nvSpPr>
        <p:spPr bwMode="auto">
          <a:xfrm>
            <a:off x="6995973" y="4006492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81" name="Oval 22"/>
          <p:cNvSpPr>
            <a:spLocks noChangeArrowheads="1"/>
          </p:cNvSpPr>
          <p:nvPr/>
        </p:nvSpPr>
        <p:spPr bwMode="auto">
          <a:xfrm>
            <a:off x="6983341" y="4006492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82" name="Oval 23"/>
          <p:cNvSpPr>
            <a:spLocks noChangeArrowheads="1"/>
          </p:cNvSpPr>
          <p:nvPr/>
        </p:nvSpPr>
        <p:spPr bwMode="auto">
          <a:xfrm>
            <a:off x="7001619" y="4006492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83" name="Oval 24"/>
          <p:cNvSpPr>
            <a:spLocks noChangeArrowheads="1"/>
          </p:cNvSpPr>
          <p:nvPr/>
        </p:nvSpPr>
        <p:spPr bwMode="auto">
          <a:xfrm>
            <a:off x="6998847" y="4006492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84" name="Oval 25"/>
          <p:cNvSpPr>
            <a:spLocks noChangeArrowheads="1"/>
          </p:cNvSpPr>
          <p:nvPr/>
        </p:nvSpPr>
        <p:spPr bwMode="auto">
          <a:xfrm>
            <a:off x="6995973" y="4000691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85" name="Oval 26"/>
          <p:cNvSpPr>
            <a:spLocks noChangeArrowheads="1"/>
          </p:cNvSpPr>
          <p:nvPr/>
        </p:nvSpPr>
        <p:spPr bwMode="auto">
          <a:xfrm>
            <a:off x="6983341" y="4000691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44" name="Freeform 6"/>
          <p:cNvSpPr>
            <a:spLocks noEditPoints="1"/>
          </p:cNvSpPr>
          <p:nvPr/>
        </p:nvSpPr>
        <p:spPr bwMode="auto">
          <a:xfrm>
            <a:off x="6925134" y="3984945"/>
            <a:ext cx="26187" cy="42576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45" name="Oval 7"/>
          <p:cNvSpPr>
            <a:spLocks noChangeArrowheads="1"/>
          </p:cNvSpPr>
          <p:nvPr/>
        </p:nvSpPr>
        <p:spPr bwMode="auto">
          <a:xfrm>
            <a:off x="6946595" y="4012397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46" name="Oval 8"/>
          <p:cNvSpPr>
            <a:spLocks noChangeArrowheads="1"/>
          </p:cNvSpPr>
          <p:nvPr/>
        </p:nvSpPr>
        <p:spPr bwMode="auto">
          <a:xfrm>
            <a:off x="6940949" y="4012397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47" name="Oval 9"/>
          <p:cNvSpPr>
            <a:spLocks noChangeArrowheads="1"/>
          </p:cNvSpPr>
          <p:nvPr/>
        </p:nvSpPr>
        <p:spPr bwMode="auto">
          <a:xfrm>
            <a:off x="6928317" y="4012397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48" name="Oval 10"/>
          <p:cNvSpPr>
            <a:spLocks noChangeArrowheads="1"/>
          </p:cNvSpPr>
          <p:nvPr/>
        </p:nvSpPr>
        <p:spPr bwMode="auto">
          <a:xfrm>
            <a:off x="6943823" y="4012397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49" name="Oval 11"/>
          <p:cNvSpPr>
            <a:spLocks noChangeArrowheads="1"/>
          </p:cNvSpPr>
          <p:nvPr/>
        </p:nvSpPr>
        <p:spPr bwMode="auto">
          <a:xfrm>
            <a:off x="6940949" y="3988674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50" name="Oval 12"/>
          <p:cNvSpPr>
            <a:spLocks noChangeArrowheads="1"/>
          </p:cNvSpPr>
          <p:nvPr/>
        </p:nvSpPr>
        <p:spPr bwMode="auto">
          <a:xfrm>
            <a:off x="6943823" y="3988674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51" name="Oval 13"/>
          <p:cNvSpPr>
            <a:spLocks noChangeArrowheads="1"/>
          </p:cNvSpPr>
          <p:nvPr/>
        </p:nvSpPr>
        <p:spPr bwMode="auto">
          <a:xfrm>
            <a:off x="6928317" y="3994786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52" name="Oval 14"/>
          <p:cNvSpPr>
            <a:spLocks noChangeArrowheads="1"/>
          </p:cNvSpPr>
          <p:nvPr/>
        </p:nvSpPr>
        <p:spPr bwMode="auto">
          <a:xfrm>
            <a:off x="6946595" y="4000691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53" name="Oval 15"/>
          <p:cNvSpPr>
            <a:spLocks noChangeArrowheads="1"/>
          </p:cNvSpPr>
          <p:nvPr/>
        </p:nvSpPr>
        <p:spPr bwMode="auto">
          <a:xfrm>
            <a:off x="6943823" y="3994786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54" name="Oval 16"/>
          <p:cNvSpPr>
            <a:spLocks noChangeArrowheads="1"/>
          </p:cNvSpPr>
          <p:nvPr/>
        </p:nvSpPr>
        <p:spPr bwMode="auto">
          <a:xfrm>
            <a:off x="6928317" y="3988674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55" name="Oval 17"/>
          <p:cNvSpPr>
            <a:spLocks noChangeArrowheads="1"/>
          </p:cNvSpPr>
          <p:nvPr/>
        </p:nvSpPr>
        <p:spPr bwMode="auto">
          <a:xfrm>
            <a:off x="6940949" y="3994786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56" name="Oval 18"/>
          <p:cNvSpPr>
            <a:spLocks noChangeArrowheads="1"/>
          </p:cNvSpPr>
          <p:nvPr/>
        </p:nvSpPr>
        <p:spPr bwMode="auto">
          <a:xfrm>
            <a:off x="6946595" y="3994786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57" name="Oval 19"/>
          <p:cNvSpPr>
            <a:spLocks noChangeArrowheads="1"/>
          </p:cNvSpPr>
          <p:nvPr/>
        </p:nvSpPr>
        <p:spPr bwMode="auto">
          <a:xfrm>
            <a:off x="6943823" y="4000691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58" name="Oval 20"/>
          <p:cNvSpPr>
            <a:spLocks noChangeArrowheads="1"/>
          </p:cNvSpPr>
          <p:nvPr/>
        </p:nvSpPr>
        <p:spPr bwMode="auto">
          <a:xfrm>
            <a:off x="6946595" y="3988674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59" name="Oval 21"/>
          <p:cNvSpPr>
            <a:spLocks noChangeArrowheads="1"/>
          </p:cNvSpPr>
          <p:nvPr/>
        </p:nvSpPr>
        <p:spPr bwMode="auto">
          <a:xfrm>
            <a:off x="6940949" y="4006492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60" name="Oval 22"/>
          <p:cNvSpPr>
            <a:spLocks noChangeArrowheads="1"/>
          </p:cNvSpPr>
          <p:nvPr/>
        </p:nvSpPr>
        <p:spPr bwMode="auto">
          <a:xfrm>
            <a:off x="6928317" y="4006492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61" name="Oval 23"/>
          <p:cNvSpPr>
            <a:spLocks noChangeArrowheads="1"/>
          </p:cNvSpPr>
          <p:nvPr/>
        </p:nvSpPr>
        <p:spPr bwMode="auto">
          <a:xfrm>
            <a:off x="6946595" y="4006492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62" name="Oval 24"/>
          <p:cNvSpPr>
            <a:spLocks noChangeArrowheads="1"/>
          </p:cNvSpPr>
          <p:nvPr/>
        </p:nvSpPr>
        <p:spPr bwMode="auto">
          <a:xfrm>
            <a:off x="6943823" y="4006492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63" name="Oval 25"/>
          <p:cNvSpPr>
            <a:spLocks noChangeArrowheads="1"/>
          </p:cNvSpPr>
          <p:nvPr/>
        </p:nvSpPr>
        <p:spPr bwMode="auto">
          <a:xfrm>
            <a:off x="6940949" y="4000691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2964" name="Oval 26"/>
          <p:cNvSpPr>
            <a:spLocks noChangeArrowheads="1"/>
          </p:cNvSpPr>
          <p:nvPr/>
        </p:nvSpPr>
        <p:spPr bwMode="auto">
          <a:xfrm>
            <a:off x="6928317" y="4000691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77" name="Oval 3076"/>
          <p:cNvSpPr/>
          <p:nvPr/>
        </p:nvSpPr>
        <p:spPr>
          <a:xfrm>
            <a:off x="7150942" y="3894669"/>
            <a:ext cx="125304" cy="12643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3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86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29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72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14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58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999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43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50" dirty="0" smtClean="0">
              <a:solidFill>
                <a:srgbClr val="FFFFFF"/>
              </a:solidFill>
            </a:endParaRPr>
          </a:p>
        </p:txBody>
      </p:sp>
      <p:sp>
        <p:nvSpPr>
          <p:cNvPr id="3078" name="Oval 3077"/>
          <p:cNvSpPr/>
          <p:nvPr/>
        </p:nvSpPr>
        <p:spPr>
          <a:xfrm>
            <a:off x="7155518" y="3899753"/>
            <a:ext cx="116104" cy="117148"/>
          </a:xfrm>
          <a:prstGeom prst="ellipse">
            <a:avLst/>
          </a:prstGeom>
          <a:solidFill>
            <a:srgbClr val="57B84D"/>
          </a:soli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07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3056" name="Freeform 6"/>
          <p:cNvSpPr>
            <a:spLocks noEditPoints="1"/>
          </p:cNvSpPr>
          <p:nvPr/>
        </p:nvSpPr>
        <p:spPr bwMode="auto">
          <a:xfrm>
            <a:off x="7197431" y="3931355"/>
            <a:ext cx="31505" cy="51222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57" name="Oval 7"/>
          <p:cNvSpPr>
            <a:spLocks noChangeArrowheads="1"/>
          </p:cNvSpPr>
          <p:nvPr/>
        </p:nvSpPr>
        <p:spPr bwMode="auto">
          <a:xfrm>
            <a:off x="7223250" y="3964381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58" name="Oval 8"/>
          <p:cNvSpPr>
            <a:spLocks noChangeArrowheads="1"/>
          </p:cNvSpPr>
          <p:nvPr/>
        </p:nvSpPr>
        <p:spPr bwMode="auto">
          <a:xfrm>
            <a:off x="7216457" y="3964381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59" name="Oval 9"/>
          <p:cNvSpPr>
            <a:spLocks noChangeArrowheads="1"/>
          </p:cNvSpPr>
          <p:nvPr/>
        </p:nvSpPr>
        <p:spPr bwMode="auto">
          <a:xfrm>
            <a:off x="7201261" y="3964381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60" name="Oval 10"/>
          <p:cNvSpPr>
            <a:spLocks noChangeArrowheads="1"/>
          </p:cNvSpPr>
          <p:nvPr/>
        </p:nvSpPr>
        <p:spPr bwMode="auto">
          <a:xfrm>
            <a:off x="7219916" y="3964381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61" name="Oval 11"/>
          <p:cNvSpPr>
            <a:spLocks noChangeArrowheads="1"/>
          </p:cNvSpPr>
          <p:nvPr/>
        </p:nvSpPr>
        <p:spPr bwMode="auto">
          <a:xfrm>
            <a:off x="7216457" y="3935841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62" name="Oval 12"/>
          <p:cNvSpPr>
            <a:spLocks noChangeArrowheads="1"/>
          </p:cNvSpPr>
          <p:nvPr/>
        </p:nvSpPr>
        <p:spPr bwMode="auto">
          <a:xfrm>
            <a:off x="7219916" y="3935841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63" name="Oval 13"/>
          <p:cNvSpPr>
            <a:spLocks noChangeArrowheads="1"/>
          </p:cNvSpPr>
          <p:nvPr/>
        </p:nvSpPr>
        <p:spPr bwMode="auto">
          <a:xfrm>
            <a:off x="7201261" y="3943194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64" name="Oval 14"/>
          <p:cNvSpPr>
            <a:spLocks noChangeArrowheads="1"/>
          </p:cNvSpPr>
          <p:nvPr/>
        </p:nvSpPr>
        <p:spPr bwMode="auto">
          <a:xfrm>
            <a:off x="7223250" y="3950298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65" name="Oval 15"/>
          <p:cNvSpPr>
            <a:spLocks noChangeArrowheads="1"/>
          </p:cNvSpPr>
          <p:nvPr/>
        </p:nvSpPr>
        <p:spPr bwMode="auto">
          <a:xfrm>
            <a:off x="7219916" y="3943194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66" name="Oval 16"/>
          <p:cNvSpPr>
            <a:spLocks noChangeArrowheads="1"/>
          </p:cNvSpPr>
          <p:nvPr/>
        </p:nvSpPr>
        <p:spPr bwMode="auto">
          <a:xfrm>
            <a:off x="7201261" y="3935841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67" name="Oval 17"/>
          <p:cNvSpPr>
            <a:spLocks noChangeArrowheads="1"/>
          </p:cNvSpPr>
          <p:nvPr/>
        </p:nvSpPr>
        <p:spPr bwMode="auto">
          <a:xfrm>
            <a:off x="7216457" y="3943194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68" name="Oval 18"/>
          <p:cNvSpPr>
            <a:spLocks noChangeArrowheads="1"/>
          </p:cNvSpPr>
          <p:nvPr/>
        </p:nvSpPr>
        <p:spPr bwMode="auto">
          <a:xfrm>
            <a:off x="7223250" y="3943194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69" name="Oval 19"/>
          <p:cNvSpPr>
            <a:spLocks noChangeArrowheads="1"/>
          </p:cNvSpPr>
          <p:nvPr/>
        </p:nvSpPr>
        <p:spPr bwMode="auto">
          <a:xfrm>
            <a:off x="7219916" y="3950298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70" name="Oval 20"/>
          <p:cNvSpPr>
            <a:spLocks noChangeArrowheads="1"/>
          </p:cNvSpPr>
          <p:nvPr/>
        </p:nvSpPr>
        <p:spPr bwMode="auto">
          <a:xfrm>
            <a:off x="7223250" y="3935841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71" name="Oval 21"/>
          <p:cNvSpPr>
            <a:spLocks noChangeArrowheads="1"/>
          </p:cNvSpPr>
          <p:nvPr/>
        </p:nvSpPr>
        <p:spPr bwMode="auto">
          <a:xfrm>
            <a:off x="7216457" y="3957277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72" name="Oval 22"/>
          <p:cNvSpPr>
            <a:spLocks noChangeArrowheads="1"/>
          </p:cNvSpPr>
          <p:nvPr/>
        </p:nvSpPr>
        <p:spPr bwMode="auto">
          <a:xfrm>
            <a:off x="7201261" y="3957277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73" name="Oval 23"/>
          <p:cNvSpPr>
            <a:spLocks noChangeArrowheads="1"/>
          </p:cNvSpPr>
          <p:nvPr/>
        </p:nvSpPr>
        <p:spPr bwMode="auto">
          <a:xfrm>
            <a:off x="7223250" y="3957277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74" name="Oval 24"/>
          <p:cNvSpPr>
            <a:spLocks noChangeArrowheads="1"/>
          </p:cNvSpPr>
          <p:nvPr/>
        </p:nvSpPr>
        <p:spPr bwMode="auto">
          <a:xfrm>
            <a:off x="7219916" y="3957277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75" name="Oval 25"/>
          <p:cNvSpPr>
            <a:spLocks noChangeArrowheads="1"/>
          </p:cNvSpPr>
          <p:nvPr/>
        </p:nvSpPr>
        <p:spPr bwMode="auto">
          <a:xfrm>
            <a:off x="7216457" y="3950298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76" name="Oval 26"/>
          <p:cNvSpPr>
            <a:spLocks noChangeArrowheads="1"/>
          </p:cNvSpPr>
          <p:nvPr/>
        </p:nvSpPr>
        <p:spPr bwMode="auto">
          <a:xfrm>
            <a:off x="7201261" y="3950298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35" name="Freeform 6"/>
          <p:cNvSpPr>
            <a:spLocks noEditPoints="1"/>
          </p:cNvSpPr>
          <p:nvPr/>
        </p:nvSpPr>
        <p:spPr bwMode="auto">
          <a:xfrm>
            <a:off x="7228736" y="3936163"/>
            <a:ext cx="26187" cy="42576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36" name="Oval 7"/>
          <p:cNvSpPr>
            <a:spLocks noChangeArrowheads="1"/>
          </p:cNvSpPr>
          <p:nvPr/>
        </p:nvSpPr>
        <p:spPr bwMode="auto">
          <a:xfrm>
            <a:off x="7248252" y="3963614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37" name="Oval 8"/>
          <p:cNvSpPr>
            <a:spLocks noChangeArrowheads="1"/>
          </p:cNvSpPr>
          <p:nvPr/>
        </p:nvSpPr>
        <p:spPr bwMode="auto">
          <a:xfrm>
            <a:off x="7242603" y="3963614"/>
            <a:ext cx="1967" cy="1983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38" name="Oval 9"/>
          <p:cNvSpPr>
            <a:spLocks noChangeArrowheads="1"/>
          </p:cNvSpPr>
          <p:nvPr/>
        </p:nvSpPr>
        <p:spPr bwMode="auto">
          <a:xfrm>
            <a:off x="7229973" y="3963614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39" name="Oval 10"/>
          <p:cNvSpPr>
            <a:spLocks noChangeArrowheads="1"/>
          </p:cNvSpPr>
          <p:nvPr/>
        </p:nvSpPr>
        <p:spPr bwMode="auto">
          <a:xfrm>
            <a:off x="7245480" y="3963614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40" name="Oval 11"/>
          <p:cNvSpPr>
            <a:spLocks noChangeArrowheads="1"/>
          </p:cNvSpPr>
          <p:nvPr/>
        </p:nvSpPr>
        <p:spPr bwMode="auto">
          <a:xfrm>
            <a:off x="7242605" y="3939892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41" name="Oval 12"/>
          <p:cNvSpPr>
            <a:spLocks noChangeArrowheads="1"/>
          </p:cNvSpPr>
          <p:nvPr/>
        </p:nvSpPr>
        <p:spPr bwMode="auto">
          <a:xfrm>
            <a:off x="7245480" y="3939892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42" name="Oval 13"/>
          <p:cNvSpPr>
            <a:spLocks noChangeArrowheads="1"/>
          </p:cNvSpPr>
          <p:nvPr/>
        </p:nvSpPr>
        <p:spPr bwMode="auto">
          <a:xfrm>
            <a:off x="7229973" y="3946004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43" name="Oval 14"/>
          <p:cNvSpPr>
            <a:spLocks noChangeArrowheads="1"/>
          </p:cNvSpPr>
          <p:nvPr/>
        </p:nvSpPr>
        <p:spPr bwMode="auto">
          <a:xfrm>
            <a:off x="7248252" y="3951909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44" name="Oval 15"/>
          <p:cNvSpPr>
            <a:spLocks noChangeArrowheads="1"/>
          </p:cNvSpPr>
          <p:nvPr/>
        </p:nvSpPr>
        <p:spPr bwMode="auto">
          <a:xfrm>
            <a:off x="7245480" y="3946004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45" name="Oval 16"/>
          <p:cNvSpPr>
            <a:spLocks noChangeArrowheads="1"/>
          </p:cNvSpPr>
          <p:nvPr/>
        </p:nvSpPr>
        <p:spPr bwMode="auto">
          <a:xfrm>
            <a:off x="7229973" y="3939892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46" name="Oval 17"/>
          <p:cNvSpPr>
            <a:spLocks noChangeArrowheads="1"/>
          </p:cNvSpPr>
          <p:nvPr/>
        </p:nvSpPr>
        <p:spPr bwMode="auto">
          <a:xfrm>
            <a:off x="7242605" y="3946004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47" name="Oval 18"/>
          <p:cNvSpPr>
            <a:spLocks noChangeArrowheads="1"/>
          </p:cNvSpPr>
          <p:nvPr/>
        </p:nvSpPr>
        <p:spPr bwMode="auto">
          <a:xfrm>
            <a:off x="7248252" y="3946004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48" name="Oval 19"/>
          <p:cNvSpPr>
            <a:spLocks noChangeArrowheads="1"/>
          </p:cNvSpPr>
          <p:nvPr/>
        </p:nvSpPr>
        <p:spPr bwMode="auto">
          <a:xfrm>
            <a:off x="7245480" y="3951909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49" name="Oval 20"/>
          <p:cNvSpPr>
            <a:spLocks noChangeArrowheads="1"/>
          </p:cNvSpPr>
          <p:nvPr/>
        </p:nvSpPr>
        <p:spPr bwMode="auto">
          <a:xfrm>
            <a:off x="7248252" y="3939892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50" name="Oval 21"/>
          <p:cNvSpPr>
            <a:spLocks noChangeArrowheads="1"/>
          </p:cNvSpPr>
          <p:nvPr/>
        </p:nvSpPr>
        <p:spPr bwMode="auto">
          <a:xfrm>
            <a:off x="7242605" y="3957709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51" name="Oval 22"/>
          <p:cNvSpPr>
            <a:spLocks noChangeArrowheads="1"/>
          </p:cNvSpPr>
          <p:nvPr/>
        </p:nvSpPr>
        <p:spPr bwMode="auto">
          <a:xfrm>
            <a:off x="7229973" y="3957709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52" name="Oval 23"/>
          <p:cNvSpPr>
            <a:spLocks noChangeArrowheads="1"/>
          </p:cNvSpPr>
          <p:nvPr/>
        </p:nvSpPr>
        <p:spPr bwMode="auto">
          <a:xfrm>
            <a:off x="7248252" y="3957709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53" name="Oval 24"/>
          <p:cNvSpPr>
            <a:spLocks noChangeArrowheads="1"/>
          </p:cNvSpPr>
          <p:nvPr/>
        </p:nvSpPr>
        <p:spPr bwMode="auto">
          <a:xfrm>
            <a:off x="7245480" y="3957709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54" name="Oval 25"/>
          <p:cNvSpPr>
            <a:spLocks noChangeArrowheads="1"/>
          </p:cNvSpPr>
          <p:nvPr/>
        </p:nvSpPr>
        <p:spPr bwMode="auto">
          <a:xfrm>
            <a:off x="7242605" y="3951909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55" name="Oval 26"/>
          <p:cNvSpPr>
            <a:spLocks noChangeArrowheads="1"/>
          </p:cNvSpPr>
          <p:nvPr/>
        </p:nvSpPr>
        <p:spPr bwMode="auto">
          <a:xfrm>
            <a:off x="7229973" y="3951909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14" name="Freeform 6"/>
          <p:cNvSpPr>
            <a:spLocks noEditPoints="1"/>
          </p:cNvSpPr>
          <p:nvPr/>
        </p:nvSpPr>
        <p:spPr bwMode="auto">
          <a:xfrm>
            <a:off x="7171766" y="3936163"/>
            <a:ext cx="26187" cy="42576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15" name="Oval 7"/>
          <p:cNvSpPr>
            <a:spLocks noChangeArrowheads="1"/>
          </p:cNvSpPr>
          <p:nvPr/>
        </p:nvSpPr>
        <p:spPr bwMode="auto">
          <a:xfrm>
            <a:off x="7193228" y="3963614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16" name="Oval 8"/>
          <p:cNvSpPr>
            <a:spLocks noChangeArrowheads="1"/>
          </p:cNvSpPr>
          <p:nvPr/>
        </p:nvSpPr>
        <p:spPr bwMode="auto">
          <a:xfrm>
            <a:off x="7187581" y="3963614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17" name="Oval 9"/>
          <p:cNvSpPr>
            <a:spLocks noChangeArrowheads="1"/>
          </p:cNvSpPr>
          <p:nvPr/>
        </p:nvSpPr>
        <p:spPr bwMode="auto">
          <a:xfrm>
            <a:off x="7174949" y="3963614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18" name="Oval 10"/>
          <p:cNvSpPr>
            <a:spLocks noChangeArrowheads="1"/>
          </p:cNvSpPr>
          <p:nvPr/>
        </p:nvSpPr>
        <p:spPr bwMode="auto">
          <a:xfrm>
            <a:off x="7190456" y="3963614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19" name="Oval 11"/>
          <p:cNvSpPr>
            <a:spLocks noChangeArrowheads="1"/>
          </p:cNvSpPr>
          <p:nvPr/>
        </p:nvSpPr>
        <p:spPr bwMode="auto">
          <a:xfrm>
            <a:off x="7187581" y="3939892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20" name="Oval 12"/>
          <p:cNvSpPr>
            <a:spLocks noChangeArrowheads="1"/>
          </p:cNvSpPr>
          <p:nvPr/>
        </p:nvSpPr>
        <p:spPr bwMode="auto">
          <a:xfrm>
            <a:off x="7190456" y="3939892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21" name="Oval 13"/>
          <p:cNvSpPr>
            <a:spLocks noChangeArrowheads="1"/>
          </p:cNvSpPr>
          <p:nvPr/>
        </p:nvSpPr>
        <p:spPr bwMode="auto">
          <a:xfrm>
            <a:off x="7174949" y="3946004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22" name="Oval 14"/>
          <p:cNvSpPr>
            <a:spLocks noChangeArrowheads="1"/>
          </p:cNvSpPr>
          <p:nvPr/>
        </p:nvSpPr>
        <p:spPr bwMode="auto">
          <a:xfrm>
            <a:off x="7193228" y="3951909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23" name="Oval 15"/>
          <p:cNvSpPr>
            <a:spLocks noChangeArrowheads="1"/>
          </p:cNvSpPr>
          <p:nvPr/>
        </p:nvSpPr>
        <p:spPr bwMode="auto">
          <a:xfrm>
            <a:off x="7190456" y="3946004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24" name="Oval 16"/>
          <p:cNvSpPr>
            <a:spLocks noChangeArrowheads="1"/>
          </p:cNvSpPr>
          <p:nvPr/>
        </p:nvSpPr>
        <p:spPr bwMode="auto">
          <a:xfrm>
            <a:off x="7174949" y="3939892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25" name="Oval 17"/>
          <p:cNvSpPr>
            <a:spLocks noChangeArrowheads="1"/>
          </p:cNvSpPr>
          <p:nvPr/>
        </p:nvSpPr>
        <p:spPr bwMode="auto">
          <a:xfrm>
            <a:off x="7187581" y="3946004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26" name="Oval 18"/>
          <p:cNvSpPr>
            <a:spLocks noChangeArrowheads="1"/>
          </p:cNvSpPr>
          <p:nvPr/>
        </p:nvSpPr>
        <p:spPr bwMode="auto">
          <a:xfrm>
            <a:off x="7193228" y="3946004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27" name="Oval 19"/>
          <p:cNvSpPr>
            <a:spLocks noChangeArrowheads="1"/>
          </p:cNvSpPr>
          <p:nvPr/>
        </p:nvSpPr>
        <p:spPr bwMode="auto">
          <a:xfrm>
            <a:off x="7190456" y="3951909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28" name="Oval 20"/>
          <p:cNvSpPr>
            <a:spLocks noChangeArrowheads="1"/>
          </p:cNvSpPr>
          <p:nvPr/>
        </p:nvSpPr>
        <p:spPr bwMode="auto">
          <a:xfrm>
            <a:off x="7193228" y="3939892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29" name="Oval 21"/>
          <p:cNvSpPr>
            <a:spLocks noChangeArrowheads="1"/>
          </p:cNvSpPr>
          <p:nvPr/>
        </p:nvSpPr>
        <p:spPr bwMode="auto">
          <a:xfrm>
            <a:off x="7187581" y="3957709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30" name="Oval 22"/>
          <p:cNvSpPr>
            <a:spLocks noChangeArrowheads="1"/>
          </p:cNvSpPr>
          <p:nvPr/>
        </p:nvSpPr>
        <p:spPr bwMode="auto">
          <a:xfrm>
            <a:off x="7174949" y="3957709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31" name="Oval 23"/>
          <p:cNvSpPr>
            <a:spLocks noChangeArrowheads="1"/>
          </p:cNvSpPr>
          <p:nvPr/>
        </p:nvSpPr>
        <p:spPr bwMode="auto">
          <a:xfrm>
            <a:off x="7193228" y="3957709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32" name="Oval 24"/>
          <p:cNvSpPr>
            <a:spLocks noChangeArrowheads="1"/>
          </p:cNvSpPr>
          <p:nvPr/>
        </p:nvSpPr>
        <p:spPr bwMode="auto">
          <a:xfrm>
            <a:off x="7190456" y="3957709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33" name="Oval 25"/>
          <p:cNvSpPr>
            <a:spLocks noChangeArrowheads="1"/>
          </p:cNvSpPr>
          <p:nvPr/>
        </p:nvSpPr>
        <p:spPr bwMode="auto">
          <a:xfrm>
            <a:off x="7187581" y="3951909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34" name="Oval 26"/>
          <p:cNvSpPr>
            <a:spLocks noChangeArrowheads="1"/>
          </p:cNvSpPr>
          <p:nvPr/>
        </p:nvSpPr>
        <p:spPr bwMode="auto">
          <a:xfrm>
            <a:off x="7174949" y="3951909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83" name="Oval 3782"/>
          <p:cNvSpPr/>
          <p:nvPr/>
        </p:nvSpPr>
        <p:spPr>
          <a:xfrm>
            <a:off x="6616178" y="3508040"/>
            <a:ext cx="125304" cy="12643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3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86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29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72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14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58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999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43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50" dirty="0" smtClean="0">
              <a:solidFill>
                <a:srgbClr val="FFFFFF"/>
              </a:solidFill>
            </a:endParaRPr>
          </a:p>
        </p:txBody>
      </p:sp>
      <p:sp>
        <p:nvSpPr>
          <p:cNvPr id="3784" name="Oval 3783"/>
          <p:cNvSpPr/>
          <p:nvPr/>
        </p:nvSpPr>
        <p:spPr>
          <a:xfrm>
            <a:off x="6620754" y="3513124"/>
            <a:ext cx="116104" cy="117148"/>
          </a:xfrm>
          <a:prstGeom prst="ellipse">
            <a:avLst/>
          </a:prstGeom>
          <a:solidFill>
            <a:srgbClr val="57B84D"/>
          </a:soli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07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3762" name="Freeform 6"/>
          <p:cNvSpPr>
            <a:spLocks noEditPoints="1"/>
          </p:cNvSpPr>
          <p:nvPr/>
        </p:nvSpPr>
        <p:spPr bwMode="auto">
          <a:xfrm>
            <a:off x="6662667" y="3544726"/>
            <a:ext cx="31505" cy="51222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63" name="Oval 7"/>
          <p:cNvSpPr>
            <a:spLocks noChangeArrowheads="1"/>
          </p:cNvSpPr>
          <p:nvPr/>
        </p:nvSpPr>
        <p:spPr bwMode="auto">
          <a:xfrm>
            <a:off x="6688486" y="3577752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64" name="Oval 8"/>
          <p:cNvSpPr>
            <a:spLocks noChangeArrowheads="1"/>
          </p:cNvSpPr>
          <p:nvPr/>
        </p:nvSpPr>
        <p:spPr bwMode="auto">
          <a:xfrm>
            <a:off x="6681693" y="3577752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65" name="Oval 9"/>
          <p:cNvSpPr>
            <a:spLocks noChangeArrowheads="1"/>
          </p:cNvSpPr>
          <p:nvPr/>
        </p:nvSpPr>
        <p:spPr bwMode="auto">
          <a:xfrm>
            <a:off x="6666497" y="3577752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66" name="Oval 10"/>
          <p:cNvSpPr>
            <a:spLocks noChangeArrowheads="1"/>
          </p:cNvSpPr>
          <p:nvPr/>
        </p:nvSpPr>
        <p:spPr bwMode="auto">
          <a:xfrm>
            <a:off x="6685152" y="3577752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67" name="Oval 11"/>
          <p:cNvSpPr>
            <a:spLocks noChangeArrowheads="1"/>
          </p:cNvSpPr>
          <p:nvPr/>
        </p:nvSpPr>
        <p:spPr bwMode="auto">
          <a:xfrm>
            <a:off x="6681693" y="3549212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68" name="Oval 12"/>
          <p:cNvSpPr>
            <a:spLocks noChangeArrowheads="1"/>
          </p:cNvSpPr>
          <p:nvPr/>
        </p:nvSpPr>
        <p:spPr bwMode="auto">
          <a:xfrm>
            <a:off x="6685152" y="3549212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69" name="Oval 13"/>
          <p:cNvSpPr>
            <a:spLocks noChangeArrowheads="1"/>
          </p:cNvSpPr>
          <p:nvPr/>
        </p:nvSpPr>
        <p:spPr bwMode="auto">
          <a:xfrm>
            <a:off x="6666497" y="3556565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70" name="Oval 14"/>
          <p:cNvSpPr>
            <a:spLocks noChangeArrowheads="1"/>
          </p:cNvSpPr>
          <p:nvPr/>
        </p:nvSpPr>
        <p:spPr bwMode="auto">
          <a:xfrm>
            <a:off x="6688486" y="3563669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71" name="Oval 15"/>
          <p:cNvSpPr>
            <a:spLocks noChangeArrowheads="1"/>
          </p:cNvSpPr>
          <p:nvPr/>
        </p:nvSpPr>
        <p:spPr bwMode="auto">
          <a:xfrm>
            <a:off x="6685152" y="3556565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72" name="Oval 16"/>
          <p:cNvSpPr>
            <a:spLocks noChangeArrowheads="1"/>
          </p:cNvSpPr>
          <p:nvPr/>
        </p:nvSpPr>
        <p:spPr bwMode="auto">
          <a:xfrm>
            <a:off x="6666497" y="3549212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73" name="Oval 17"/>
          <p:cNvSpPr>
            <a:spLocks noChangeArrowheads="1"/>
          </p:cNvSpPr>
          <p:nvPr/>
        </p:nvSpPr>
        <p:spPr bwMode="auto">
          <a:xfrm>
            <a:off x="6681693" y="3556565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74" name="Oval 18"/>
          <p:cNvSpPr>
            <a:spLocks noChangeArrowheads="1"/>
          </p:cNvSpPr>
          <p:nvPr/>
        </p:nvSpPr>
        <p:spPr bwMode="auto">
          <a:xfrm>
            <a:off x="6688486" y="3556565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75" name="Oval 19"/>
          <p:cNvSpPr>
            <a:spLocks noChangeArrowheads="1"/>
          </p:cNvSpPr>
          <p:nvPr/>
        </p:nvSpPr>
        <p:spPr bwMode="auto">
          <a:xfrm>
            <a:off x="6685152" y="3563669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76" name="Oval 20"/>
          <p:cNvSpPr>
            <a:spLocks noChangeArrowheads="1"/>
          </p:cNvSpPr>
          <p:nvPr/>
        </p:nvSpPr>
        <p:spPr bwMode="auto">
          <a:xfrm>
            <a:off x="6688486" y="3549212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77" name="Oval 21"/>
          <p:cNvSpPr>
            <a:spLocks noChangeArrowheads="1"/>
          </p:cNvSpPr>
          <p:nvPr/>
        </p:nvSpPr>
        <p:spPr bwMode="auto">
          <a:xfrm>
            <a:off x="6681693" y="3570649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78" name="Oval 22"/>
          <p:cNvSpPr>
            <a:spLocks noChangeArrowheads="1"/>
          </p:cNvSpPr>
          <p:nvPr/>
        </p:nvSpPr>
        <p:spPr bwMode="auto">
          <a:xfrm>
            <a:off x="6666497" y="3570649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79" name="Oval 23"/>
          <p:cNvSpPr>
            <a:spLocks noChangeArrowheads="1"/>
          </p:cNvSpPr>
          <p:nvPr/>
        </p:nvSpPr>
        <p:spPr bwMode="auto">
          <a:xfrm>
            <a:off x="6688486" y="3570649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80" name="Oval 24"/>
          <p:cNvSpPr>
            <a:spLocks noChangeArrowheads="1"/>
          </p:cNvSpPr>
          <p:nvPr/>
        </p:nvSpPr>
        <p:spPr bwMode="auto">
          <a:xfrm>
            <a:off x="6685152" y="3570649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81" name="Oval 25"/>
          <p:cNvSpPr>
            <a:spLocks noChangeArrowheads="1"/>
          </p:cNvSpPr>
          <p:nvPr/>
        </p:nvSpPr>
        <p:spPr bwMode="auto">
          <a:xfrm>
            <a:off x="6681693" y="3563669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82" name="Oval 26"/>
          <p:cNvSpPr>
            <a:spLocks noChangeArrowheads="1"/>
          </p:cNvSpPr>
          <p:nvPr/>
        </p:nvSpPr>
        <p:spPr bwMode="auto">
          <a:xfrm>
            <a:off x="6666497" y="3563669"/>
            <a:ext cx="2365" cy="2387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41" name="Freeform 6"/>
          <p:cNvSpPr>
            <a:spLocks noEditPoints="1"/>
          </p:cNvSpPr>
          <p:nvPr/>
        </p:nvSpPr>
        <p:spPr bwMode="auto">
          <a:xfrm>
            <a:off x="6693972" y="3549534"/>
            <a:ext cx="26187" cy="42576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42" name="Oval 7"/>
          <p:cNvSpPr>
            <a:spLocks noChangeArrowheads="1"/>
          </p:cNvSpPr>
          <p:nvPr/>
        </p:nvSpPr>
        <p:spPr bwMode="auto">
          <a:xfrm>
            <a:off x="6713488" y="3576985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43" name="Oval 8"/>
          <p:cNvSpPr>
            <a:spLocks noChangeArrowheads="1"/>
          </p:cNvSpPr>
          <p:nvPr/>
        </p:nvSpPr>
        <p:spPr bwMode="auto">
          <a:xfrm>
            <a:off x="6707841" y="3576985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44" name="Oval 9"/>
          <p:cNvSpPr>
            <a:spLocks noChangeArrowheads="1"/>
          </p:cNvSpPr>
          <p:nvPr/>
        </p:nvSpPr>
        <p:spPr bwMode="auto">
          <a:xfrm>
            <a:off x="6695209" y="3576985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45" name="Oval 10"/>
          <p:cNvSpPr>
            <a:spLocks noChangeArrowheads="1"/>
          </p:cNvSpPr>
          <p:nvPr/>
        </p:nvSpPr>
        <p:spPr bwMode="auto">
          <a:xfrm>
            <a:off x="6710716" y="3576985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46" name="Oval 11"/>
          <p:cNvSpPr>
            <a:spLocks noChangeArrowheads="1"/>
          </p:cNvSpPr>
          <p:nvPr/>
        </p:nvSpPr>
        <p:spPr bwMode="auto">
          <a:xfrm>
            <a:off x="6707841" y="3553263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47" name="Oval 12"/>
          <p:cNvSpPr>
            <a:spLocks noChangeArrowheads="1"/>
          </p:cNvSpPr>
          <p:nvPr/>
        </p:nvSpPr>
        <p:spPr bwMode="auto">
          <a:xfrm>
            <a:off x="6710716" y="3553263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48" name="Oval 13"/>
          <p:cNvSpPr>
            <a:spLocks noChangeArrowheads="1"/>
          </p:cNvSpPr>
          <p:nvPr/>
        </p:nvSpPr>
        <p:spPr bwMode="auto">
          <a:xfrm>
            <a:off x="6695209" y="3559375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49" name="Oval 14"/>
          <p:cNvSpPr>
            <a:spLocks noChangeArrowheads="1"/>
          </p:cNvSpPr>
          <p:nvPr/>
        </p:nvSpPr>
        <p:spPr bwMode="auto">
          <a:xfrm>
            <a:off x="6713488" y="3565280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50" name="Oval 15"/>
          <p:cNvSpPr>
            <a:spLocks noChangeArrowheads="1"/>
          </p:cNvSpPr>
          <p:nvPr/>
        </p:nvSpPr>
        <p:spPr bwMode="auto">
          <a:xfrm>
            <a:off x="6710716" y="3559375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51" name="Oval 16"/>
          <p:cNvSpPr>
            <a:spLocks noChangeArrowheads="1"/>
          </p:cNvSpPr>
          <p:nvPr/>
        </p:nvSpPr>
        <p:spPr bwMode="auto">
          <a:xfrm>
            <a:off x="6695209" y="3553263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52" name="Oval 17"/>
          <p:cNvSpPr>
            <a:spLocks noChangeArrowheads="1"/>
          </p:cNvSpPr>
          <p:nvPr/>
        </p:nvSpPr>
        <p:spPr bwMode="auto">
          <a:xfrm>
            <a:off x="6707841" y="3559375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53" name="Oval 18"/>
          <p:cNvSpPr>
            <a:spLocks noChangeArrowheads="1"/>
          </p:cNvSpPr>
          <p:nvPr/>
        </p:nvSpPr>
        <p:spPr bwMode="auto">
          <a:xfrm>
            <a:off x="6713488" y="3559375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54" name="Oval 19"/>
          <p:cNvSpPr>
            <a:spLocks noChangeArrowheads="1"/>
          </p:cNvSpPr>
          <p:nvPr/>
        </p:nvSpPr>
        <p:spPr bwMode="auto">
          <a:xfrm>
            <a:off x="6710716" y="3565280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55" name="Oval 20"/>
          <p:cNvSpPr>
            <a:spLocks noChangeArrowheads="1"/>
          </p:cNvSpPr>
          <p:nvPr/>
        </p:nvSpPr>
        <p:spPr bwMode="auto">
          <a:xfrm>
            <a:off x="6713488" y="3553263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56" name="Oval 21"/>
          <p:cNvSpPr>
            <a:spLocks noChangeArrowheads="1"/>
          </p:cNvSpPr>
          <p:nvPr/>
        </p:nvSpPr>
        <p:spPr bwMode="auto">
          <a:xfrm>
            <a:off x="6707841" y="3571080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57" name="Oval 22"/>
          <p:cNvSpPr>
            <a:spLocks noChangeArrowheads="1"/>
          </p:cNvSpPr>
          <p:nvPr/>
        </p:nvSpPr>
        <p:spPr bwMode="auto">
          <a:xfrm>
            <a:off x="6695209" y="3571080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58" name="Oval 23"/>
          <p:cNvSpPr>
            <a:spLocks noChangeArrowheads="1"/>
          </p:cNvSpPr>
          <p:nvPr/>
        </p:nvSpPr>
        <p:spPr bwMode="auto">
          <a:xfrm>
            <a:off x="6713488" y="3571080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59" name="Oval 24"/>
          <p:cNvSpPr>
            <a:spLocks noChangeArrowheads="1"/>
          </p:cNvSpPr>
          <p:nvPr/>
        </p:nvSpPr>
        <p:spPr bwMode="auto">
          <a:xfrm>
            <a:off x="6710716" y="3571080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60" name="Oval 25"/>
          <p:cNvSpPr>
            <a:spLocks noChangeArrowheads="1"/>
          </p:cNvSpPr>
          <p:nvPr/>
        </p:nvSpPr>
        <p:spPr bwMode="auto">
          <a:xfrm>
            <a:off x="6707841" y="3565280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61" name="Oval 26"/>
          <p:cNvSpPr>
            <a:spLocks noChangeArrowheads="1"/>
          </p:cNvSpPr>
          <p:nvPr/>
        </p:nvSpPr>
        <p:spPr bwMode="auto">
          <a:xfrm>
            <a:off x="6695209" y="3565280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20" name="Freeform 6"/>
          <p:cNvSpPr>
            <a:spLocks noEditPoints="1"/>
          </p:cNvSpPr>
          <p:nvPr/>
        </p:nvSpPr>
        <p:spPr bwMode="auto">
          <a:xfrm>
            <a:off x="6637002" y="3549534"/>
            <a:ext cx="26187" cy="42576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21" name="Oval 7"/>
          <p:cNvSpPr>
            <a:spLocks noChangeArrowheads="1"/>
          </p:cNvSpPr>
          <p:nvPr/>
        </p:nvSpPr>
        <p:spPr bwMode="auto">
          <a:xfrm>
            <a:off x="6658464" y="3576985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22" name="Oval 8"/>
          <p:cNvSpPr>
            <a:spLocks noChangeArrowheads="1"/>
          </p:cNvSpPr>
          <p:nvPr/>
        </p:nvSpPr>
        <p:spPr bwMode="auto">
          <a:xfrm>
            <a:off x="6652817" y="3576985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23" name="Oval 9"/>
          <p:cNvSpPr>
            <a:spLocks noChangeArrowheads="1"/>
          </p:cNvSpPr>
          <p:nvPr/>
        </p:nvSpPr>
        <p:spPr bwMode="auto">
          <a:xfrm>
            <a:off x="6640185" y="3576985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24" name="Oval 10"/>
          <p:cNvSpPr>
            <a:spLocks noChangeArrowheads="1"/>
          </p:cNvSpPr>
          <p:nvPr/>
        </p:nvSpPr>
        <p:spPr bwMode="auto">
          <a:xfrm>
            <a:off x="6655692" y="3576985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25" name="Oval 11"/>
          <p:cNvSpPr>
            <a:spLocks noChangeArrowheads="1"/>
          </p:cNvSpPr>
          <p:nvPr/>
        </p:nvSpPr>
        <p:spPr bwMode="auto">
          <a:xfrm>
            <a:off x="6652817" y="3553263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26" name="Oval 12"/>
          <p:cNvSpPr>
            <a:spLocks noChangeArrowheads="1"/>
          </p:cNvSpPr>
          <p:nvPr/>
        </p:nvSpPr>
        <p:spPr bwMode="auto">
          <a:xfrm>
            <a:off x="6655692" y="3553263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27" name="Oval 13"/>
          <p:cNvSpPr>
            <a:spLocks noChangeArrowheads="1"/>
          </p:cNvSpPr>
          <p:nvPr/>
        </p:nvSpPr>
        <p:spPr bwMode="auto">
          <a:xfrm>
            <a:off x="6640185" y="3559375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28" name="Oval 14"/>
          <p:cNvSpPr>
            <a:spLocks noChangeArrowheads="1"/>
          </p:cNvSpPr>
          <p:nvPr/>
        </p:nvSpPr>
        <p:spPr bwMode="auto">
          <a:xfrm>
            <a:off x="6658464" y="3565280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29" name="Oval 15"/>
          <p:cNvSpPr>
            <a:spLocks noChangeArrowheads="1"/>
          </p:cNvSpPr>
          <p:nvPr/>
        </p:nvSpPr>
        <p:spPr bwMode="auto">
          <a:xfrm>
            <a:off x="6655692" y="3559375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30" name="Oval 16"/>
          <p:cNvSpPr>
            <a:spLocks noChangeArrowheads="1"/>
          </p:cNvSpPr>
          <p:nvPr/>
        </p:nvSpPr>
        <p:spPr bwMode="auto">
          <a:xfrm>
            <a:off x="6640185" y="3553263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31" name="Oval 17"/>
          <p:cNvSpPr>
            <a:spLocks noChangeArrowheads="1"/>
          </p:cNvSpPr>
          <p:nvPr/>
        </p:nvSpPr>
        <p:spPr bwMode="auto">
          <a:xfrm>
            <a:off x="6652817" y="3559375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32" name="Oval 18"/>
          <p:cNvSpPr>
            <a:spLocks noChangeArrowheads="1"/>
          </p:cNvSpPr>
          <p:nvPr/>
        </p:nvSpPr>
        <p:spPr bwMode="auto">
          <a:xfrm>
            <a:off x="6658464" y="3559375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33" name="Oval 19"/>
          <p:cNvSpPr>
            <a:spLocks noChangeArrowheads="1"/>
          </p:cNvSpPr>
          <p:nvPr/>
        </p:nvSpPr>
        <p:spPr bwMode="auto">
          <a:xfrm>
            <a:off x="6655692" y="3565280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34" name="Oval 20"/>
          <p:cNvSpPr>
            <a:spLocks noChangeArrowheads="1"/>
          </p:cNvSpPr>
          <p:nvPr/>
        </p:nvSpPr>
        <p:spPr bwMode="auto">
          <a:xfrm>
            <a:off x="6658464" y="3553263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35" name="Oval 21"/>
          <p:cNvSpPr>
            <a:spLocks noChangeArrowheads="1"/>
          </p:cNvSpPr>
          <p:nvPr/>
        </p:nvSpPr>
        <p:spPr bwMode="auto">
          <a:xfrm>
            <a:off x="6652817" y="3571080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36" name="Oval 22"/>
          <p:cNvSpPr>
            <a:spLocks noChangeArrowheads="1"/>
          </p:cNvSpPr>
          <p:nvPr/>
        </p:nvSpPr>
        <p:spPr bwMode="auto">
          <a:xfrm>
            <a:off x="6640185" y="3571080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37" name="Oval 23"/>
          <p:cNvSpPr>
            <a:spLocks noChangeArrowheads="1"/>
          </p:cNvSpPr>
          <p:nvPr/>
        </p:nvSpPr>
        <p:spPr bwMode="auto">
          <a:xfrm>
            <a:off x="6658464" y="3571080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38" name="Oval 24"/>
          <p:cNvSpPr>
            <a:spLocks noChangeArrowheads="1"/>
          </p:cNvSpPr>
          <p:nvPr/>
        </p:nvSpPr>
        <p:spPr bwMode="auto">
          <a:xfrm>
            <a:off x="6655692" y="3571080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39" name="Oval 25"/>
          <p:cNvSpPr>
            <a:spLocks noChangeArrowheads="1"/>
          </p:cNvSpPr>
          <p:nvPr/>
        </p:nvSpPr>
        <p:spPr bwMode="auto">
          <a:xfrm>
            <a:off x="6652817" y="3565280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40" name="Oval 26"/>
          <p:cNvSpPr>
            <a:spLocks noChangeArrowheads="1"/>
          </p:cNvSpPr>
          <p:nvPr/>
        </p:nvSpPr>
        <p:spPr bwMode="auto">
          <a:xfrm>
            <a:off x="6640185" y="3565280"/>
            <a:ext cx="1966" cy="198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383404" y="3630328"/>
            <a:ext cx="941730" cy="528855"/>
            <a:chOff x="6383404" y="3630328"/>
            <a:chExt cx="941730" cy="528855"/>
          </a:xfrm>
          <a:solidFill>
            <a:srgbClr val="E9B837"/>
          </a:solidFill>
        </p:grpSpPr>
        <p:sp>
          <p:nvSpPr>
            <p:cNvPr id="4267" name="Oval 4266"/>
            <p:cNvSpPr>
              <a:spLocks noChangeAspect="1"/>
            </p:cNvSpPr>
            <p:nvPr/>
          </p:nvSpPr>
          <p:spPr>
            <a:xfrm>
              <a:off x="7054330" y="4116812"/>
              <a:ext cx="42372" cy="42371"/>
            </a:xfrm>
            <a:prstGeom prst="ellipse">
              <a:avLst/>
            </a:prstGeom>
            <a:grpFill/>
            <a:ln w="19050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268" name="Oval 4267"/>
            <p:cNvSpPr>
              <a:spLocks noChangeAspect="1"/>
            </p:cNvSpPr>
            <p:nvPr/>
          </p:nvSpPr>
          <p:spPr>
            <a:xfrm>
              <a:off x="6881933" y="3792192"/>
              <a:ext cx="42372" cy="42371"/>
            </a:xfrm>
            <a:prstGeom prst="ellipse">
              <a:avLst/>
            </a:prstGeom>
            <a:grpFill/>
            <a:ln w="19050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269" name="Oval 4268"/>
            <p:cNvSpPr>
              <a:spLocks noChangeAspect="1"/>
            </p:cNvSpPr>
            <p:nvPr/>
          </p:nvSpPr>
          <p:spPr>
            <a:xfrm>
              <a:off x="6964141" y="3912243"/>
              <a:ext cx="42372" cy="42371"/>
            </a:xfrm>
            <a:prstGeom prst="ellipse">
              <a:avLst/>
            </a:prstGeom>
            <a:grpFill/>
            <a:ln w="19050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270" name="Oval 4269"/>
            <p:cNvSpPr>
              <a:spLocks noChangeAspect="1"/>
            </p:cNvSpPr>
            <p:nvPr/>
          </p:nvSpPr>
          <p:spPr>
            <a:xfrm>
              <a:off x="6914555" y="4055782"/>
              <a:ext cx="42372" cy="42371"/>
            </a:xfrm>
            <a:prstGeom prst="ellipse">
              <a:avLst/>
            </a:prstGeom>
            <a:grpFill/>
            <a:ln w="19050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271" name="Oval 4270"/>
            <p:cNvSpPr>
              <a:spLocks noChangeAspect="1"/>
            </p:cNvSpPr>
            <p:nvPr/>
          </p:nvSpPr>
          <p:spPr>
            <a:xfrm>
              <a:off x="6842784" y="3942256"/>
              <a:ext cx="42372" cy="42371"/>
            </a:xfrm>
            <a:prstGeom prst="ellipse">
              <a:avLst/>
            </a:prstGeom>
            <a:grpFill/>
            <a:ln w="19050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272" name="Oval 4271"/>
            <p:cNvSpPr>
              <a:spLocks noChangeAspect="1"/>
            </p:cNvSpPr>
            <p:nvPr/>
          </p:nvSpPr>
          <p:spPr>
            <a:xfrm>
              <a:off x="6782758" y="3763485"/>
              <a:ext cx="42372" cy="42371"/>
            </a:xfrm>
            <a:prstGeom prst="ellipse">
              <a:avLst/>
            </a:prstGeom>
            <a:grpFill/>
            <a:ln w="19050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273" name="Oval 4272"/>
            <p:cNvSpPr>
              <a:spLocks noChangeAspect="1"/>
            </p:cNvSpPr>
            <p:nvPr/>
          </p:nvSpPr>
          <p:spPr>
            <a:xfrm>
              <a:off x="6752746" y="3630328"/>
              <a:ext cx="42372" cy="42371"/>
            </a:xfrm>
            <a:prstGeom prst="ellipse">
              <a:avLst/>
            </a:prstGeom>
            <a:grpFill/>
            <a:ln w="19050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13" name="Oval 4312"/>
            <p:cNvSpPr>
              <a:spLocks noChangeAspect="1"/>
            </p:cNvSpPr>
            <p:nvPr/>
          </p:nvSpPr>
          <p:spPr>
            <a:xfrm>
              <a:off x="6455174" y="3902597"/>
              <a:ext cx="42372" cy="42371"/>
            </a:xfrm>
            <a:prstGeom prst="ellipse">
              <a:avLst/>
            </a:prstGeom>
            <a:grpFill/>
            <a:ln w="19050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14" name="Oval 4313"/>
            <p:cNvSpPr>
              <a:spLocks noChangeAspect="1"/>
            </p:cNvSpPr>
            <p:nvPr/>
          </p:nvSpPr>
          <p:spPr>
            <a:xfrm>
              <a:off x="6383404" y="3789071"/>
              <a:ext cx="42372" cy="42371"/>
            </a:xfrm>
            <a:prstGeom prst="ellipse">
              <a:avLst/>
            </a:prstGeom>
            <a:grpFill/>
            <a:ln w="19050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15" name="Oval 4314"/>
            <p:cNvSpPr>
              <a:spLocks noChangeAspect="1"/>
            </p:cNvSpPr>
            <p:nvPr/>
          </p:nvSpPr>
          <p:spPr>
            <a:xfrm>
              <a:off x="6569667" y="3786124"/>
              <a:ext cx="42372" cy="42371"/>
            </a:xfrm>
            <a:prstGeom prst="ellipse">
              <a:avLst/>
            </a:prstGeom>
            <a:grpFill/>
            <a:ln w="19050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16" name="Oval 4315"/>
            <p:cNvSpPr>
              <a:spLocks noChangeAspect="1"/>
            </p:cNvSpPr>
            <p:nvPr/>
          </p:nvSpPr>
          <p:spPr>
            <a:xfrm>
              <a:off x="6470493" y="3757416"/>
              <a:ext cx="42372" cy="42371"/>
            </a:xfrm>
            <a:prstGeom prst="ellipse">
              <a:avLst/>
            </a:prstGeom>
            <a:grpFill/>
            <a:ln w="19050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58" name="Oval 4357"/>
            <p:cNvSpPr>
              <a:spLocks noChangeAspect="1"/>
            </p:cNvSpPr>
            <p:nvPr/>
          </p:nvSpPr>
          <p:spPr>
            <a:xfrm>
              <a:off x="7168269" y="3847233"/>
              <a:ext cx="42372" cy="42371"/>
            </a:xfrm>
            <a:prstGeom prst="ellipse">
              <a:avLst/>
            </a:prstGeom>
            <a:grpFill/>
            <a:ln w="19050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59" name="Oval 4358"/>
            <p:cNvSpPr>
              <a:spLocks noChangeAspect="1"/>
            </p:cNvSpPr>
            <p:nvPr/>
          </p:nvSpPr>
          <p:spPr>
            <a:xfrm>
              <a:off x="7096499" y="3733706"/>
              <a:ext cx="42372" cy="42371"/>
            </a:xfrm>
            <a:prstGeom prst="ellipse">
              <a:avLst/>
            </a:prstGeom>
            <a:grpFill/>
            <a:ln w="19050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60" name="Oval 4359"/>
            <p:cNvSpPr>
              <a:spLocks noChangeAspect="1"/>
            </p:cNvSpPr>
            <p:nvPr/>
          </p:nvSpPr>
          <p:spPr>
            <a:xfrm>
              <a:off x="7282762" y="3730759"/>
              <a:ext cx="42372" cy="42371"/>
            </a:xfrm>
            <a:prstGeom prst="ellipse">
              <a:avLst/>
            </a:prstGeom>
            <a:grpFill/>
            <a:ln w="19050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61" name="Oval 4360"/>
            <p:cNvSpPr>
              <a:spLocks noChangeAspect="1"/>
            </p:cNvSpPr>
            <p:nvPr/>
          </p:nvSpPr>
          <p:spPr>
            <a:xfrm>
              <a:off x="7183588" y="3702051"/>
              <a:ext cx="42372" cy="42371"/>
            </a:xfrm>
            <a:prstGeom prst="ellipse">
              <a:avLst/>
            </a:prstGeom>
            <a:grpFill/>
            <a:ln w="19050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</p:grpSp>
      <p:cxnSp>
        <p:nvCxnSpPr>
          <p:cNvPr id="1948" name="Straight Connector 1947"/>
          <p:cNvCxnSpPr/>
          <p:nvPr/>
        </p:nvCxnSpPr>
        <p:spPr>
          <a:xfrm>
            <a:off x="7966505" y="2271880"/>
            <a:ext cx="636130" cy="1856018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50" name="Straight Connector 1949"/>
          <p:cNvCxnSpPr/>
          <p:nvPr/>
        </p:nvCxnSpPr>
        <p:spPr>
          <a:xfrm flipH="1">
            <a:off x="7102830" y="2288085"/>
            <a:ext cx="863675" cy="1248387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44" name="Straight Connector 1943"/>
          <p:cNvCxnSpPr/>
          <p:nvPr/>
        </p:nvCxnSpPr>
        <p:spPr>
          <a:xfrm>
            <a:off x="8268134" y="1611999"/>
            <a:ext cx="292129" cy="1365289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46" name="Straight Connector 1945"/>
          <p:cNvCxnSpPr/>
          <p:nvPr/>
        </p:nvCxnSpPr>
        <p:spPr>
          <a:xfrm flipH="1">
            <a:off x="7290476" y="1570678"/>
            <a:ext cx="793627" cy="943441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47" name="Oval 3146"/>
          <p:cNvSpPr/>
          <p:nvPr/>
        </p:nvSpPr>
        <p:spPr>
          <a:xfrm>
            <a:off x="5273975" y="1927156"/>
            <a:ext cx="109997" cy="111125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3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86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29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72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14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58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999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43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50" dirty="0" smtClean="0">
              <a:solidFill>
                <a:srgbClr val="FFFFFF"/>
              </a:solidFill>
            </a:endParaRPr>
          </a:p>
        </p:txBody>
      </p:sp>
      <p:sp>
        <p:nvSpPr>
          <p:cNvPr id="3148" name="Oval 3147"/>
          <p:cNvSpPr/>
          <p:nvPr/>
        </p:nvSpPr>
        <p:spPr>
          <a:xfrm>
            <a:off x="5277992" y="1931624"/>
            <a:ext cx="101921" cy="102966"/>
          </a:xfrm>
          <a:prstGeom prst="ellipse">
            <a:avLst/>
          </a:prstGeom>
          <a:solidFill>
            <a:srgbClr val="57B84D"/>
          </a:soli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07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3DA649"/>
              </a:solidFill>
            </a:endParaRPr>
          </a:p>
        </p:txBody>
      </p:sp>
      <p:sp>
        <p:nvSpPr>
          <p:cNvPr id="3126" name="Freeform 6"/>
          <p:cNvSpPr>
            <a:spLocks noEditPoints="1"/>
          </p:cNvSpPr>
          <p:nvPr/>
        </p:nvSpPr>
        <p:spPr bwMode="auto">
          <a:xfrm>
            <a:off x="5314785" y="1959402"/>
            <a:ext cx="27657" cy="45021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27" name="Oval 7"/>
          <p:cNvSpPr>
            <a:spLocks noChangeArrowheads="1"/>
          </p:cNvSpPr>
          <p:nvPr/>
        </p:nvSpPr>
        <p:spPr bwMode="auto">
          <a:xfrm>
            <a:off x="5337451" y="1988429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28" name="Oval 8"/>
          <p:cNvSpPr>
            <a:spLocks noChangeArrowheads="1"/>
          </p:cNvSpPr>
          <p:nvPr/>
        </p:nvSpPr>
        <p:spPr bwMode="auto">
          <a:xfrm>
            <a:off x="5331487" y="1988429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29" name="Oval 9"/>
          <p:cNvSpPr>
            <a:spLocks noChangeArrowheads="1"/>
          </p:cNvSpPr>
          <p:nvPr/>
        </p:nvSpPr>
        <p:spPr bwMode="auto">
          <a:xfrm>
            <a:off x="5318147" y="1988429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30" name="Oval 10"/>
          <p:cNvSpPr>
            <a:spLocks noChangeArrowheads="1"/>
          </p:cNvSpPr>
          <p:nvPr/>
        </p:nvSpPr>
        <p:spPr bwMode="auto">
          <a:xfrm>
            <a:off x="5334524" y="1988429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31" name="Oval 11"/>
          <p:cNvSpPr>
            <a:spLocks noChangeArrowheads="1"/>
          </p:cNvSpPr>
          <p:nvPr/>
        </p:nvSpPr>
        <p:spPr bwMode="auto">
          <a:xfrm>
            <a:off x="5331487" y="1963345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32" name="Oval 12"/>
          <p:cNvSpPr>
            <a:spLocks noChangeArrowheads="1"/>
          </p:cNvSpPr>
          <p:nvPr/>
        </p:nvSpPr>
        <p:spPr bwMode="auto">
          <a:xfrm>
            <a:off x="5334524" y="1963345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33" name="Oval 13"/>
          <p:cNvSpPr>
            <a:spLocks noChangeArrowheads="1"/>
          </p:cNvSpPr>
          <p:nvPr/>
        </p:nvSpPr>
        <p:spPr bwMode="auto">
          <a:xfrm>
            <a:off x="5318147" y="196980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34" name="Oval 14"/>
          <p:cNvSpPr>
            <a:spLocks noChangeArrowheads="1"/>
          </p:cNvSpPr>
          <p:nvPr/>
        </p:nvSpPr>
        <p:spPr bwMode="auto">
          <a:xfrm>
            <a:off x="5337451" y="197605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35" name="Oval 15"/>
          <p:cNvSpPr>
            <a:spLocks noChangeArrowheads="1"/>
          </p:cNvSpPr>
          <p:nvPr/>
        </p:nvSpPr>
        <p:spPr bwMode="auto">
          <a:xfrm>
            <a:off x="5334524" y="196980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36" name="Oval 16"/>
          <p:cNvSpPr>
            <a:spLocks noChangeArrowheads="1"/>
          </p:cNvSpPr>
          <p:nvPr/>
        </p:nvSpPr>
        <p:spPr bwMode="auto">
          <a:xfrm>
            <a:off x="5318147" y="1963345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37" name="Oval 17"/>
          <p:cNvSpPr>
            <a:spLocks noChangeArrowheads="1"/>
          </p:cNvSpPr>
          <p:nvPr/>
        </p:nvSpPr>
        <p:spPr bwMode="auto">
          <a:xfrm>
            <a:off x="5331487" y="196980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38" name="Oval 18"/>
          <p:cNvSpPr>
            <a:spLocks noChangeArrowheads="1"/>
          </p:cNvSpPr>
          <p:nvPr/>
        </p:nvSpPr>
        <p:spPr bwMode="auto">
          <a:xfrm>
            <a:off x="5337451" y="196980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39" name="Oval 19"/>
          <p:cNvSpPr>
            <a:spLocks noChangeArrowheads="1"/>
          </p:cNvSpPr>
          <p:nvPr/>
        </p:nvSpPr>
        <p:spPr bwMode="auto">
          <a:xfrm>
            <a:off x="5334524" y="197605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40" name="Oval 20"/>
          <p:cNvSpPr>
            <a:spLocks noChangeArrowheads="1"/>
          </p:cNvSpPr>
          <p:nvPr/>
        </p:nvSpPr>
        <p:spPr bwMode="auto">
          <a:xfrm>
            <a:off x="5337451" y="1963345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41" name="Oval 21"/>
          <p:cNvSpPr>
            <a:spLocks noChangeArrowheads="1"/>
          </p:cNvSpPr>
          <p:nvPr/>
        </p:nvSpPr>
        <p:spPr bwMode="auto">
          <a:xfrm>
            <a:off x="5331487" y="1982186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42" name="Oval 22"/>
          <p:cNvSpPr>
            <a:spLocks noChangeArrowheads="1"/>
          </p:cNvSpPr>
          <p:nvPr/>
        </p:nvSpPr>
        <p:spPr bwMode="auto">
          <a:xfrm>
            <a:off x="5318147" y="1982186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43" name="Oval 23"/>
          <p:cNvSpPr>
            <a:spLocks noChangeArrowheads="1"/>
          </p:cNvSpPr>
          <p:nvPr/>
        </p:nvSpPr>
        <p:spPr bwMode="auto">
          <a:xfrm>
            <a:off x="5337451" y="1982186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44" name="Oval 24"/>
          <p:cNvSpPr>
            <a:spLocks noChangeArrowheads="1"/>
          </p:cNvSpPr>
          <p:nvPr/>
        </p:nvSpPr>
        <p:spPr bwMode="auto">
          <a:xfrm>
            <a:off x="5334524" y="1982186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45" name="Oval 25"/>
          <p:cNvSpPr>
            <a:spLocks noChangeArrowheads="1"/>
          </p:cNvSpPr>
          <p:nvPr/>
        </p:nvSpPr>
        <p:spPr bwMode="auto">
          <a:xfrm>
            <a:off x="5331487" y="197605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46" name="Oval 26"/>
          <p:cNvSpPr>
            <a:spLocks noChangeArrowheads="1"/>
          </p:cNvSpPr>
          <p:nvPr/>
        </p:nvSpPr>
        <p:spPr bwMode="auto">
          <a:xfrm>
            <a:off x="5318147" y="197605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05" name="Freeform 6"/>
          <p:cNvSpPr>
            <a:spLocks noEditPoints="1"/>
          </p:cNvSpPr>
          <p:nvPr/>
        </p:nvSpPr>
        <p:spPr bwMode="auto">
          <a:xfrm>
            <a:off x="5342266" y="1963627"/>
            <a:ext cx="22989" cy="37422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06" name="Oval 7"/>
          <p:cNvSpPr>
            <a:spLocks noChangeArrowheads="1"/>
          </p:cNvSpPr>
          <p:nvPr/>
        </p:nvSpPr>
        <p:spPr bwMode="auto">
          <a:xfrm>
            <a:off x="5359398" y="198775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07" name="Oval 8"/>
          <p:cNvSpPr>
            <a:spLocks noChangeArrowheads="1"/>
          </p:cNvSpPr>
          <p:nvPr/>
        </p:nvSpPr>
        <p:spPr bwMode="auto">
          <a:xfrm>
            <a:off x="5354441" y="198775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08" name="Oval 9"/>
          <p:cNvSpPr>
            <a:spLocks noChangeArrowheads="1"/>
          </p:cNvSpPr>
          <p:nvPr/>
        </p:nvSpPr>
        <p:spPr bwMode="auto">
          <a:xfrm>
            <a:off x="5343353" y="198775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09" name="Oval 10"/>
          <p:cNvSpPr>
            <a:spLocks noChangeArrowheads="1"/>
          </p:cNvSpPr>
          <p:nvPr/>
        </p:nvSpPr>
        <p:spPr bwMode="auto">
          <a:xfrm>
            <a:off x="5356966" y="198775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10" name="Oval 11"/>
          <p:cNvSpPr>
            <a:spLocks noChangeArrowheads="1"/>
          </p:cNvSpPr>
          <p:nvPr/>
        </p:nvSpPr>
        <p:spPr bwMode="auto">
          <a:xfrm>
            <a:off x="5354441" y="196690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11" name="Oval 12"/>
          <p:cNvSpPr>
            <a:spLocks noChangeArrowheads="1"/>
          </p:cNvSpPr>
          <p:nvPr/>
        </p:nvSpPr>
        <p:spPr bwMode="auto">
          <a:xfrm>
            <a:off x="5356966" y="196690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12" name="Oval 13"/>
          <p:cNvSpPr>
            <a:spLocks noChangeArrowheads="1"/>
          </p:cNvSpPr>
          <p:nvPr/>
        </p:nvSpPr>
        <p:spPr bwMode="auto">
          <a:xfrm>
            <a:off x="5343353" y="1972277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13" name="Oval 14"/>
          <p:cNvSpPr>
            <a:spLocks noChangeArrowheads="1"/>
          </p:cNvSpPr>
          <p:nvPr/>
        </p:nvSpPr>
        <p:spPr bwMode="auto">
          <a:xfrm>
            <a:off x="5359398" y="1977467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14" name="Oval 15"/>
          <p:cNvSpPr>
            <a:spLocks noChangeArrowheads="1"/>
          </p:cNvSpPr>
          <p:nvPr/>
        </p:nvSpPr>
        <p:spPr bwMode="auto">
          <a:xfrm>
            <a:off x="5356966" y="1972277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15" name="Oval 16"/>
          <p:cNvSpPr>
            <a:spLocks noChangeArrowheads="1"/>
          </p:cNvSpPr>
          <p:nvPr/>
        </p:nvSpPr>
        <p:spPr bwMode="auto">
          <a:xfrm>
            <a:off x="5343353" y="196690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16" name="Oval 17"/>
          <p:cNvSpPr>
            <a:spLocks noChangeArrowheads="1"/>
          </p:cNvSpPr>
          <p:nvPr/>
        </p:nvSpPr>
        <p:spPr bwMode="auto">
          <a:xfrm>
            <a:off x="5354441" y="1972277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17" name="Oval 18"/>
          <p:cNvSpPr>
            <a:spLocks noChangeArrowheads="1"/>
          </p:cNvSpPr>
          <p:nvPr/>
        </p:nvSpPr>
        <p:spPr bwMode="auto">
          <a:xfrm>
            <a:off x="5359398" y="1972277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18" name="Oval 19"/>
          <p:cNvSpPr>
            <a:spLocks noChangeArrowheads="1"/>
          </p:cNvSpPr>
          <p:nvPr/>
        </p:nvSpPr>
        <p:spPr bwMode="auto">
          <a:xfrm>
            <a:off x="5356966" y="1977467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19" name="Oval 20"/>
          <p:cNvSpPr>
            <a:spLocks noChangeArrowheads="1"/>
          </p:cNvSpPr>
          <p:nvPr/>
        </p:nvSpPr>
        <p:spPr bwMode="auto">
          <a:xfrm>
            <a:off x="5359398" y="196690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20" name="Oval 21"/>
          <p:cNvSpPr>
            <a:spLocks noChangeArrowheads="1"/>
          </p:cNvSpPr>
          <p:nvPr/>
        </p:nvSpPr>
        <p:spPr bwMode="auto">
          <a:xfrm>
            <a:off x="5354441" y="198256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21" name="Oval 22"/>
          <p:cNvSpPr>
            <a:spLocks noChangeArrowheads="1"/>
          </p:cNvSpPr>
          <p:nvPr/>
        </p:nvSpPr>
        <p:spPr bwMode="auto">
          <a:xfrm>
            <a:off x="5343353" y="198256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22" name="Oval 23"/>
          <p:cNvSpPr>
            <a:spLocks noChangeArrowheads="1"/>
          </p:cNvSpPr>
          <p:nvPr/>
        </p:nvSpPr>
        <p:spPr bwMode="auto">
          <a:xfrm>
            <a:off x="5359398" y="198256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23" name="Oval 24"/>
          <p:cNvSpPr>
            <a:spLocks noChangeArrowheads="1"/>
          </p:cNvSpPr>
          <p:nvPr/>
        </p:nvSpPr>
        <p:spPr bwMode="auto">
          <a:xfrm>
            <a:off x="5356966" y="198256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24" name="Oval 25"/>
          <p:cNvSpPr>
            <a:spLocks noChangeArrowheads="1"/>
          </p:cNvSpPr>
          <p:nvPr/>
        </p:nvSpPr>
        <p:spPr bwMode="auto">
          <a:xfrm>
            <a:off x="5354441" y="1977467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25" name="Oval 26"/>
          <p:cNvSpPr>
            <a:spLocks noChangeArrowheads="1"/>
          </p:cNvSpPr>
          <p:nvPr/>
        </p:nvSpPr>
        <p:spPr bwMode="auto">
          <a:xfrm>
            <a:off x="5343353" y="1977467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84" name="Freeform 6"/>
          <p:cNvSpPr>
            <a:spLocks noEditPoints="1"/>
          </p:cNvSpPr>
          <p:nvPr/>
        </p:nvSpPr>
        <p:spPr bwMode="auto">
          <a:xfrm>
            <a:off x="5292256" y="1963627"/>
            <a:ext cx="22988" cy="37422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85" name="Oval 7"/>
          <p:cNvSpPr>
            <a:spLocks noChangeArrowheads="1"/>
          </p:cNvSpPr>
          <p:nvPr/>
        </p:nvSpPr>
        <p:spPr bwMode="auto">
          <a:xfrm>
            <a:off x="5311095" y="198775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86" name="Oval 8"/>
          <p:cNvSpPr>
            <a:spLocks noChangeArrowheads="1"/>
          </p:cNvSpPr>
          <p:nvPr/>
        </p:nvSpPr>
        <p:spPr bwMode="auto">
          <a:xfrm>
            <a:off x="5306139" y="198775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87" name="Oval 9"/>
          <p:cNvSpPr>
            <a:spLocks noChangeArrowheads="1"/>
          </p:cNvSpPr>
          <p:nvPr/>
        </p:nvSpPr>
        <p:spPr bwMode="auto">
          <a:xfrm>
            <a:off x="5295051" y="198775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88" name="Oval 10"/>
          <p:cNvSpPr>
            <a:spLocks noChangeArrowheads="1"/>
          </p:cNvSpPr>
          <p:nvPr/>
        </p:nvSpPr>
        <p:spPr bwMode="auto">
          <a:xfrm>
            <a:off x="5308663" y="198775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89" name="Oval 11"/>
          <p:cNvSpPr>
            <a:spLocks noChangeArrowheads="1"/>
          </p:cNvSpPr>
          <p:nvPr/>
        </p:nvSpPr>
        <p:spPr bwMode="auto">
          <a:xfrm>
            <a:off x="5306139" y="196690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90" name="Oval 12"/>
          <p:cNvSpPr>
            <a:spLocks noChangeArrowheads="1"/>
          </p:cNvSpPr>
          <p:nvPr/>
        </p:nvSpPr>
        <p:spPr bwMode="auto">
          <a:xfrm>
            <a:off x="5308663" y="196690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91" name="Oval 13"/>
          <p:cNvSpPr>
            <a:spLocks noChangeArrowheads="1"/>
          </p:cNvSpPr>
          <p:nvPr/>
        </p:nvSpPr>
        <p:spPr bwMode="auto">
          <a:xfrm>
            <a:off x="5295051" y="1972277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92" name="Oval 14"/>
          <p:cNvSpPr>
            <a:spLocks noChangeArrowheads="1"/>
          </p:cNvSpPr>
          <p:nvPr/>
        </p:nvSpPr>
        <p:spPr bwMode="auto">
          <a:xfrm>
            <a:off x="5311095" y="1977467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93" name="Oval 15"/>
          <p:cNvSpPr>
            <a:spLocks noChangeArrowheads="1"/>
          </p:cNvSpPr>
          <p:nvPr/>
        </p:nvSpPr>
        <p:spPr bwMode="auto">
          <a:xfrm>
            <a:off x="5308663" y="1972277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94" name="Oval 16"/>
          <p:cNvSpPr>
            <a:spLocks noChangeArrowheads="1"/>
          </p:cNvSpPr>
          <p:nvPr/>
        </p:nvSpPr>
        <p:spPr bwMode="auto">
          <a:xfrm>
            <a:off x="5295051" y="196690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95" name="Oval 17"/>
          <p:cNvSpPr>
            <a:spLocks noChangeArrowheads="1"/>
          </p:cNvSpPr>
          <p:nvPr/>
        </p:nvSpPr>
        <p:spPr bwMode="auto">
          <a:xfrm>
            <a:off x="5306139" y="1972277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96" name="Oval 18"/>
          <p:cNvSpPr>
            <a:spLocks noChangeArrowheads="1"/>
          </p:cNvSpPr>
          <p:nvPr/>
        </p:nvSpPr>
        <p:spPr bwMode="auto">
          <a:xfrm>
            <a:off x="5311095" y="1972277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97" name="Oval 19"/>
          <p:cNvSpPr>
            <a:spLocks noChangeArrowheads="1"/>
          </p:cNvSpPr>
          <p:nvPr/>
        </p:nvSpPr>
        <p:spPr bwMode="auto">
          <a:xfrm>
            <a:off x="5308663" y="1977467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98" name="Oval 20"/>
          <p:cNvSpPr>
            <a:spLocks noChangeArrowheads="1"/>
          </p:cNvSpPr>
          <p:nvPr/>
        </p:nvSpPr>
        <p:spPr bwMode="auto">
          <a:xfrm>
            <a:off x="5311095" y="196690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099" name="Oval 21"/>
          <p:cNvSpPr>
            <a:spLocks noChangeArrowheads="1"/>
          </p:cNvSpPr>
          <p:nvPr/>
        </p:nvSpPr>
        <p:spPr bwMode="auto">
          <a:xfrm>
            <a:off x="5306139" y="198256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00" name="Oval 22"/>
          <p:cNvSpPr>
            <a:spLocks noChangeArrowheads="1"/>
          </p:cNvSpPr>
          <p:nvPr/>
        </p:nvSpPr>
        <p:spPr bwMode="auto">
          <a:xfrm>
            <a:off x="5295051" y="198256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01" name="Oval 23"/>
          <p:cNvSpPr>
            <a:spLocks noChangeArrowheads="1"/>
          </p:cNvSpPr>
          <p:nvPr/>
        </p:nvSpPr>
        <p:spPr bwMode="auto">
          <a:xfrm>
            <a:off x="5311095" y="198256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02" name="Oval 24"/>
          <p:cNvSpPr>
            <a:spLocks noChangeArrowheads="1"/>
          </p:cNvSpPr>
          <p:nvPr/>
        </p:nvSpPr>
        <p:spPr bwMode="auto">
          <a:xfrm>
            <a:off x="5308663" y="198256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03" name="Oval 25"/>
          <p:cNvSpPr>
            <a:spLocks noChangeArrowheads="1"/>
          </p:cNvSpPr>
          <p:nvPr/>
        </p:nvSpPr>
        <p:spPr bwMode="auto">
          <a:xfrm>
            <a:off x="5306139" y="1977467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104" name="Oval 26"/>
          <p:cNvSpPr>
            <a:spLocks noChangeArrowheads="1"/>
          </p:cNvSpPr>
          <p:nvPr/>
        </p:nvSpPr>
        <p:spPr bwMode="auto">
          <a:xfrm>
            <a:off x="5295051" y="1977467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87" name="Oval 3286"/>
          <p:cNvSpPr/>
          <p:nvPr/>
        </p:nvSpPr>
        <p:spPr>
          <a:xfrm>
            <a:off x="6292909" y="2460138"/>
            <a:ext cx="109997" cy="111125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3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86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29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72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14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58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999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43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50" dirty="0" smtClean="0">
              <a:solidFill>
                <a:srgbClr val="FFFFFF"/>
              </a:solidFill>
            </a:endParaRPr>
          </a:p>
        </p:txBody>
      </p:sp>
      <p:sp>
        <p:nvSpPr>
          <p:cNvPr id="3288" name="Oval 3287"/>
          <p:cNvSpPr/>
          <p:nvPr/>
        </p:nvSpPr>
        <p:spPr>
          <a:xfrm>
            <a:off x="6296926" y="2464607"/>
            <a:ext cx="101921" cy="102966"/>
          </a:xfrm>
          <a:prstGeom prst="ellipse">
            <a:avLst/>
          </a:prstGeom>
          <a:solidFill>
            <a:srgbClr val="57B84D"/>
          </a:soli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07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3DA649"/>
              </a:solidFill>
            </a:endParaRPr>
          </a:p>
        </p:txBody>
      </p:sp>
      <p:sp>
        <p:nvSpPr>
          <p:cNvPr id="3266" name="Freeform 6"/>
          <p:cNvSpPr>
            <a:spLocks noEditPoints="1"/>
          </p:cNvSpPr>
          <p:nvPr/>
        </p:nvSpPr>
        <p:spPr bwMode="auto">
          <a:xfrm>
            <a:off x="6333719" y="2492384"/>
            <a:ext cx="27657" cy="45021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67" name="Oval 7"/>
          <p:cNvSpPr>
            <a:spLocks noChangeArrowheads="1"/>
          </p:cNvSpPr>
          <p:nvPr/>
        </p:nvSpPr>
        <p:spPr bwMode="auto">
          <a:xfrm>
            <a:off x="6356385" y="252141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68" name="Oval 8"/>
          <p:cNvSpPr>
            <a:spLocks noChangeArrowheads="1"/>
          </p:cNvSpPr>
          <p:nvPr/>
        </p:nvSpPr>
        <p:spPr bwMode="auto">
          <a:xfrm>
            <a:off x="6350421" y="252141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69" name="Oval 9"/>
          <p:cNvSpPr>
            <a:spLocks noChangeArrowheads="1"/>
          </p:cNvSpPr>
          <p:nvPr/>
        </p:nvSpPr>
        <p:spPr bwMode="auto">
          <a:xfrm>
            <a:off x="6337081" y="252141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70" name="Oval 10"/>
          <p:cNvSpPr>
            <a:spLocks noChangeArrowheads="1"/>
          </p:cNvSpPr>
          <p:nvPr/>
        </p:nvSpPr>
        <p:spPr bwMode="auto">
          <a:xfrm>
            <a:off x="6353458" y="252141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71" name="Oval 11"/>
          <p:cNvSpPr>
            <a:spLocks noChangeArrowheads="1"/>
          </p:cNvSpPr>
          <p:nvPr/>
        </p:nvSpPr>
        <p:spPr bwMode="auto">
          <a:xfrm>
            <a:off x="6350421" y="2496327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72" name="Oval 12"/>
          <p:cNvSpPr>
            <a:spLocks noChangeArrowheads="1"/>
          </p:cNvSpPr>
          <p:nvPr/>
        </p:nvSpPr>
        <p:spPr bwMode="auto">
          <a:xfrm>
            <a:off x="6353458" y="2496327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73" name="Oval 13"/>
          <p:cNvSpPr>
            <a:spLocks noChangeArrowheads="1"/>
          </p:cNvSpPr>
          <p:nvPr/>
        </p:nvSpPr>
        <p:spPr bwMode="auto">
          <a:xfrm>
            <a:off x="6337081" y="2502790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74" name="Oval 14"/>
          <p:cNvSpPr>
            <a:spLocks noChangeArrowheads="1"/>
          </p:cNvSpPr>
          <p:nvPr/>
        </p:nvSpPr>
        <p:spPr bwMode="auto">
          <a:xfrm>
            <a:off x="6356385" y="2509034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75" name="Oval 15"/>
          <p:cNvSpPr>
            <a:spLocks noChangeArrowheads="1"/>
          </p:cNvSpPr>
          <p:nvPr/>
        </p:nvSpPr>
        <p:spPr bwMode="auto">
          <a:xfrm>
            <a:off x="6353458" y="2502790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76" name="Oval 16"/>
          <p:cNvSpPr>
            <a:spLocks noChangeArrowheads="1"/>
          </p:cNvSpPr>
          <p:nvPr/>
        </p:nvSpPr>
        <p:spPr bwMode="auto">
          <a:xfrm>
            <a:off x="6337081" y="2496327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77" name="Oval 17"/>
          <p:cNvSpPr>
            <a:spLocks noChangeArrowheads="1"/>
          </p:cNvSpPr>
          <p:nvPr/>
        </p:nvSpPr>
        <p:spPr bwMode="auto">
          <a:xfrm>
            <a:off x="6350421" y="2502790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78" name="Oval 18"/>
          <p:cNvSpPr>
            <a:spLocks noChangeArrowheads="1"/>
          </p:cNvSpPr>
          <p:nvPr/>
        </p:nvSpPr>
        <p:spPr bwMode="auto">
          <a:xfrm>
            <a:off x="6356385" y="2502790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79" name="Oval 19"/>
          <p:cNvSpPr>
            <a:spLocks noChangeArrowheads="1"/>
          </p:cNvSpPr>
          <p:nvPr/>
        </p:nvSpPr>
        <p:spPr bwMode="auto">
          <a:xfrm>
            <a:off x="6353458" y="2509034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80" name="Oval 20"/>
          <p:cNvSpPr>
            <a:spLocks noChangeArrowheads="1"/>
          </p:cNvSpPr>
          <p:nvPr/>
        </p:nvSpPr>
        <p:spPr bwMode="auto">
          <a:xfrm>
            <a:off x="6356385" y="2496327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81" name="Oval 21"/>
          <p:cNvSpPr>
            <a:spLocks noChangeArrowheads="1"/>
          </p:cNvSpPr>
          <p:nvPr/>
        </p:nvSpPr>
        <p:spPr bwMode="auto">
          <a:xfrm>
            <a:off x="6350421" y="251516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82" name="Oval 22"/>
          <p:cNvSpPr>
            <a:spLocks noChangeArrowheads="1"/>
          </p:cNvSpPr>
          <p:nvPr/>
        </p:nvSpPr>
        <p:spPr bwMode="auto">
          <a:xfrm>
            <a:off x="6337081" y="251516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83" name="Oval 23"/>
          <p:cNvSpPr>
            <a:spLocks noChangeArrowheads="1"/>
          </p:cNvSpPr>
          <p:nvPr/>
        </p:nvSpPr>
        <p:spPr bwMode="auto">
          <a:xfrm>
            <a:off x="6356385" y="251516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84" name="Oval 24"/>
          <p:cNvSpPr>
            <a:spLocks noChangeArrowheads="1"/>
          </p:cNvSpPr>
          <p:nvPr/>
        </p:nvSpPr>
        <p:spPr bwMode="auto">
          <a:xfrm>
            <a:off x="6353458" y="251516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85" name="Oval 25"/>
          <p:cNvSpPr>
            <a:spLocks noChangeArrowheads="1"/>
          </p:cNvSpPr>
          <p:nvPr/>
        </p:nvSpPr>
        <p:spPr bwMode="auto">
          <a:xfrm>
            <a:off x="6350421" y="2509034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86" name="Oval 26"/>
          <p:cNvSpPr>
            <a:spLocks noChangeArrowheads="1"/>
          </p:cNvSpPr>
          <p:nvPr/>
        </p:nvSpPr>
        <p:spPr bwMode="auto">
          <a:xfrm>
            <a:off x="6337081" y="2509034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45" name="Freeform 6"/>
          <p:cNvSpPr>
            <a:spLocks noEditPoints="1"/>
          </p:cNvSpPr>
          <p:nvPr/>
        </p:nvSpPr>
        <p:spPr bwMode="auto">
          <a:xfrm>
            <a:off x="6361200" y="2496609"/>
            <a:ext cx="22989" cy="37422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46" name="Oval 7"/>
          <p:cNvSpPr>
            <a:spLocks noChangeArrowheads="1"/>
          </p:cNvSpPr>
          <p:nvPr/>
        </p:nvSpPr>
        <p:spPr bwMode="auto">
          <a:xfrm>
            <a:off x="6378331" y="252073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47" name="Oval 8"/>
          <p:cNvSpPr>
            <a:spLocks noChangeArrowheads="1"/>
          </p:cNvSpPr>
          <p:nvPr/>
        </p:nvSpPr>
        <p:spPr bwMode="auto">
          <a:xfrm>
            <a:off x="6373374" y="252073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48" name="Oval 9"/>
          <p:cNvSpPr>
            <a:spLocks noChangeArrowheads="1"/>
          </p:cNvSpPr>
          <p:nvPr/>
        </p:nvSpPr>
        <p:spPr bwMode="auto">
          <a:xfrm>
            <a:off x="6362286" y="252073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49" name="Oval 10"/>
          <p:cNvSpPr>
            <a:spLocks noChangeArrowheads="1"/>
          </p:cNvSpPr>
          <p:nvPr/>
        </p:nvSpPr>
        <p:spPr bwMode="auto">
          <a:xfrm>
            <a:off x="6375899" y="252073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50" name="Oval 11"/>
          <p:cNvSpPr>
            <a:spLocks noChangeArrowheads="1"/>
          </p:cNvSpPr>
          <p:nvPr/>
        </p:nvSpPr>
        <p:spPr bwMode="auto">
          <a:xfrm>
            <a:off x="6373374" y="249988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51" name="Oval 12"/>
          <p:cNvSpPr>
            <a:spLocks noChangeArrowheads="1"/>
          </p:cNvSpPr>
          <p:nvPr/>
        </p:nvSpPr>
        <p:spPr bwMode="auto">
          <a:xfrm>
            <a:off x="6375899" y="249988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52" name="Oval 13"/>
          <p:cNvSpPr>
            <a:spLocks noChangeArrowheads="1"/>
          </p:cNvSpPr>
          <p:nvPr/>
        </p:nvSpPr>
        <p:spPr bwMode="auto">
          <a:xfrm>
            <a:off x="6362286" y="250526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53" name="Oval 14"/>
          <p:cNvSpPr>
            <a:spLocks noChangeArrowheads="1"/>
          </p:cNvSpPr>
          <p:nvPr/>
        </p:nvSpPr>
        <p:spPr bwMode="auto">
          <a:xfrm>
            <a:off x="6378331" y="2510449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54" name="Oval 15"/>
          <p:cNvSpPr>
            <a:spLocks noChangeArrowheads="1"/>
          </p:cNvSpPr>
          <p:nvPr/>
        </p:nvSpPr>
        <p:spPr bwMode="auto">
          <a:xfrm>
            <a:off x="6375899" y="250526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55" name="Oval 16"/>
          <p:cNvSpPr>
            <a:spLocks noChangeArrowheads="1"/>
          </p:cNvSpPr>
          <p:nvPr/>
        </p:nvSpPr>
        <p:spPr bwMode="auto">
          <a:xfrm>
            <a:off x="6362286" y="249988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56" name="Oval 17"/>
          <p:cNvSpPr>
            <a:spLocks noChangeArrowheads="1"/>
          </p:cNvSpPr>
          <p:nvPr/>
        </p:nvSpPr>
        <p:spPr bwMode="auto">
          <a:xfrm>
            <a:off x="6373374" y="250526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57" name="Oval 18"/>
          <p:cNvSpPr>
            <a:spLocks noChangeArrowheads="1"/>
          </p:cNvSpPr>
          <p:nvPr/>
        </p:nvSpPr>
        <p:spPr bwMode="auto">
          <a:xfrm>
            <a:off x="6378331" y="250526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58" name="Oval 19"/>
          <p:cNvSpPr>
            <a:spLocks noChangeArrowheads="1"/>
          </p:cNvSpPr>
          <p:nvPr/>
        </p:nvSpPr>
        <p:spPr bwMode="auto">
          <a:xfrm>
            <a:off x="6375899" y="2510449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59" name="Oval 20"/>
          <p:cNvSpPr>
            <a:spLocks noChangeArrowheads="1"/>
          </p:cNvSpPr>
          <p:nvPr/>
        </p:nvSpPr>
        <p:spPr bwMode="auto">
          <a:xfrm>
            <a:off x="6378331" y="249988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60" name="Oval 21"/>
          <p:cNvSpPr>
            <a:spLocks noChangeArrowheads="1"/>
          </p:cNvSpPr>
          <p:nvPr/>
        </p:nvSpPr>
        <p:spPr bwMode="auto">
          <a:xfrm>
            <a:off x="6373374" y="251554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61" name="Oval 22"/>
          <p:cNvSpPr>
            <a:spLocks noChangeArrowheads="1"/>
          </p:cNvSpPr>
          <p:nvPr/>
        </p:nvSpPr>
        <p:spPr bwMode="auto">
          <a:xfrm>
            <a:off x="6362286" y="251554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62" name="Oval 23"/>
          <p:cNvSpPr>
            <a:spLocks noChangeArrowheads="1"/>
          </p:cNvSpPr>
          <p:nvPr/>
        </p:nvSpPr>
        <p:spPr bwMode="auto">
          <a:xfrm>
            <a:off x="6378331" y="251554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63" name="Oval 24"/>
          <p:cNvSpPr>
            <a:spLocks noChangeArrowheads="1"/>
          </p:cNvSpPr>
          <p:nvPr/>
        </p:nvSpPr>
        <p:spPr bwMode="auto">
          <a:xfrm>
            <a:off x="6375899" y="251554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64" name="Oval 25"/>
          <p:cNvSpPr>
            <a:spLocks noChangeArrowheads="1"/>
          </p:cNvSpPr>
          <p:nvPr/>
        </p:nvSpPr>
        <p:spPr bwMode="auto">
          <a:xfrm>
            <a:off x="6373374" y="2510449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65" name="Oval 26"/>
          <p:cNvSpPr>
            <a:spLocks noChangeArrowheads="1"/>
          </p:cNvSpPr>
          <p:nvPr/>
        </p:nvSpPr>
        <p:spPr bwMode="auto">
          <a:xfrm>
            <a:off x="6362286" y="2510449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24" name="Freeform 6"/>
          <p:cNvSpPr>
            <a:spLocks noEditPoints="1"/>
          </p:cNvSpPr>
          <p:nvPr/>
        </p:nvSpPr>
        <p:spPr bwMode="auto">
          <a:xfrm>
            <a:off x="6311190" y="2496609"/>
            <a:ext cx="22988" cy="37422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25" name="Oval 7"/>
          <p:cNvSpPr>
            <a:spLocks noChangeArrowheads="1"/>
          </p:cNvSpPr>
          <p:nvPr/>
        </p:nvSpPr>
        <p:spPr bwMode="auto">
          <a:xfrm>
            <a:off x="6330029" y="252073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26" name="Oval 8"/>
          <p:cNvSpPr>
            <a:spLocks noChangeArrowheads="1"/>
          </p:cNvSpPr>
          <p:nvPr/>
        </p:nvSpPr>
        <p:spPr bwMode="auto">
          <a:xfrm>
            <a:off x="6325072" y="252073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27" name="Oval 9"/>
          <p:cNvSpPr>
            <a:spLocks noChangeArrowheads="1"/>
          </p:cNvSpPr>
          <p:nvPr/>
        </p:nvSpPr>
        <p:spPr bwMode="auto">
          <a:xfrm>
            <a:off x="6313984" y="252073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28" name="Oval 10"/>
          <p:cNvSpPr>
            <a:spLocks noChangeArrowheads="1"/>
          </p:cNvSpPr>
          <p:nvPr/>
        </p:nvSpPr>
        <p:spPr bwMode="auto">
          <a:xfrm>
            <a:off x="6327596" y="252073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29" name="Oval 11"/>
          <p:cNvSpPr>
            <a:spLocks noChangeArrowheads="1"/>
          </p:cNvSpPr>
          <p:nvPr/>
        </p:nvSpPr>
        <p:spPr bwMode="auto">
          <a:xfrm>
            <a:off x="6325072" y="249988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30" name="Oval 12"/>
          <p:cNvSpPr>
            <a:spLocks noChangeArrowheads="1"/>
          </p:cNvSpPr>
          <p:nvPr/>
        </p:nvSpPr>
        <p:spPr bwMode="auto">
          <a:xfrm>
            <a:off x="6327596" y="249988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31" name="Oval 13"/>
          <p:cNvSpPr>
            <a:spLocks noChangeArrowheads="1"/>
          </p:cNvSpPr>
          <p:nvPr/>
        </p:nvSpPr>
        <p:spPr bwMode="auto">
          <a:xfrm>
            <a:off x="6313984" y="250526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32" name="Oval 14"/>
          <p:cNvSpPr>
            <a:spLocks noChangeArrowheads="1"/>
          </p:cNvSpPr>
          <p:nvPr/>
        </p:nvSpPr>
        <p:spPr bwMode="auto">
          <a:xfrm>
            <a:off x="6330029" y="2510449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33" name="Oval 15"/>
          <p:cNvSpPr>
            <a:spLocks noChangeArrowheads="1"/>
          </p:cNvSpPr>
          <p:nvPr/>
        </p:nvSpPr>
        <p:spPr bwMode="auto">
          <a:xfrm>
            <a:off x="6327596" y="250526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34" name="Oval 16"/>
          <p:cNvSpPr>
            <a:spLocks noChangeArrowheads="1"/>
          </p:cNvSpPr>
          <p:nvPr/>
        </p:nvSpPr>
        <p:spPr bwMode="auto">
          <a:xfrm>
            <a:off x="6313984" y="249988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35" name="Oval 17"/>
          <p:cNvSpPr>
            <a:spLocks noChangeArrowheads="1"/>
          </p:cNvSpPr>
          <p:nvPr/>
        </p:nvSpPr>
        <p:spPr bwMode="auto">
          <a:xfrm>
            <a:off x="6325072" y="250526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36" name="Oval 18"/>
          <p:cNvSpPr>
            <a:spLocks noChangeArrowheads="1"/>
          </p:cNvSpPr>
          <p:nvPr/>
        </p:nvSpPr>
        <p:spPr bwMode="auto">
          <a:xfrm>
            <a:off x="6330029" y="250526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37" name="Oval 19"/>
          <p:cNvSpPr>
            <a:spLocks noChangeArrowheads="1"/>
          </p:cNvSpPr>
          <p:nvPr/>
        </p:nvSpPr>
        <p:spPr bwMode="auto">
          <a:xfrm>
            <a:off x="6327596" y="2510449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38" name="Oval 20"/>
          <p:cNvSpPr>
            <a:spLocks noChangeArrowheads="1"/>
          </p:cNvSpPr>
          <p:nvPr/>
        </p:nvSpPr>
        <p:spPr bwMode="auto">
          <a:xfrm>
            <a:off x="6330029" y="249988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39" name="Oval 21"/>
          <p:cNvSpPr>
            <a:spLocks noChangeArrowheads="1"/>
          </p:cNvSpPr>
          <p:nvPr/>
        </p:nvSpPr>
        <p:spPr bwMode="auto">
          <a:xfrm>
            <a:off x="6325072" y="251554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40" name="Oval 22"/>
          <p:cNvSpPr>
            <a:spLocks noChangeArrowheads="1"/>
          </p:cNvSpPr>
          <p:nvPr/>
        </p:nvSpPr>
        <p:spPr bwMode="auto">
          <a:xfrm>
            <a:off x="6313984" y="251554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41" name="Oval 23"/>
          <p:cNvSpPr>
            <a:spLocks noChangeArrowheads="1"/>
          </p:cNvSpPr>
          <p:nvPr/>
        </p:nvSpPr>
        <p:spPr bwMode="auto">
          <a:xfrm>
            <a:off x="6330029" y="251554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42" name="Oval 24"/>
          <p:cNvSpPr>
            <a:spLocks noChangeArrowheads="1"/>
          </p:cNvSpPr>
          <p:nvPr/>
        </p:nvSpPr>
        <p:spPr bwMode="auto">
          <a:xfrm>
            <a:off x="6327596" y="251554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43" name="Oval 25"/>
          <p:cNvSpPr>
            <a:spLocks noChangeArrowheads="1"/>
          </p:cNvSpPr>
          <p:nvPr/>
        </p:nvSpPr>
        <p:spPr bwMode="auto">
          <a:xfrm>
            <a:off x="6325072" y="2510449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44" name="Oval 26"/>
          <p:cNvSpPr>
            <a:spLocks noChangeArrowheads="1"/>
          </p:cNvSpPr>
          <p:nvPr/>
        </p:nvSpPr>
        <p:spPr bwMode="auto">
          <a:xfrm>
            <a:off x="6313984" y="2510449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57" name="Oval 3356"/>
          <p:cNvSpPr/>
          <p:nvPr/>
        </p:nvSpPr>
        <p:spPr>
          <a:xfrm>
            <a:off x="5677498" y="2386088"/>
            <a:ext cx="109997" cy="111125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3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86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29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72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14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58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999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43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50" dirty="0" smtClean="0">
              <a:solidFill>
                <a:srgbClr val="FFFFFF"/>
              </a:solidFill>
            </a:endParaRPr>
          </a:p>
        </p:txBody>
      </p:sp>
      <p:sp>
        <p:nvSpPr>
          <p:cNvPr id="3358" name="Oval 3357"/>
          <p:cNvSpPr/>
          <p:nvPr/>
        </p:nvSpPr>
        <p:spPr>
          <a:xfrm>
            <a:off x="5681515" y="2390557"/>
            <a:ext cx="101921" cy="102966"/>
          </a:xfrm>
          <a:prstGeom prst="ellipse">
            <a:avLst/>
          </a:prstGeom>
          <a:solidFill>
            <a:srgbClr val="57B84D"/>
          </a:soli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07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3DA649"/>
              </a:solidFill>
            </a:endParaRPr>
          </a:p>
        </p:txBody>
      </p:sp>
      <p:sp>
        <p:nvSpPr>
          <p:cNvPr id="3336" name="Freeform 6"/>
          <p:cNvSpPr>
            <a:spLocks noEditPoints="1"/>
          </p:cNvSpPr>
          <p:nvPr/>
        </p:nvSpPr>
        <p:spPr bwMode="auto">
          <a:xfrm>
            <a:off x="5718309" y="2418334"/>
            <a:ext cx="27657" cy="45021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37" name="Oval 7"/>
          <p:cNvSpPr>
            <a:spLocks noChangeArrowheads="1"/>
          </p:cNvSpPr>
          <p:nvPr/>
        </p:nvSpPr>
        <p:spPr bwMode="auto">
          <a:xfrm>
            <a:off x="5740974" y="244736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38" name="Oval 8"/>
          <p:cNvSpPr>
            <a:spLocks noChangeArrowheads="1"/>
          </p:cNvSpPr>
          <p:nvPr/>
        </p:nvSpPr>
        <p:spPr bwMode="auto">
          <a:xfrm>
            <a:off x="5735010" y="244736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39" name="Oval 9"/>
          <p:cNvSpPr>
            <a:spLocks noChangeArrowheads="1"/>
          </p:cNvSpPr>
          <p:nvPr/>
        </p:nvSpPr>
        <p:spPr bwMode="auto">
          <a:xfrm>
            <a:off x="5721670" y="244736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40" name="Oval 10"/>
          <p:cNvSpPr>
            <a:spLocks noChangeArrowheads="1"/>
          </p:cNvSpPr>
          <p:nvPr/>
        </p:nvSpPr>
        <p:spPr bwMode="auto">
          <a:xfrm>
            <a:off x="5738048" y="244736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41" name="Oval 11"/>
          <p:cNvSpPr>
            <a:spLocks noChangeArrowheads="1"/>
          </p:cNvSpPr>
          <p:nvPr/>
        </p:nvSpPr>
        <p:spPr bwMode="auto">
          <a:xfrm>
            <a:off x="5735010" y="2422277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42" name="Oval 12"/>
          <p:cNvSpPr>
            <a:spLocks noChangeArrowheads="1"/>
          </p:cNvSpPr>
          <p:nvPr/>
        </p:nvSpPr>
        <p:spPr bwMode="auto">
          <a:xfrm>
            <a:off x="5738048" y="2422277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43" name="Oval 13"/>
          <p:cNvSpPr>
            <a:spLocks noChangeArrowheads="1"/>
          </p:cNvSpPr>
          <p:nvPr/>
        </p:nvSpPr>
        <p:spPr bwMode="auto">
          <a:xfrm>
            <a:off x="5721670" y="2428740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44" name="Oval 14"/>
          <p:cNvSpPr>
            <a:spLocks noChangeArrowheads="1"/>
          </p:cNvSpPr>
          <p:nvPr/>
        </p:nvSpPr>
        <p:spPr bwMode="auto">
          <a:xfrm>
            <a:off x="5740974" y="2434984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45" name="Oval 15"/>
          <p:cNvSpPr>
            <a:spLocks noChangeArrowheads="1"/>
          </p:cNvSpPr>
          <p:nvPr/>
        </p:nvSpPr>
        <p:spPr bwMode="auto">
          <a:xfrm>
            <a:off x="5738048" y="2428740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46" name="Oval 16"/>
          <p:cNvSpPr>
            <a:spLocks noChangeArrowheads="1"/>
          </p:cNvSpPr>
          <p:nvPr/>
        </p:nvSpPr>
        <p:spPr bwMode="auto">
          <a:xfrm>
            <a:off x="5721670" y="2422277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47" name="Oval 17"/>
          <p:cNvSpPr>
            <a:spLocks noChangeArrowheads="1"/>
          </p:cNvSpPr>
          <p:nvPr/>
        </p:nvSpPr>
        <p:spPr bwMode="auto">
          <a:xfrm>
            <a:off x="5735010" y="2428740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48" name="Oval 18"/>
          <p:cNvSpPr>
            <a:spLocks noChangeArrowheads="1"/>
          </p:cNvSpPr>
          <p:nvPr/>
        </p:nvSpPr>
        <p:spPr bwMode="auto">
          <a:xfrm>
            <a:off x="5740974" y="2428740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49" name="Oval 19"/>
          <p:cNvSpPr>
            <a:spLocks noChangeArrowheads="1"/>
          </p:cNvSpPr>
          <p:nvPr/>
        </p:nvSpPr>
        <p:spPr bwMode="auto">
          <a:xfrm>
            <a:off x="5738048" y="2434984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50" name="Oval 20"/>
          <p:cNvSpPr>
            <a:spLocks noChangeArrowheads="1"/>
          </p:cNvSpPr>
          <p:nvPr/>
        </p:nvSpPr>
        <p:spPr bwMode="auto">
          <a:xfrm>
            <a:off x="5740974" y="2422277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51" name="Oval 21"/>
          <p:cNvSpPr>
            <a:spLocks noChangeArrowheads="1"/>
          </p:cNvSpPr>
          <p:nvPr/>
        </p:nvSpPr>
        <p:spPr bwMode="auto">
          <a:xfrm>
            <a:off x="5735010" y="244111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52" name="Oval 22"/>
          <p:cNvSpPr>
            <a:spLocks noChangeArrowheads="1"/>
          </p:cNvSpPr>
          <p:nvPr/>
        </p:nvSpPr>
        <p:spPr bwMode="auto">
          <a:xfrm>
            <a:off x="5721670" y="244111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53" name="Oval 23"/>
          <p:cNvSpPr>
            <a:spLocks noChangeArrowheads="1"/>
          </p:cNvSpPr>
          <p:nvPr/>
        </p:nvSpPr>
        <p:spPr bwMode="auto">
          <a:xfrm>
            <a:off x="5740974" y="244111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54" name="Oval 24"/>
          <p:cNvSpPr>
            <a:spLocks noChangeArrowheads="1"/>
          </p:cNvSpPr>
          <p:nvPr/>
        </p:nvSpPr>
        <p:spPr bwMode="auto">
          <a:xfrm>
            <a:off x="5738048" y="244111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55" name="Oval 25"/>
          <p:cNvSpPr>
            <a:spLocks noChangeArrowheads="1"/>
          </p:cNvSpPr>
          <p:nvPr/>
        </p:nvSpPr>
        <p:spPr bwMode="auto">
          <a:xfrm>
            <a:off x="5735010" y="2434984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56" name="Oval 26"/>
          <p:cNvSpPr>
            <a:spLocks noChangeArrowheads="1"/>
          </p:cNvSpPr>
          <p:nvPr/>
        </p:nvSpPr>
        <p:spPr bwMode="auto">
          <a:xfrm>
            <a:off x="5721670" y="2434984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15" name="Freeform 6"/>
          <p:cNvSpPr>
            <a:spLocks noEditPoints="1"/>
          </p:cNvSpPr>
          <p:nvPr/>
        </p:nvSpPr>
        <p:spPr bwMode="auto">
          <a:xfrm>
            <a:off x="5745790" y="2422559"/>
            <a:ext cx="22989" cy="37422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16" name="Oval 7"/>
          <p:cNvSpPr>
            <a:spLocks noChangeArrowheads="1"/>
          </p:cNvSpPr>
          <p:nvPr/>
        </p:nvSpPr>
        <p:spPr bwMode="auto">
          <a:xfrm>
            <a:off x="5762921" y="244668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17" name="Oval 8"/>
          <p:cNvSpPr>
            <a:spLocks noChangeArrowheads="1"/>
          </p:cNvSpPr>
          <p:nvPr/>
        </p:nvSpPr>
        <p:spPr bwMode="auto">
          <a:xfrm>
            <a:off x="5757964" y="244668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18" name="Oval 9"/>
          <p:cNvSpPr>
            <a:spLocks noChangeArrowheads="1"/>
          </p:cNvSpPr>
          <p:nvPr/>
        </p:nvSpPr>
        <p:spPr bwMode="auto">
          <a:xfrm>
            <a:off x="5746876" y="244668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19" name="Oval 10"/>
          <p:cNvSpPr>
            <a:spLocks noChangeArrowheads="1"/>
          </p:cNvSpPr>
          <p:nvPr/>
        </p:nvSpPr>
        <p:spPr bwMode="auto">
          <a:xfrm>
            <a:off x="5760489" y="244668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20" name="Oval 11"/>
          <p:cNvSpPr>
            <a:spLocks noChangeArrowheads="1"/>
          </p:cNvSpPr>
          <p:nvPr/>
        </p:nvSpPr>
        <p:spPr bwMode="auto">
          <a:xfrm>
            <a:off x="5757964" y="242583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21" name="Oval 12"/>
          <p:cNvSpPr>
            <a:spLocks noChangeArrowheads="1"/>
          </p:cNvSpPr>
          <p:nvPr/>
        </p:nvSpPr>
        <p:spPr bwMode="auto">
          <a:xfrm>
            <a:off x="5760489" y="242583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22" name="Oval 13"/>
          <p:cNvSpPr>
            <a:spLocks noChangeArrowheads="1"/>
          </p:cNvSpPr>
          <p:nvPr/>
        </p:nvSpPr>
        <p:spPr bwMode="auto">
          <a:xfrm>
            <a:off x="5746876" y="243121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23" name="Oval 14"/>
          <p:cNvSpPr>
            <a:spLocks noChangeArrowheads="1"/>
          </p:cNvSpPr>
          <p:nvPr/>
        </p:nvSpPr>
        <p:spPr bwMode="auto">
          <a:xfrm>
            <a:off x="5762921" y="2436399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24" name="Oval 15"/>
          <p:cNvSpPr>
            <a:spLocks noChangeArrowheads="1"/>
          </p:cNvSpPr>
          <p:nvPr/>
        </p:nvSpPr>
        <p:spPr bwMode="auto">
          <a:xfrm>
            <a:off x="5760489" y="243121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25" name="Oval 16"/>
          <p:cNvSpPr>
            <a:spLocks noChangeArrowheads="1"/>
          </p:cNvSpPr>
          <p:nvPr/>
        </p:nvSpPr>
        <p:spPr bwMode="auto">
          <a:xfrm>
            <a:off x="5746876" y="242583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26" name="Oval 17"/>
          <p:cNvSpPr>
            <a:spLocks noChangeArrowheads="1"/>
          </p:cNvSpPr>
          <p:nvPr/>
        </p:nvSpPr>
        <p:spPr bwMode="auto">
          <a:xfrm>
            <a:off x="5757964" y="243121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27" name="Oval 18"/>
          <p:cNvSpPr>
            <a:spLocks noChangeArrowheads="1"/>
          </p:cNvSpPr>
          <p:nvPr/>
        </p:nvSpPr>
        <p:spPr bwMode="auto">
          <a:xfrm>
            <a:off x="5762921" y="243121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28" name="Oval 19"/>
          <p:cNvSpPr>
            <a:spLocks noChangeArrowheads="1"/>
          </p:cNvSpPr>
          <p:nvPr/>
        </p:nvSpPr>
        <p:spPr bwMode="auto">
          <a:xfrm>
            <a:off x="5760489" y="2436399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29" name="Oval 20"/>
          <p:cNvSpPr>
            <a:spLocks noChangeArrowheads="1"/>
          </p:cNvSpPr>
          <p:nvPr/>
        </p:nvSpPr>
        <p:spPr bwMode="auto">
          <a:xfrm>
            <a:off x="5762921" y="242583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30" name="Oval 21"/>
          <p:cNvSpPr>
            <a:spLocks noChangeArrowheads="1"/>
          </p:cNvSpPr>
          <p:nvPr/>
        </p:nvSpPr>
        <p:spPr bwMode="auto">
          <a:xfrm>
            <a:off x="5757964" y="244149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31" name="Oval 22"/>
          <p:cNvSpPr>
            <a:spLocks noChangeArrowheads="1"/>
          </p:cNvSpPr>
          <p:nvPr/>
        </p:nvSpPr>
        <p:spPr bwMode="auto">
          <a:xfrm>
            <a:off x="5746876" y="244149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32" name="Oval 23"/>
          <p:cNvSpPr>
            <a:spLocks noChangeArrowheads="1"/>
          </p:cNvSpPr>
          <p:nvPr/>
        </p:nvSpPr>
        <p:spPr bwMode="auto">
          <a:xfrm>
            <a:off x="5762921" y="244149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33" name="Oval 24"/>
          <p:cNvSpPr>
            <a:spLocks noChangeArrowheads="1"/>
          </p:cNvSpPr>
          <p:nvPr/>
        </p:nvSpPr>
        <p:spPr bwMode="auto">
          <a:xfrm>
            <a:off x="5760489" y="244149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34" name="Oval 25"/>
          <p:cNvSpPr>
            <a:spLocks noChangeArrowheads="1"/>
          </p:cNvSpPr>
          <p:nvPr/>
        </p:nvSpPr>
        <p:spPr bwMode="auto">
          <a:xfrm>
            <a:off x="5757964" y="2436399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35" name="Oval 26"/>
          <p:cNvSpPr>
            <a:spLocks noChangeArrowheads="1"/>
          </p:cNvSpPr>
          <p:nvPr/>
        </p:nvSpPr>
        <p:spPr bwMode="auto">
          <a:xfrm>
            <a:off x="5746876" y="2436399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94" name="Freeform 6"/>
          <p:cNvSpPr>
            <a:spLocks noEditPoints="1"/>
          </p:cNvSpPr>
          <p:nvPr/>
        </p:nvSpPr>
        <p:spPr bwMode="auto">
          <a:xfrm>
            <a:off x="5695779" y="2422559"/>
            <a:ext cx="22988" cy="37422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95" name="Oval 7"/>
          <p:cNvSpPr>
            <a:spLocks noChangeArrowheads="1"/>
          </p:cNvSpPr>
          <p:nvPr/>
        </p:nvSpPr>
        <p:spPr bwMode="auto">
          <a:xfrm>
            <a:off x="5714619" y="244668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96" name="Oval 8"/>
          <p:cNvSpPr>
            <a:spLocks noChangeArrowheads="1"/>
          </p:cNvSpPr>
          <p:nvPr/>
        </p:nvSpPr>
        <p:spPr bwMode="auto">
          <a:xfrm>
            <a:off x="5709662" y="244668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97" name="Oval 9"/>
          <p:cNvSpPr>
            <a:spLocks noChangeArrowheads="1"/>
          </p:cNvSpPr>
          <p:nvPr/>
        </p:nvSpPr>
        <p:spPr bwMode="auto">
          <a:xfrm>
            <a:off x="5698574" y="244668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98" name="Oval 10"/>
          <p:cNvSpPr>
            <a:spLocks noChangeArrowheads="1"/>
          </p:cNvSpPr>
          <p:nvPr/>
        </p:nvSpPr>
        <p:spPr bwMode="auto">
          <a:xfrm>
            <a:off x="5712186" y="244668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299" name="Oval 11"/>
          <p:cNvSpPr>
            <a:spLocks noChangeArrowheads="1"/>
          </p:cNvSpPr>
          <p:nvPr/>
        </p:nvSpPr>
        <p:spPr bwMode="auto">
          <a:xfrm>
            <a:off x="5709662" y="242583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00" name="Oval 12"/>
          <p:cNvSpPr>
            <a:spLocks noChangeArrowheads="1"/>
          </p:cNvSpPr>
          <p:nvPr/>
        </p:nvSpPr>
        <p:spPr bwMode="auto">
          <a:xfrm>
            <a:off x="5712186" y="242583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01" name="Oval 13"/>
          <p:cNvSpPr>
            <a:spLocks noChangeArrowheads="1"/>
          </p:cNvSpPr>
          <p:nvPr/>
        </p:nvSpPr>
        <p:spPr bwMode="auto">
          <a:xfrm>
            <a:off x="5698574" y="243121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02" name="Oval 14"/>
          <p:cNvSpPr>
            <a:spLocks noChangeArrowheads="1"/>
          </p:cNvSpPr>
          <p:nvPr/>
        </p:nvSpPr>
        <p:spPr bwMode="auto">
          <a:xfrm>
            <a:off x="5714619" y="2436399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03" name="Oval 15"/>
          <p:cNvSpPr>
            <a:spLocks noChangeArrowheads="1"/>
          </p:cNvSpPr>
          <p:nvPr/>
        </p:nvSpPr>
        <p:spPr bwMode="auto">
          <a:xfrm>
            <a:off x="5712186" y="243121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04" name="Oval 16"/>
          <p:cNvSpPr>
            <a:spLocks noChangeArrowheads="1"/>
          </p:cNvSpPr>
          <p:nvPr/>
        </p:nvSpPr>
        <p:spPr bwMode="auto">
          <a:xfrm>
            <a:off x="5698574" y="242583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05" name="Oval 17"/>
          <p:cNvSpPr>
            <a:spLocks noChangeArrowheads="1"/>
          </p:cNvSpPr>
          <p:nvPr/>
        </p:nvSpPr>
        <p:spPr bwMode="auto">
          <a:xfrm>
            <a:off x="5709662" y="243121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06" name="Oval 18"/>
          <p:cNvSpPr>
            <a:spLocks noChangeArrowheads="1"/>
          </p:cNvSpPr>
          <p:nvPr/>
        </p:nvSpPr>
        <p:spPr bwMode="auto">
          <a:xfrm>
            <a:off x="5714619" y="243121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07" name="Oval 19"/>
          <p:cNvSpPr>
            <a:spLocks noChangeArrowheads="1"/>
          </p:cNvSpPr>
          <p:nvPr/>
        </p:nvSpPr>
        <p:spPr bwMode="auto">
          <a:xfrm>
            <a:off x="5712186" y="2436399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08" name="Oval 20"/>
          <p:cNvSpPr>
            <a:spLocks noChangeArrowheads="1"/>
          </p:cNvSpPr>
          <p:nvPr/>
        </p:nvSpPr>
        <p:spPr bwMode="auto">
          <a:xfrm>
            <a:off x="5714619" y="242583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09" name="Oval 21"/>
          <p:cNvSpPr>
            <a:spLocks noChangeArrowheads="1"/>
          </p:cNvSpPr>
          <p:nvPr/>
        </p:nvSpPr>
        <p:spPr bwMode="auto">
          <a:xfrm>
            <a:off x="5709662" y="244149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10" name="Oval 22"/>
          <p:cNvSpPr>
            <a:spLocks noChangeArrowheads="1"/>
          </p:cNvSpPr>
          <p:nvPr/>
        </p:nvSpPr>
        <p:spPr bwMode="auto">
          <a:xfrm>
            <a:off x="5698574" y="244149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11" name="Oval 23"/>
          <p:cNvSpPr>
            <a:spLocks noChangeArrowheads="1"/>
          </p:cNvSpPr>
          <p:nvPr/>
        </p:nvSpPr>
        <p:spPr bwMode="auto">
          <a:xfrm>
            <a:off x="5714619" y="244149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12" name="Oval 24"/>
          <p:cNvSpPr>
            <a:spLocks noChangeArrowheads="1"/>
          </p:cNvSpPr>
          <p:nvPr/>
        </p:nvSpPr>
        <p:spPr bwMode="auto">
          <a:xfrm>
            <a:off x="5712186" y="244149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13" name="Oval 25"/>
          <p:cNvSpPr>
            <a:spLocks noChangeArrowheads="1"/>
          </p:cNvSpPr>
          <p:nvPr/>
        </p:nvSpPr>
        <p:spPr bwMode="auto">
          <a:xfrm>
            <a:off x="5709662" y="2436399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14" name="Oval 26"/>
          <p:cNvSpPr>
            <a:spLocks noChangeArrowheads="1"/>
          </p:cNvSpPr>
          <p:nvPr/>
        </p:nvSpPr>
        <p:spPr bwMode="auto">
          <a:xfrm>
            <a:off x="5698574" y="2436399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33" name="Oval 3432"/>
          <p:cNvSpPr/>
          <p:nvPr/>
        </p:nvSpPr>
        <p:spPr>
          <a:xfrm>
            <a:off x="5609890" y="1957488"/>
            <a:ext cx="109997" cy="111125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3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86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29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72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14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58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999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43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50" dirty="0" smtClean="0">
              <a:solidFill>
                <a:srgbClr val="FFFFFF"/>
              </a:solidFill>
            </a:endParaRPr>
          </a:p>
        </p:txBody>
      </p:sp>
      <p:sp>
        <p:nvSpPr>
          <p:cNvPr id="3434" name="Oval 3433"/>
          <p:cNvSpPr/>
          <p:nvPr/>
        </p:nvSpPr>
        <p:spPr>
          <a:xfrm>
            <a:off x="5613907" y="1961957"/>
            <a:ext cx="101921" cy="102966"/>
          </a:xfrm>
          <a:prstGeom prst="ellipse">
            <a:avLst/>
          </a:prstGeom>
          <a:solidFill>
            <a:srgbClr val="57B84D"/>
          </a:soli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07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3DA649"/>
              </a:solidFill>
            </a:endParaRPr>
          </a:p>
        </p:txBody>
      </p:sp>
      <p:sp>
        <p:nvSpPr>
          <p:cNvPr id="3412" name="Freeform 6"/>
          <p:cNvSpPr>
            <a:spLocks noEditPoints="1"/>
          </p:cNvSpPr>
          <p:nvPr/>
        </p:nvSpPr>
        <p:spPr bwMode="auto">
          <a:xfrm>
            <a:off x="5650700" y="1989734"/>
            <a:ext cx="27657" cy="45021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13" name="Oval 7"/>
          <p:cNvSpPr>
            <a:spLocks noChangeArrowheads="1"/>
          </p:cNvSpPr>
          <p:nvPr/>
        </p:nvSpPr>
        <p:spPr bwMode="auto">
          <a:xfrm>
            <a:off x="5673366" y="201876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14" name="Oval 8"/>
          <p:cNvSpPr>
            <a:spLocks noChangeArrowheads="1"/>
          </p:cNvSpPr>
          <p:nvPr/>
        </p:nvSpPr>
        <p:spPr bwMode="auto">
          <a:xfrm>
            <a:off x="5667402" y="201876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15" name="Oval 9"/>
          <p:cNvSpPr>
            <a:spLocks noChangeArrowheads="1"/>
          </p:cNvSpPr>
          <p:nvPr/>
        </p:nvSpPr>
        <p:spPr bwMode="auto">
          <a:xfrm>
            <a:off x="5654062" y="201876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16" name="Oval 10"/>
          <p:cNvSpPr>
            <a:spLocks noChangeArrowheads="1"/>
          </p:cNvSpPr>
          <p:nvPr/>
        </p:nvSpPr>
        <p:spPr bwMode="auto">
          <a:xfrm>
            <a:off x="5670439" y="201876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17" name="Oval 11"/>
          <p:cNvSpPr>
            <a:spLocks noChangeArrowheads="1"/>
          </p:cNvSpPr>
          <p:nvPr/>
        </p:nvSpPr>
        <p:spPr bwMode="auto">
          <a:xfrm>
            <a:off x="5667402" y="1993677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18" name="Oval 12"/>
          <p:cNvSpPr>
            <a:spLocks noChangeArrowheads="1"/>
          </p:cNvSpPr>
          <p:nvPr/>
        </p:nvSpPr>
        <p:spPr bwMode="auto">
          <a:xfrm>
            <a:off x="5670439" y="1993677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19" name="Oval 13"/>
          <p:cNvSpPr>
            <a:spLocks noChangeArrowheads="1"/>
          </p:cNvSpPr>
          <p:nvPr/>
        </p:nvSpPr>
        <p:spPr bwMode="auto">
          <a:xfrm>
            <a:off x="5654062" y="2000140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20" name="Oval 14"/>
          <p:cNvSpPr>
            <a:spLocks noChangeArrowheads="1"/>
          </p:cNvSpPr>
          <p:nvPr/>
        </p:nvSpPr>
        <p:spPr bwMode="auto">
          <a:xfrm>
            <a:off x="5673366" y="2006384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21" name="Oval 15"/>
          <p:cNvSpPr>
            <a:spLocks noChangeArrowheads="1"/>
          </p:cNvSpPr>
          <p:nvPr/>
        </p:nvSpPr>
        <p:spPr bwMode="auto">
          <a:xfrm>
            <a:off x="5670439" y="2000140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22" name="Oval 16"/>
          <p:cNvSpPr>
            <a:spLocks noChangeArrowheads="1"/>
          </p:cNvSpPr>
          <p:nvPr/>
        </p:nvSpPr>
        <p:spPr bwMode="auto">
          <a:xfrm>
            <a:off x="5654062" y="1993677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23" name="Oval 17"/>
          <p:cNvSpPr>
            <a:spLocks noChangeArrowheads="1"/>
          </p:cNvSpPr>
          <p:nvPr/>
        </p:nvSpPr>
        <p:spPr bwMode="auto">
          <a:xfrm>
            <a:off x="5667402" y="2000140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24" name="Oval 18"/>
          <p:cNvSpPr>
            <a:spLocks noChangeArrowheads="1"/>
          </p:cNvSpPr>
          <p:nvPr/>
        </p:nvSpPr>
        <p:spPr bwMode="auto">
          <a:xfrm>
            <a:off x="5673366" y="2000140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25" name="Oval 19"/>
          <p:cNvSpPr>
            <a:spLocks noChangeArrowheads="1"/>
          </p:cNvSpPr>
          <p:nvPr/>
        </p:nvSpPr>
        <p:spPr bwMode="auto">
          <a:xfrm>
            <a:off x="5670439" y="2006384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26" name="Oval 20"/>
          <p:cNvSpPr>
            <a:spLocks noChangeArrowheads="1"/>
          </p:cNvSpPr>
          <p:nvPr/>
        </p:nvSpPr>
        <p:spPr bwMode="auto">
          <a:xfrm>
            <a:off x="5673366" y="1993677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27" name="Oval 21"/>
          <p:cNvSpPr>
            <a:spLocks noChangeArrowheads="1"/>
          </p:cNvSpPr>
          <p:nvPr/>
        </p:nvSpPr>
        <p:spPr bwMode="auto">
          <a:xfrm>
            <a:off x="5667402" y="201251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28" name="Oval 22"/>
          <p:cNvSpPr>
            <a:spLocks noChangeArrowheads="1"/>
          </p:cNvSpPr>
          <p:nvPr/>
        </p:nvSpPr>
        <p:spPr bwMode="auto">
          <a:xfrm>
            <a:off x="5654062" y="201251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29" name="Oval 23"/>
          <p:cNvSpPr>
            <a:spLocks noChangeArrowheads="1"/>
          </p:cNvSpPr>
          <p:nvPr/>
        </p:nvSpPr>
        <p:spPr bwMode="auto">
          <a:xfrm>
            <a:off x="5673366" y="201251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30" name="Oval 24"/>
          <p:cNvSpPr>
            <a:spLocks noChangeArrowheads="1"/>
          </p:cNvSpPr>
          <p:nvPr/>
        </p:nvSpPr>
        <p:spPr bwMode="auto">
          <a:xfrm>
            <a:off x="5670439" y="201251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31" name="Oval 25"/>
          <p:cNvSpPr>
            <a:spLocks noChangeArrowheads="1"/>
          </p:cNvSpPr>
          <p:nvPr/>
        </p:nvSpPr>
        <p:spPr bwMode="auto">
          <a:xfrm>
            <a:off x="5667402" y="2006384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32" name="Oval 26"/>
          <p:cNvSpPr>
            <a:spLocks noChangeArrowheads="1"/>
          </p:cNvSpPr>
          <p:nvPr/>
        </p:nvSpPr>
        <p:spPr bwMode="auto">
          <a:xfrm>
            <a:off x="5654062" y="2006384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91" name="Freeform 6"/>
          <p:cNvSpPr>
            <a:spLocks noEditPoints="1"/>
          </p:cNvSpPr>
          <p:nvPr/>
        </p:nvSpPr>
        <p:spPr bwMode="auto">
          <a:xfrm>
            <a:off x="5678181" y="1993959"/>
            <a:ext cx="22989" cy="37422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92" name="Oval 7"/>
          <p:cNvSpPr>
            <a:spLocks noChangeArrowheads="1"/>
          </p:cNvSpPr>
          <p:nvPr/>
        </p:nvSpPr>
        <p:spPr bwMode="auto">
          <a:xfrm>
            <a:off x="5695312" y="201808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93" name="Oval 8"/>
          <p:cNvSpPr>
            <a:spLocks noChangeArrowheads="1"/>
          </p:cNvSpPr>
          <p:nvPr/>
        </p:nvSpPr>
        <p:spPr bwMode="auto">
          <a:xfrm>
            <a:off x="5690355" y="201808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94" name="Oval 9"/>
          <p:cNvSpPr>
            <a:spLocks noChangeArrowheads="1"/>
          </p:cNvSpPr>
          <p:nvPr/>
        </p:nvSpPr>
        <p:spPr bwMode="auto">
          <a:xfrm>
            <a:off x="5679267" y="201808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95" name="Oval 10"/>
          <p:cNvSpPr>
            <a:spLocks noChangeArrowheads="1"/>
          </p:cNvSpPr>
          <p:nvPr/>
        </p:nvSpPr>
        <p:spPr bwMode="auto">
          <a:xfrm>
            <a:off x="5692880" y="201808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96" name="Oval 11"/>
          <p:cNvSpPr>
            <a:spLocks noChangeArrowheads="1"/>
          </p:cNvSpPr>
          <p:nvPr/>
        </p:nvSpPr>
        <p:spPr bwMode="auto">
          <a:xfrm>
            <a:off x="5690355" y="199723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97" name="Oval 12"/>
          <p:cNvSpPr>
            <a:spLocks noChangeArrowheads="1"/>
          </p:cNvSpPr>
          <p:nvPr/>
        </p:nvSpPr>
        <p:spPr bwMode="auto">
          <a:xfrm>
            <a:off x="5692880" y="199723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98" name="Oval 13"/>
          <p:cNvSpPr>
            <a:spLocks noChangeArrowheads="1"/>
          </p:cNvSpPr>
          <p:nvPr/>
        </p:nvSpPr>
        <p:spPr bwMode="auto">
          <a:xfrm>
            <a:off x="5679267" y="200261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99" name="Oval 14"/>
          <p:cNvSpPr>
            <a:spLocks noChangeArrowheads="1"/>
          </p:cNvSpPr>
          <p:nvPr/>
        </p:nvSpPr>
        <p:spPr bwMode="auto">
          <a:xfrm>
            <a:off x="5695312" y="2007799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00" name="Oval 15"/>
          <p:cNvSpPr>
            <a:spLocks noChangeArrowheads="1"/>
          </p:cNvSpPr>
          <p:nvPr/>
        </p:nvSpPr>
        <p:spPr bwMode="auto">
          <a:xfrm>
            <a:off x="5692880" y="200261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01" name="Oval 16"/>
          <p:cNvSpPr>
            <a:spLocks noChangeArrowheads="1"/>
          </p:cNvSpPr>
          <p:nvPr/>
        </p:nvSpPr>
        <p:spPr bwMode="auto">
          <a:xfrm>
            <a:off x="5679267" y="199723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02" name="Oval 17"/>
          <p:cNvSpPr>
            <a:spLocks noChangeArrowheads="1"/>
          </p:cNvSpPr>
          <p:nvPr/>
        </p:nvSpPr>
        <p:spPr bwMode="auto">
          <a:xfrm>
            <a:off x="5690355" y="200261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03" name="Oval 18"/>
          <p:cNvSpPr>
            <a:spLocks noChangeArrowheads="1"/>
          </p:cNvSpPr>
          <p:nvPr/>
        </p:nvSpPr>
        <p:spPr bwMode="auto">
          <a:xfrm>
            <a:off x="5695312" y="200261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04" name="Oval 19"/>
          <p:cNvSpPr>
            <a:spLocks noChangeArrowheads="1"/>
          </p:cNvSpPr>
          <p:nvPr/>
        </p:nvSpPr>
        <p:spPr bwMode="auto">
          <a:xfrm>
            <a:off x="5692880" y="2007799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05" name="Oval 20"/>
          <p:cNvSpPr>
            <a:spLocks noChangeArrowheads="1"/>
          </p:cNvSpPr>
          <p:nvPr/>
        </p:nvSpPr>
        <p:spPr bwMode="auto">
          <a:xfrm>
            <a:off x="5695312" y="199723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06" name="Oval 21"/>
          <p:cNvSpPr>
            <a:spLocks noChangeArrowheads="1"/>
          </p:cNvSpPr>
          <p:nvPr/>
        </p:nvSpPr>
        <p:spPr bwMode="auto">
          <a:xfrm>
            <a:off x="5690355" y="201289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07" name="Oval 22"/>
          <p:cNvSpPr>
            <a:spLocks noChangeArrowheads="1"/>
          </p:cNvSpPr>
          <p:nvPr/>
        </p:nvSpPr>
        <p:spPr bwMode="auto">
          <a:xfrm>
            <a:off x="5679267" y="201289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08" name="Oval 23"/>
          <p:cNvSpPr>
            <a:spLocks noChangeArrowheads="1"/>
          </p:cNvSpPr>
          <p:nvPr/>
        </p:nvSpPr>
        <p:spPr bwMode="auto">
          <a:xfrm>
            <a:off x="5695312" y="201289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09" name="Oval 24"/>
          <p:cNvSpPr>
            <a:spLocks noChangeArrowheads="1"/>
          </p:cNvSpPr>
          <p:nvPr/>
        </p:nvSpPr>
        <p:spPr bwMode="auto">
          <a:xfrm>
            <a:off x="5692880" y="201289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10" name="Oval 25"/>
          <p:cNvSpPr>
            <a:spLocks noChangeArrowheads="1"/>
          </p:cNvSpPr>
          <p:nvPr/>
        </p:nvSpPr>
        <p:spPr bwMode="auto">
          <a:xfrm>
            <a:off x="5690355" y="2007799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11" name="Oval 26"/>
          <p:cNvSpPr>
            <a:spLocks noChangeArrowheads="1"/>
          </p:cNvSpPr>
          <p:nvPr/>
        </p:nvSpPr>
        <p:spPr bwMode="auto">
          <a:xfrm>
            <a:off x="5679267" y="2007799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70" name="Freeform 6"/>
          <p:cNvSpPr>
            <a:spLocks noEditPoints="1"/>
          </p:cNvSpPr>
          <p:nvPr/>
        </p:nvSpPr>
        <p:spPr bwMode="auto">
          <a:xfrm>
            <a:off x="5628171" y="1993959"/>
            <a:ext cx="22988" cy="37422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71" name="Oval 7"/>
          <p:cNvSpPr>
            <a:spLocks noChangeArrowheads="1"/>
          </p:cNvSpPr>
          <p:nvPr/>
        </p:nvSpPr>
        <p:spPr bwMode="auto">
          <a:xfrm>
            <a:off x="5647010" y="201808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72" name="Oval 8"/>
          <p:cNvSpPr>
            <a:spLocks noChangeArrowheads="1"/>
          </p:cNvSpPr>
          <p:nvPr/>
        </p:nvSpPr>
        <p:spPr bwMode="auto">
          <a:xfrm>
            <a:off x="5642053" y="201808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73" name="Oval 9"/>
          <p:cNvSpPr>
            <a:spLocks noChangeArrowheads="1"/>
          </p:cNvSpPr>
          <p:nvPr/>
        </p:nvSpPr>
        <p:spPr bwMode="auto">
          <a:xfrm>
            <a:off x="5630965" y="201808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74" name="Oval 10"/>
          <p:cNvSpPr>
            <a:spLocks noChangeArrowheads="1"/>
          </p:cNvSpPr>
          <p:nvPr/>
        </p:nvSpPr>
        <p:spPr bwMode="auto">
          <a:xfrm>
            <a:off x="5644577" y="201808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75" name="Oval 11"/>
          <p:cNvSpPr>
            <a:spLocks noChangeArrowheads="1"/>
          </p:cNvSpPr>
          <p:nvPr/>
        </p:nvSpPr>
        <p:spPr bwMode="auto">
          <a:xfrm>
            <a:off x="5642053" y="199723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76" name="Oval 12"/>
          <p:cNvSpPr>
            <a:spLocks noChangeArrowheads="1"/>
          </p:cNvSpPr>
          <p:nvPr/>
        </p:nvSpPr>
        <p:spPr bwMode="auto">
          <a:xfrm>
            <a:off x="5644577" y="199723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77" name="Oval 13"/>
          <p:cNvSpPr>
            <a:spLocks noChangeArrowheads="1"/>
          </p:cNvSpPr>
          <p:nvPr/>
        </p:nvSpPr>
        <p:spPr bwMode="auto">
          <a:xfrm>
            <a:off x="5630965" y="200261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78" name="Oval 14"/>
          <p:cNvSpPr>
            <a:spLocks noChangeArrowheads="1"/>
          </p:cNvSpPr>
          <p:nvPr/>
        </p:nvSpPr>
        <p:spPr bwMode="auto">
          <a:xfrm>
            <a:off x="5647010" y="2007799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79" name="Oval 15"/>
          <p:cNvSpPr>
            <a:spLocks noChangeArrowheads="1"/>
          </p:cNvSpPr>
          <p:nvPr/>
        </p:nvSpPr>
        <p:spPr bwMode="auto">
          <a:xfrm>
            <a:off x="5644577" y="200261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80" name="Oval 16"/>
          <p:cNvSpPr>
            <a:spLocks noChangeArrowheads="1"/>
          </p:cNvSpPr>
          <p:nvPr/>
        </p:nvSpPr>
        <p:spPr bwMode="auto">
          <a:xfrm>
            <a:off x="5630965" y="199723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81" name="Oval 17"/>
          <p:cNvSpPr>
            <a:spLocks noChangeArrowheads="1"/>
          </p:cNvSpPr>
          <p:nvPr/>
        </p:nvSpPr>
        <p:spPr bwMode="auto">
          <a:xfrm>
            <a:off x="5642053" y="200261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82" name="Oval 18"/>
          <p:cNvSpPr>
            <a:spLocks noChangeArrowheads="1"/>
          </p:cNvSpPr>
          <p:nvPr/>
        </p:nvSpPr>
        <p:spPr bwMode="auto">
          <a:xfrm>
            <a:off x="5647010" y="200261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83" name="Oval 19"/>
          <p:cNvSpPr>
            <a:spLocks noChangeArrowheads="1"/>
          </p:cNvSpPr>
          <p:nvPr/>
        </p:nvSpPr>
        <p:spPr bwMode="auto">
          <a:xfrm>
            <a:off x="5644577" y="2007799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84" name="Oval 20"/>
          <p:cNvSpPr>
            <a:spLocks noChangeArrowheads="1"/>
          </p:cNvSpPr>
          <p:nvPr/>
        </p:nvSpPr>
        <p:spPr bwMode="auto">
          <a:xfrm>
            <a:off x="5647010" y="199723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85" name="Oval 21"/>
          <p:cNvSpPr>
            <a:spLocks noChangeArrowheads="1"/>
          </p:cNvSpPr>
          <p:nvPr/>
        </p:nvSpPr>
        <p:spPr bwMode="auto">
          <a:xfrm>
            <a:off x="5642053" y="201289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86" name="Oval 22"/>
          <p:cNvSpPr>
            <a:spLocks noChangeArrowheads="1"/>
          </p:cNvSpPr>
          <p:nvPr/>
        </p:nvSpPr>
        <p:spPr bwMode="auto">
          <a:xfrm>
            <a:off x="5630965" y="201289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87" name="Oval 23"/>
          <p:cNvSpPr>
            <a:spLocks noChangeArrowheads="1"/>
          </p:cNvSpPr>
          <p:nvPr/>
        </p:nvSpPr>
        <p:spPr bwMode="auto">
          <a:xfrm>
            <a:off x="5647010" y="201289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88" name="Oval 24"/>
          <p:cNvSpPr>
            <a:spLocks noChangeArrowheads="1"/>
          </p:cNvSpPr>
          <p:nvPr/>
        </p:nvSpPr>
        <p:spPr bwMode="auto">
          <a:xfrm>
            <a:off x="5644577" y="201289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89" name="Oval 25"/>
          <p:cNvSpPr>
            <a:spLocks noChangeArrowheads="1"/>
          </p:cNvSpPr>
          <p:nvPr/>
        </p:nvSpPr>
        <p:spPr bwMode="auto">
          <a:xfrm>
            <a:off x="5642053" y="2007799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390" name="Oval 26"/>
          <p:cNvSpPr>
            <a:spLocks noChangeArrowheads="1"/>
          </p:cNvSpPr>
          <p:nvPr/>
        </p:nvSpPr>
        <p:spPr bwMode="auto">
          <a:xfrm>
            <a:off x="5630965" y="2007799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03" name="Oval 3502"/>
          <p:cNvSpPr/>
          <p:nvPr/>
        </p:nvSpPr>
        <p:spPr>
          <a:xfrm>
            <a:off x="5505415" y="2288085"/>
            <a:ext cx="109997" cy="111125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3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86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29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72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14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58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999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43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50" dirty="0" smtClean="0">
              <a:solidFill>
                <a:srgbClr val="FFFFFF"/>
              </a:solidFill>
            </a:endParaRPr>
          </a:p>
        </p:txBody>
      </p:sp>
      <p:sp>
        <p:nvSpPr>
          <p:cNvPr id="3504" name="Oval 3503"/>
          <p:cNvSpPr/>
          <p:nvPr/>
        </p:nvSpPr>
        <p:spPr>
          <a:xfrm>
            <a:off x="5509433" y="2292553"/>
            <a:ext cx="101921" cy="102966"/>
          </a:xfrm>
          <a:prstGeom prst="ellipse">
            <a:avLst/>
          </a:prstGeom>
          <a:solidFill>
            <a:srgbClr val="57B84D"/>
          </a:soli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07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3DA649"/>
              </a:solidFill>
            </a:endParaRPr>
          </a:p>
        </p:txBody>
      </p:sp>
      <p:sp>
        <p:nvSpPr>
          <p:cNvPr id="3482" name="Freeform 6"/>
          <p:cNvSpPr>
            <a:spLocks noEditPoints="1"/>
          </p:cNvSpPr>
          <p:nvPr/>
        </p:nvSpPr>
        <p:spPr bwMode="auto">
          <a:xfrm>
            <a:off x="5546226" y="2320330"/>
            <a:ext cx="27657" cy="45021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83" name="Oval 7"/>
          <p:cNvSpPr>
            <a:spLocks noChangeArrowheads="1"/>
          </p:cNvSpPr>
          <p:nvPr/>
        </p:nvSpPr>
        <p:spPr bwMode="auto">
          <a:xfrm>
            <a:off x="5568891" y="234935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84" name="Oval 8"/>
          <p:cNvSpPr>
            <a:spLocks noChangeArrowheads="1"/>
          </p:cNvSpPr>
          <p:nvPr/>
        </p:nvSpPr>
        <p:spPr bwMode="auto">
          <a:xfrm>
            <a:off x="5562928" y="234935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85" name="Oval 9"/>
          <p:cNvSpPr>
            <a:spLocks noChangeArrowheads="1"/>
          </p:cNvSpPr>
          <p:nvPr/>
        </p:nvSpPr>
        <p:spPr bwMode="auto">
          <a:xfrm>
            <a:off x="5549587" y="234935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86" name="Oval 10"/>
          <p:cNvSpPr>
            <a:spLocks noChangeArrowheads="1"/>
          </p:cNvSpPr>
          <p:nvPr/>
        </p:nvSpPr>
        <p:spPr bwMode="auto">
          <a:xfrm>
            <a:off x="5565965" y="234935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87" name="Oval 11"/>
          <p:cNvSpPr>
            <a:spLocks noChangeArrowheads="1"/>
          </p:cNvSpPr>
          <p:nvPr/>
        </p:nvSpPr>
        <p:spPr bwMode="auto">
          <a:xfrm>
            <a:off x="5562928" y="2324274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88" name="Oval 12"/>
          <p:cNvSpPr>
            <a:spLocks noChangeArrowheads="1"/>
          </p:cNvSpPr>
          <p:nvPr/>
        </p:nvSpPr>
        <p:spPr bwMode="auto">
          <a:xfrm>
            <a:off x="5565965" y="2324274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89" name="Oval 13"/>
          <p:cNvSpPr>
            <a:spLocks noChangeArrowheads="1"/>
          </p:cNvSpPr>
          <p:nvPr/>
        </p:nvSpPr>
        <p:spPr bwMode="auto">
          <a:xfrm>
            <a:off x="5549587" y="2330736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90" name="Oval 14"/>
          <p:cNvSpPr>
            <a:spLocks noChangeArrowheads="1"/>
          </p:cNvSpPr>
          <p:nvPr/>
        </p:nvSpPr>
        <p:spPr bwMode="auto">
          <a:xfrm>
            <a:off x="5568891" y="2336980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91" name="Oval 15"/>
          <p:cNvSpPr>
            <a:spLocks noChangeArrowheads="1"/>
          </p:cNvSpPr>
          <p:nvPr/>
        </p:nvSpPr>
        <p:spPr bwMode="auto">
          <a:xfrm>
            <a:off x="5565965" y="2330736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92" name="Oval 16"/>
          <p:cNvSpPr>
            <a:spLocks noChangeArrowheads="1"/>
          </p:cNvSpPr>
          <p:nvPr/>
        </p:nvSpPr>
        <p:spPr bwMode="auto">
          <a:xfrm>
            <a:off x="5549587" y="2324274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93" name="Oval 17"/>
          <p:cNvSpPr>
            <a:spLocks noChangeArrowheads="1"/>
          </p:cNvSpPr>
          <p:nvPr/>
        </p:nvSpPr>
        <p:spPr bwMode="auto">
          <a:xfrm>
            <a:off x="5562928" y="2330736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94" name="Oval 18"/>
          <p:cNvSpPr>
            <a:spLocks noChangeArrowheads="1"/>
          </p:cNvSpPr>
          <p:nvPr/>
        </p:nvSpPr>
        <p:spPr bwMode="auto">
          <a:xfrm>
            <a:off x="5568891" y="2330736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95" name="Oval 19"/>
          <p:cNvSpPr>
            <a:spLocks noChangeArrowheads="1"/>
          </p:cNvSpPr>
          <p:nvPr/>
        </p:nvSpPr>
        <p:spPr bwMode="auto">
          <a:xfrm>
            <a:off x="5565965" y="2336980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96" name="Oval 20"/>
          <p:cNvSpPr>
            <a:spLocks noChangeArrowheads="1"/>
          </p:cNvSpPr>
          <p:nvPr/>
        </p:nvSpPr>
        <p:spPr bwMode="auto">
          <a:xfrm>
            <a:off x="5568891" y="2324274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97" name="Oval 21"/>
          <p:cNvSpPr>
            <a:spLocks noChangeArrowheads="1"/>
          </p:cNvSpPr>
          <p:nvPr/>
        </p:nvSpPr>
        <p:spPr bwMode="auto">
          <a:xfrm>
            <a:off x="5562928" y="2343115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98" name="Oval 22"/>
          <p:cNvSpPr>
            <a:spLocks noChangeArrowheads="1"/>
          </p:cNvSpPr>
          <p:nvPr/>
        </p:nvSpPr>
        <p:spPr bwMode="auto">
          <a:xfrm>
            <a:off x="5549587" y="2343115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99" name="Oval 23"/>
          <p:cNvSpPr>
            <a:spLocks noChangeArrowheads="1"/>
          </p:cNvSpPr>
          <p:nvPr/>
        </p:nvSpPr>
        <p:spPr bwMode="auto">
          <a:xfrm>
            <a:off x="5568891" y="2343115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00" name="Oval 24"/>
          <p:cNvSpPr>
            <a:spLocks noChangeArrowheads="1"/>
          </p:cNvSpPr>
          <p:nvPr/>
        </p:nvSpPr>
        <p:spPr bwMode="auto">
          <a:xfrm>
            <a:off x="5565965" y="2343115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01" name="Oval 25"/>
          <p:cNvSpPr>
            <a:spLocks noChangeArrowheads="1"/>
          </p:cNvSpPr>
          <p:nvPr/>
        </p:nvSpPr>
        <p:spPr bwMode="auto">
          <a:xfrm>
            <a:off x="5562928" y="2336980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02" name="Oval 26"/>
          <p:cNvSpPr>
            <a:spLocks noChangeArrowheads="1"/>
          </p:cNvSpPr>
          <p:nvPr/>
        </p:nvSpPr>
        <p:spPr bwMode="auto">
          <a:xfrm>
            <a:off x="5549587" y="2336980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61" name="Freeform 6"/>
          <p:cNvSpPr>
            <a:spLocks noEditPoints="1"/>
          </p:cNvSpPr>
          <p:nvPr/>
        </p:nvSpPr>
        <p:spPr bwMode="auto">
          <a:xfrm>
            <a:off x="5573707" y="2324556"/>
            <a:ext cx="22989" cy="37422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62" name="Oval 7"/>
          <p:cNvSpPr>
            <a:spLocks noChangeArrowheads="1"/>
          </p:cNvSpPr>
          <p:nvPr/>
        </p:nvSpPr>
        <p:spPr bwMode="auto">
          <a:xfrm>
            <a:off x="5590838" y="234868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63" name="Oval 8"/>
          <p:cNvSpPr>
            <a:spLocks noChangeArrowheads="1"/>
          </p:cNvSpPr>
          <p:nvPr/>
        </p:nvSpPr>
        <p:spPr bwMode="auto">
          <a:xfrm>
            <a:off x="5585881" y="234868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64" name="Oval 9"/>
          <p:cNvSpPr>
            <a:spLocks noChangeArrowheads="1"/>
          </p:cNvSpPr>
          <p:nvPr/>
        </p:nvSpPr>
        <p:spPr bwMode="auto">
          <a:xfrm>
            <a:off x="5574793" y="234868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65" name="Oval 10"/>
          <p:cNvSpPr>
            <a:spLocks noChangeArrowheads="1"/>
          </p:cNvSpPr>
          <p:nvPr/>
        </p:nvSpPr>
        <p:spPr bwMode="auto">
          <a:xfrm>
            <a:off x="5588406" y="234868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66" name="Oval 11"/>
          <p:cNvSpPr>
            <a:spLocks noChangeArrowheads="1"/>
          </p:cNvSpPr>
          <p:nvPr/>
        </p:nvSpPr>
        <p:spPr bwMode="auto">
          <a:xfrm>
            <a:off x="5585881" y="232783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67" name="Oval 12"/>
          <p:cNvSpPr>
            <a:spLocks noChangeArrowheads="1"/>
          </p:cNvSpPr>
          <p:nvPr/>
        </p:nvSpPr>
        <p:spPr bwMode="auto">
          <a:xfrm>
            <a:off x="5588406" y="232783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68" name="Oval 13"/>
          <p:cNvSpPr>
            <a:spLocks noChangeArrowheads="1"/>
          </p:cNvSpPr>
          <p:nvPr/>
        </p:nvSpPr>
        <p:spPr bwMode="auto">
          <a:xfrm>
            <a:off x="5574793" y="233320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69" name="Oval 14"/>
          <p:cNvSpPr>
            <a:spLocks noChangeArrowheads="1"/>
          </p:cNvSpPr>
          <p:nvPr/>
        </p:nvSpPr>
        <p:spPr bwMode="auto">
          <a:xfrm>
            <a:off x="5590838" y="233839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70" name="Oval 15"/>
          <p:cNvSpPr>
            <a:spLocks noChangeArrowheads="1"/>
          </p:cNvSpPr>
          <p:nvPr/>
        </p:nvSpPr>
        <p:spPr bwMode="auto">
          <a:xfrm>
            <a:off x="5588406" y="233320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71" name="Oval 16"/>
          <p:cNvSpPr>
            <a:spLocks noChangeArrowheads="1"/>
          </p:cNvSpPr>
          <p:nvPr/>
        </p:nvSpPr>
        <p:spPr bwMode="auto">
          <a:xfrm>
            <a:off x="5574793" y="232783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72" name="Oval 17"/>
          <p:cNvSpPr>
            <a:spLocks noChangeArrowheads="1"/>
          </p:cNvSpPr>
          <p:nvPr/>
        </p:nvSpPr>
        <p:spPr bwMode="auto">
          <a:xfrm>
            <a:off x="5585881" y="233320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73" name="Oval 18"/>
          <p:cNvSpPr>
            <a:spLocks noChangeArrowheads="1"/>
          </p:cNvSpPr>
          <p:nvPr/>
        </p:nvSpPr>
        <p:spPr bwMode="auto">
          <a:xfrm>
            <a:off x="5590838" y="233320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74" name="Oval 19"/>
          <p:cNvSpPr>
            <a:spLocks noChangeArrowheads="1"/>
          </p:cNvSpPr>
          <p:nvPr/>
        </p:nvSpPr>
        <p:spPr bwMode="auto">
          <a:xfrm>
            <a:off x="5588406" y="233839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75" name="Oval 20"/>
          <p:cNvSpPr>
            <a:spLocks noChangeArrowheads="1"/>
          </p:cNvSpPr>
          <p:nvPr/>
        </p:nvSpPr>
        <p:spPr bwMode="auto">
          <a:xfrm>
            <a:off x="5590838" y="232783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76" name="Oval 21"/>
          <p:cNvSpPr>
            <a:spLocks noChangeArrowheads="1"/>
          </p:cNvSpPr>
          <p:nvPr/>
        </p:nvSpPr>
        <p:spPr bwMode="auto">
          <a:xfrm>
            <a:off x="5585881" y="234349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77" name="Oval 22"/>
          <p:cNvSpPr>
            <a:spLocks noChangeArrowheads="1"/>
          </p:cNvSpPr>
          <p:nvPr/>
        </p:nvSpPr>
        <p:spPr bwMode="auto">
          <a:xfrm>
            <a:off x="5574793" y="234349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78" name="Oval 23"/>
          <p:cNvSpPr>
            <a:spLocks noChangeArrowheads="1"/>
          </p:cNvSpPr>
          <p:nvPr/>
        </p:nvSpPr>
        <p:spPr bwMode="auto">
          <a:xfrm>
            <a:off x="5590838" y="234349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79" name="Oval 24"/>
          <p:cNvSpPr>
            <a:spLocks noChangeArrowheads="1"/>
          </p:cNvSpPr>
          <p:nvPr/>
        </p:nvSpPr>
        <p:spPr bwMode="auto">
          <a:xfrm>
            <a:off x="5588406" y="234349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80" name="Oval 25"/>
          <p:cNvSpPr>
            <a:spLocks noChangeArrowheads="1"/>
          </p:cNvSpPr>
          <p:nvPr/>
        </p:nvSpPr>
        <p:spPr bwMode="auto">
          <a:xfrm>
            <a:off x="5585881" y="233839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81" name="Oval 26"/>
          <p:cNvSpPr>
            <a:spLocks noChangeArrowheads="1"/>
          </p:cNvSpPr>
          <p:nvPr/>
        </p:nvSpPr>
        <p:spPr bwMode="auto">
          <a:xfrm>
            <a:off x="5574793" y="233839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40" name="Freeform 6"/>
          <p:cNvSpPr>
            <a:spLocks noEditPoints="1"/>
          </p:cNvSpPr>
          <p:nvPr/>
        </p:nvSpPr>
        <p:spPr bwMode="auto">
          <a:xfrm>
            <a:off x="5523697" y="2324556"/>
            <a:ext cx="22988" cy="37422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41" name="Oval 7"/>
          <p:cNvSpPr>
            <a:spLocks noChangeArrowheads="1"/>
          </p:cNvSpPr>
          <p:nvPr/>
        </p:nvSpPr>
        <p:spPr bwMode="auto">
          <a:xfrm>
            <a:off x="5542536" y="234868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42" name="Oval 8"/>
          <p:cNvSpPr>
            <a:spLocks noChangeArrowheads="1"/>
          </p:cNvSpPr>
          <p:nvPr/>
        </p:nvSpPr>
        <p:spPr bwMode="auto">
          <a:xfrm>
            <a:off x="5537579" y="234868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43" name="Oval 9"/>
          <p:cNvSpPr>
            <a:spLocks noChangeArrowheads="1"/>
          </p:cNvSpPr>
          <p:nvPr/>
        </p:nvSpPr>
        <p:spPr bwMode="auto">
          <a:xfrm>
            <a:off x="5526491" y="234868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44" name="Oval 10"/>
          <p:cNvSpPr>
            <a:spLocks noChangeArrowheads="1"/>
          </p:cNvSpPr>
          <p:nvPr/>
        </p:nvSpPr>
        <p:spPr bwMode="auto">
          <a:xfrm>
            <a:off x="5540103" y="234868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45" name="Oval 11"/>
          <p:cNvSpPr>
            <a:spLocks noChangeArrowheads="1"/>
          </p:cNvSpPr>
          <p:nvPr/>
        </p:nvSpPr>
        <p:spPr bwMode="auto">
          <a:xfrm>
            <a:off x="5537579" y="232783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46" name="Oval 12"/>
          <p:cNvSpPr>
            <a:spLocks noChangeArrowheads="1"/>
          </p:cNvSpPr>
          <p:nvPr/>
        </p:nvSpPr>
        <p:spPr bwMode="auto">
          <a:xfrm>
            <a:off x="5540103" y="232783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47" name="Oval 13"/>
          <p:cNvSpPr>
            <a:spLocks noChangeArrowheads="1"/>
          </p:cNvSpPr>
          <p:nvPr/>
        </p:nvSpPr>
        <p:spPr bwMode="auto">
          <a:xfrm>
            <a:off x="5526491" y="233320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48" name="Oval 14"/>
          <p:cNvSpPr>
            <a:spLocks noChangeArrowheads="1"/>
          </p:cNvSpPr>
          <p:nvPr/>
        </p:nvSpPr>
        <p:spPr bwMode="auto">
          <a:xfrm>
            <a:off x="5542536" y="233839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49" name="Oval 15"/>
          <p:cNvSpPr>
            <a:spLocks noChangeArrowheads="1"/>
          </p:cNvSpPr>
          <p:nvPr/>
        </p:nvSpPr>
        <p:spPr bwMode="auto">
          <a:xfrm>
            <a:off x="5540103" y="233320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50" name="Oval 16"/>
          <p:cNvSpPr>
            <a:spLocks noChangeArrowheads="1"/>
          </p:cNvSpPr>
          <p:nvPr/>
        </p:nvSpPr>
        <p:spPr bwMode="auto">
          <a:xfrm>
            <a:off x="5526491" y="232783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51" name="Oval 17"/>
          <p:cNvSpPr>
            <a:spLocks noChangeArrowheads="1"/>
          </p:cNvSpPr>
          <p:nvPr/>
        </p:nvSpPr>
        <p:spPr bwMode="auto">
          <a:xfrm>
            <a:off x="5537579" y="233320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52" name="Oval 18"/>
          <p:cNvSpPr>
            <a:spLocks noChangeArrowheads="1"/>
          </p:cNvSpPr>
          <p:nvPr/>
        </p:nvSpPr>
        <p:spPr bwMode="auto">
          <a:xfrm>
            <a:off x="5542536" y="233320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53" name="Oval 19"/>
          <p:cNvSpPr>
            <a:spLocks noChangeArrowheads="1"/>
          </p:cNvSpPr>
          <p:nvPr/>
        </p:nvSpPr>
        <p:spPr bwMode="auto">
          <a:xfrm>
            <a:off x="5540103" y="233839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54" name="Oval 20"/>
          <p:cNvSpPr>
            <a:spLocks noChangeArrowheads="1"/>
          </p:cNvSpPr>
          <p:nvPr/>
        </p:nvSpPr>
        <p:spPr bwMode="auto">
          <a:xfrm>
            <a:off x="5542536" y="232783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55" name="Oval 21"/>
          <p:cNvSpPr>
            <a:spLocks noChangeArrowheads="1"/>
          </p:cNvSpPr>
          <p:nvPr/>
        </p:nvSpPr>
        <p:spPr bwMode="auto">
          <a:xfrm>
            <a:off x="5537579" y="234349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56" name="Oval 22"/>
          <p:cNvSpPr>
            <a:spLocks noChangeArrowheads="1"/>
          </p:cNvSpPr>
          <p:nvPr/>
        </p:nvSpPr>
        <p:spPr bwMode="auto">
          <a:xfrm>
            <a:off x="5526491" y="234349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57" name="Oval 23"/>
          <p:cNvSpPr>
            <a:spLocks noChangeArrowheads="1"/>
          </p:cNvSpPr>
          <p:nvPr/>
        </p:nvSpPr>
        <p:spPr bwMode="auto">
          <a:xfrm>
            <a:off x="5542536" y="234349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58" name="Oval 24"/>
          <p:cNvSpPr>
            <a:spLocks noChangeArrowheads="1"/>
          </p:cNvSpPr>
          <p:nvPr/>
        </p:nvSpPr>
        <p:spPr bwMode="auto">
          <a:xfrm>
            <a:off x="5540103" y="234349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59" name="Oval 25"/>
          <p:cNvSpPr>
            <a:spLocks noChangeArrowheads="1"/>
          </p:cNvSpPr>
          <p:nvPr/>
        </p:nvSpPr>
        <p:spPr bwMode="auto">
          <a:xfrm>
            <a:off x="5537579" y="233839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460" name="Oval 26"/>
          <p:cNvSpPr>
            <a:spLocks noChangeArrowheads="1"/>
          </p:cNvSpPr>
          <p:nvPr/>
        </p:nvSpPr>
        <p:spPr bwMode="auto">
          <a:xfrm>
            <a:off x="5526491" y="233839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73" name="Oval 3572"/>
          <p:cNvSpPr/>
          <p:nvPr/>
        </p:nvSpPr>
        <p:spPr>
          <a:xfrm>
            <a:off x="5315786" y="2294746"/>
            <a:ext cx="109997" cy="111125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3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86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29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72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14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58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999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43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50" dirty="0" smtClean="0">
              <a:solidFill>
                <a:srgbClr val="FFFFFF"/>
              </a:solidFill>
            </a:endParaRPr>
          </a:p>
        </p:txBody>
      </p:sp>
      <p:sp>
        <p:nvSpPr>
          <p:cNvPr id="3574" name="Oval 3573"/>
          <p:cNvSpPr/>
          <p:nvPr/>
        </p:nvSpPr>
        <p:spPr>
          <a:xfrm>
            <a:off x="5319803" y="2299214"/>
            <a:ext cx="101921" cy="102966"/>
          </a:xfrm>
          <a:prstGeom prst="ellipse">
            <a:avLst/>
          </a:prstGeom>
          <a:solidFill>
            <a:srgbClr val="57B84D"/>
          </a:soli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07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3DA649"/>
              </a:solidFill>
            </a:endParaRPr>
          </a:p>
        </p:txBody>
      </p:sp>
      <p:sp>
        <p:nvSpPr>
          <p:cNvPr id="3552" name="Freeform 6"/>
          <p:cNvSpPr>
            <a:spLocks noEditPoints="1"/>
          </p:cNvSpPr>
          <p:nvPr/>
        </p:nvSpPr>
        <p:spPr bwMode="auto">
          <a:xfrm>
            <a:off x="5356597" y="2326991"/>
            <a:ext cx="27657" cy="45021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53" name="Oval 7"/>
          <p:cNvSpPr>
            <a:spLocks noChangeArrowheads="1"/>
          </p:cNvSpPr>
          <p:nvPr/>
        </p:nvSpPr>
        <p:spPr bwMode="auto">
          <a:xfrm>
            <a:off x="5379262" y="2356019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54" name="Oval 8"/>
          <p:cNvSpPr>
            <a:spLocks noChangeArrowheads="1"/>
          </p:cNvSpPr>
          <p:nvPr/>
        </p:nvSpPr>
        <p:spPr bwMode="auto">
          <a:xfrm>
            <a:off x="5373298" y="2356019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55" name="Oval 9"/>
          <p:cNvSpPr>
            <a:spLocks noChangeArrowheads="1"/>
          </p:cNvSpPr>
          <p:nvPr/>
        </p:nvSpPr>
        <p:spPr bwMode="auto">
          <a:xfrm>
            <a:off x="5359958" y="2356019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56" name="Oval 10"/>
          <p:cNvSpPr>
            <a:spLocks noChangeArrowheads="1"/>
          </p:cNvSpPr>
          <p:nvPr/>
        </p:nvSpPr>
        <p:spPr bwMode="auto">
          <a:xfrm>
            <a:off x="5376335" y="2356019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57" name="Oval 11"/>
          <p:cNvSpPr>
            <a:spLocks noChangeArrowheads="1"/>
          </p:cNvSpPr>
          <p:nvPr/>
        </p:nvSpPr>
        <p:spPr bwMode="auto">
          <a:xfrm>
            <a:off x="5373298" y="2330935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58" name="Oval 12"/>
          <p:cNvSpPr>
            <a:spLocks noChangeArrowheads="1"/>
          </p:cNvSpPr>
          <p:nvPr/>
        </p:nvSpPr>
        <p:spPr bwMode="auto">
          <a:xfrm>
            <a:off x="5376335" y="2330935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59" name="Oval 13"/>
          <p:cNvSpPr>
            <a:spLocks noChangeArrowheads="1"/>
          </p:cNvSpPr>
          <p:nvPr/>
        </p:nvSpPr>
        <p:spPr bwMode="auto">
          <a:xfrm>
            <a:off x="5359958" y="2337397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60" name="Oval 14"/>
          <p:cNvSpPr>
            <a:spLocks noChangeArrowheads="1"/>
          </p:cNvSpPr>
          <p:nvPr/>
        </p:nvSpPr>
        <p:spPr bwMode="auto">
          <a:xfrm>
            <a:off x="5379262" y="2343641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61" name="Oval 15"/>
          <p:cNvSpPr>
            <a:spLocks noChangeArrowheads="1"/>
          </p:cNvSpPr>
          <p:nvPr/>
        </p:nvSpPr>
        <p:spPr bwMode="auto">
          <a:xfrm>
            <a:off x="5376335" y="2337397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62" name="Oval 16"/>
          <p:cNvSpPr>
            <a:spLocks noChangeArrowheads="1"/>
          </p:cNvSpPr>
          <p:nvPr/>
        </p:nvSpPr>
        <p:spPr bwMode="auto">
          <a:xfrm>
            <a:off x="5359958" y="2330935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63" name="Oval 17"/>
          <p:cNvSpPr>
            <a:spLocks noChangeArrowheads="1"/>
          </p:cNvSpPr>
          <p:nvPr/>
        </p:nvSpPr>
        <p:spPr bwMode="auto">
          <a:xfrm>
            <a:off x="5373298" y="2337397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64" name="Oval 18"/>
          <p:cNvSpPr>
            <a:spLocks noChangeArrowheads="1"/>
          </p:cNvSpPr>
          <p:nvPr/>
        </p:nvSpPr>
        <p:spPr bwMode="auto">
          <a:xfrm>
            <a:off x="5379262" y="2337397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65" name="Oval 19"/>
          <p:cNvSpPr>
            <a:spLocks noChangeArrowheads="1"/>
          </p:cNvSpPr>
          <p:nvPr/>
        </p:nvSpPr>
        <p:spPr bwMode="auto">
          <a:xfrm>
            <a:off x="5376335" y="2343641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66" name="Oval 20"/>
          <p:cNvSpPr>
            <a:spLocks noChangeArrowheads="1"/>
          </p:cNvSpPr>
          <p:nvPr/>
        </p:nvSpPr>
        <p:spPr bwMode="auto">
          <a:xfrm>
            <a:off x="5379262" y="2330935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67" name="Oval 21"/>
          <p:cNvSpPr>
            <a:spLocks noChangeArrowheads="1"/>
          </p:cNvSpPr>
          <p:nvPr/>
        </p:nvSpPr>
        <p:spPr bwMode="auto">
          <a:xfrm>
            <a:off x="5373298" y="2349776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68" name="Oval 22"/>
          <p:cNvSpPr>
            <a:spLocks noChangeArrowheads="1"/>
          </p:cNvSpPr>
          <p:nvPr/>
        </p:nvSpPr>
        <p:spPr bwMode="auto">
          <a:xfrm>
            <a:off x="5359958" y="2349776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69" name="Oval 23"/>
          <p:cNvSpPr>
            <a:spLocks noChangeArrowheads="1"/>
          </p:cNvSpPr>
          <p:nvPr/>
        </p:nvSpPr>
        <p:spPr bwMode="auto">
          <a:xfrm>
            <a:off x="5379262" y="2349776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70" name="Oval 24"/>
          <p:cNvSpPr>
            <a:spLocks noChangeArrowheads="1"/>
          </p:cNvSpPr>
          <p:nvPr/>
        </p:nvSpPr>
        <p:spPr bwMode="auto">
          <a:xfrm>
            <a:off x="5376335" y="2349776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71" name="Oval 25"/>
          <p:cNvSpPr>
            <a:spLocks noChangeArrowheads="1"/>
          </p:cNvSpPr>
          <p:nvPr/>
        </p:nvSpPr>
        <p:spPr bwMode="auto">
          <a:xfrm>
            <a:off x="5373298" y="2343641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72" name="Oval 26"/>
          <p:cNvSpPr>
            <a:spLocks noChangeArrowheads="1"/>
          </p:cNvSpPr>
          <p:nvPr/>
        </p:nvSpPr>
        <p:spPr bwMode="auto">
          <a:xfrm>
            <a:off x="5359958" y="2343641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31" name="Freeform 6"/>
          <p:cNvSpPr>
            <a:spLocks noEditPoints="1"/>
          </p:cNvSpPr>
          <p:nvPr/>
        </p:nvSpPr>
        <p:spPr bwMode="auto">
          <a:xfrm>
            <a:off x="5384078" y="2331217"/>
            <a:ext cx="22989" cy="37422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32" name="Oval 7"/>
          <p:cNvSpPr>
            <a:spLocks noChangeArrowheads="1"/>
          </p:cNvSpPr>
          <p:nvPr/>
        </p:nvSpPr>
        <p:spPr bwMode="auto">
          <a:xfrm>
            <a:off x="5401209" y="235534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33" name="Oval 8"/>
          <p:cNvSpPr>
            <a:spLocks noChangeArrowheads="1"/>
          </p:cNvSpPr>
          <p:nvPr/>
        </p:nvSpPr>
        <p:spPr bwMode="auto">
          <a:xfrm>
            <a:off x="5396252" y="235534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34" name="Oval 9"/>
          <p:cNvSpPr>
            <a:spLocks noChangeArrowheads="1"/>
          </p:cNvSpPr>
          <p:nvPr/>
        </p:nvSpPr>
        <p:spPr bwMode="auto">
          <a:xfrm>
            <a:off x="5385164" y="235534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35" name="Oval 10"/>
          <p:cNvSpPr>
            <a:spLocks noChangeArrowheads="1"/>
          </p:cNvSpPr>
          <p:nvPr/>
        </p:nvSpPr>
        <p:spPr bwMode="auto">
          <a:xfrm>
            <a:off x="5398777" y="235534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36" name="Oval 11"/>
          <p:cNvSpPr>
            <a:spLocks noChangeArrowheads="1"/>
          </p:cNvSpPr>
          <p:nvPr/>
        </p:nvSpPr>
        <p:spPr bwMode="auto">
          <a:xfrm>
            <a:off x="5396252" y="233449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37" name="Oval 12"/>
          <p:cNvSpPr>
            <a:spLocks noChangeArrowheads="1"/>
          </p:cNvSpPr>
          <p:nvPr/>
        </p:nvSpPr>
        <p:spPr bwMode="auto">
          <a:xfrm>
            <a:off x="5398777" y="233449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38" name="Oval 13"/>
          <p:cNvSpPr>
            <a:spLocks noChangeArrowheads="1"/>
          </p:cNvSpPr>
          <p:nvPr/>
        </p:nvSpPr>
        <p:spPr bwMode="auto">
          <a:xfrm>
            <a:off x="5385164" y="2339867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39" name="Oval 14"/>
          <p:cNvSpPr>
            <a:spLocks noChangeArrowheads="1"/>
          </p:cNvSpPr>
          <p:nvPr/>
        </p:nvSpPr>
        <p:spPr bwMode="auto">
          <a:xfrm>
            <a:off x="5401209" y="234505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40" name="Oval 15"/>
          <p:cNvSpPr>
            <a:spLocks noChangeArrowheads="1"/>
          </p:cNvSpPr>
          <p:nvPr/>
        </p:nvSpPr>
        <p:spPr bwMode="auto">
          <a:xfrm>
            <a:off x="5398777" y="2339867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41" name="Oval 16"/>
          <p:cNvSpPr>
            <a:spLocks noChangeArrowheads="1"/>
          </p:cNvSpPr>
          <p:nvPr/>
        </p:nvSpPr>
        <p:spPr bwMode="auto">
          <a:xfrm>
            <a:off x="5385164" y="233449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42" name="Oval 17"/>
          <p:cNvSpPr>
            <a:spLocks noChangeArrowheads="1"/>
          </p:cNvSpPr>
          <p:nvPr/>
        </p:nvSpPr>
        <p:spPr bwMode="auto">
          <a:xfrm>
            <a:off x="5396252" y="2339867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43" name="Oval 18"/>
          <p:cNvSpPr>
            <a:spLocks noChangeArrowheads="1"/>
          </p:cNvSpPr>
          <p:nvPr/>
        </p:nvSpPr>
        <p:spPr bwMode="auto">
          <a:xfrm>
            <a:off x="5401209" y="2339867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44" name="Oval 19"/>
          <p:cNvSpPr>
            <a:spLocks noChangeArrowheads="1"/>
          </p:cNvSpPr>
          <p:nvPr/>
        </p:nvSpPr>
        <p:spPr bwMode="auto">
          <a:xfrm>
            <a:off x="5398777" y="234505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45" name="Oval 20"/>
          <p:cNvSpPr>
            <a:spLocks noChangeArrowheads="1"/>
          </p:cNvSpPr>
          <p:nvPr/>
        </p:nvSpPr>
        <p:spPr bwMode="auto">
          <a:xfrm>
            <a:off x="5401209" y="233449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46" name="Oval 21"/>
          <p:cNvSpPr>
            <a:spLocks noChangeArrowheads="1"/>
          </p:cNvSpPr>
          <p:nvPr/>
        </p:nvSpPr>
        <p:spPr bwMode="auto">
          <a:xfrm>
            <a:off x="5396252" y="235015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47" name="Oval 22"/>
          <p:cNvSpPr>
            <a:spLocks noChangeArrowheads="1"/>
          </p:cNvSpPr>
          <p:nvPr/>
        </p:nvSpPr>
        <p:spPr bwMode="auto">
          <a:xfrm>
            <a:off x="5385164" y="235015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48" name="Oval 23"/>
          <p:cNvSpPr>
            <a:spLocks noChangeArrowheads="1"/>
          </p:cNvSpPr>
          <p:nvPr/>
        </p:nvSpPr>
        <p:spPr bwMode="auto">
          <a:xfrm>
            <a:off x="5401209" y="235015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49" name="Oval 24"/>
          <p:cNvSpPr>
            <a:spLocks noChangeArrowheads="1"/>
          </p:cNvSpPr>
          <p:nvPr/>
        </p:nvSpPr>
        <p:spPr bwMode="auto">
          <a:xfrm>
            <a:off x="5398777" y="235015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50" name="Oval 25"/>
          <p:cNvSpPr>
            <a:spLocks noChangeArrowheads="1"/>
          </p:cNvSpPr>
          <p:nvPr/>
        </p:nvSpPr>
        <p:spPr bwMode="auto">
          <a:xfrm>
            <a:off x="5396252" y="234505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51" name="Oval 26"/>
          <p:cNvSpPr>
            <a:spLocks noChangeArrowheads="1"/>
          </p:cNvSpPr>
          <p:nvPr/>
        </p:nvSpPr>
        <p:spPr bwMode="auto">
          <a:xfrm>
            <a:off x="5385164" y="234505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10" name="Freeform 6"/>
          <p:cNvSpPr>
            <a:spLocks noEditPoints="1"/>
          </p:cNvSpPr>
          <p:nvPr/>
        </p:nvSpPr>
        <p:spPr bwMode="auto">
          <a:xfrm>
            <a:off x="5334067" y="2331217"/>
            <a:ext cx="22988" cy="37422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11" name="Oval 7"/>
          <p:cNvSpPr>
            <a:spLocks noChangeArrowheads="1"/>
          </p:cNvSpPr>
          <p:nvPr/>
        </p:nvSpPr>
        <p:spPr bwMode="auto">
          <a:xfrm>
            <a:off x="5352907" y="235534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12" name="Oval 8"/>
          <p:cNvSpPr>
            <a:spLocks noChangeArrowheads="1"/>
          </p:cNvSpPr>
          <p:nvPr/>
        </p:nvSpPr>
        <p:spPr bwMode="auto">
          <a:xfrm>
            <a:off x="5347950" y="235534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13" name="Oval 9"/>
          <p:cNvSpPr>
            <a:spLocks noChangeArrowheads="1"/>
          </p:cNvSpPr>
          <p:nvPr/>
        </p:nvSpPr>
        <p:spPr bwMode="auto">
          <a:xfrm>
            <a:off x="5336862" y="235534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14" name="Oval 10"/>
          <p:cNvSpPr>
            <a:spLocks noChangeArrowheads="1"/>
          </p:cNvSpPr>
          <p:nvPr/>
        </p:nvSpPr>
        <p:spPr bwMode="auto">
          <a:xfrm>
            <a:off x="5350474" y="235534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15" name="Oval 11"/>
          <p:cNvSpPr>
            <a:spLocks noChangeArrowheads="1"/>
          </p:cNvSpPr>
          <p:nvPr/>
        </p:nvSpPr>
        <p:spPr bwMode="auto">
          <a:xfrm>
            <a:off x="5347950" y="233449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16" name="Oval 12"/>
          <p:cNvSpPr>
            <a:spLocks noChangeArrowheads="1"/>
          </p:cNvSpPr>
          <p:nvPr/>
        </p:nvSpPr>
        <p:spPr bwMode="auto">
          <a:xfrm>
            <a:off x="5350474" y="233449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17" name="Oval 13"/>
          <p:cNvSpPr>
            <a:spLocks noChangeArrowheads="1"/>
          </p:cNvSpPr>
          <p:nvPr/>
        </p:nvSpPr>
        <p:spPr bwMode="auto">
          <a:xfrm>
            <a:off x="5336862" y="2339867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18" name="Oval 14"/>
          <p:cNvSpPr>
            <a:spLocks noChangeArrowheads="1"/>
          </p:cNvSpPr>
          <p:nvPr/>
        </p:nvSpPr>
        <p:spPr bwMode="auto">
          <a:xfrm>
            <a:off x="5352907" y="234505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19" name="Oval 15"/>
          <p:cNvSpPr>
            <a:spLocks noChangeArrowheads="1"/>
          </p:cNvSpPr>
          <p:nvPr/>
        </p:nvSpPr>
        <p:spPr bwMode="auto">
          <a:xfrm>
            <a:off x="5350474" y="2339867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20" name="Oval 16"/>
          <p:cNvSpPr>
            <a:spLocks noChangeArrowheads="1"/>
          </p:cNvSpPr>
          <p:nvPr/>
        </p:nvSpPr>
        <p:spPr bwMode="auto">
          <a:xfrm>
            <a:off x="5336862" y="233449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21" name="Oval 17"/>
          <p:cNvSpPr>
            <a:spLocks noChangeArrowheads="1"/>
          </p:cNvSpPr>
          <p:nvPr/>
        </p:nvSpPr>
        <p:spPr bwMode="auto">
          <a:xfrm>
            <a:off x="5347950" y="2339867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22" name="Oval 18"/>
          <p:cNvSpPr>
            <a:spLocks noChangeArrowheads="1"/>
          </p:cNvSpPr>
          <p:nvPr/>
        </p:nvSpPr>
        <p:spPr bwMode="auto">
          <a:xfrm>
            <a:off x="5352907" y="2339867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23" name="Oval 19"/>
          <p:cNvSpPr>
            <a:spLocks noChangeArrowheads="1"/>
          </p:cNvSpPr>
          <p:nvPr/>
        </p:nvSpPr>
        <p:spPr bwMode="auto">
          <a:xfrm>
            <a:off x="5350474" y="234505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24" name="Oval 20"/>
          <p:cNvSpPr>
            <a:spLocks noChangeArrowheads="1"/>
          </p:cNvSpPr>
          <p:nvPr/>
        </p:nvSpPr>
        <p:spPr bwMode="auto">
          <a:xfrm>
            <a:off x="5352907" y="233449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25" name="Oval 21"/>
          <p:cNvSpPr>
            <a:spLocks noChangeArrowheads="1"/>
          </p:cNvSpPr>
          <p:nvPr/>
        </p:nvSpPr>
        <p:spPr bwMode="auto">
          <a:xfrm>
            <a:off x="5347950" y="235015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26" name="Oval 22"/>
          <p:cNvSpPr>
            <a:spLocks noChangeArrowheads="1"/>
          </p:cNvSpPr>
          <p:nvPr/>
        </p:nvSpPr>
        <p:spPr bwMode="auto">
          <a:xfrm>
            <a:off x="5336862" y="235015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27" name="Oval 23"/>
          <p:cNvSpPr>
            <a:spLocks noChangeArrowheads="1"/>
          </p:cNvSpPr>
          <p:nvPr/>
        </p:nvSpPr>
        <p:spPr bwMode="auto">
          <a:xfrm>
            <a:off x="5352907" y="235015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28" name="Oval 24"/>
          <p:cNvSpPr>
            <a:spLocks noChangeArrowheads="1"/>
          </p:cNvSpPr>
          <p:nvPr/>
        </p:nvSpPr>
        <p:spPr bwMode="auto">
          <a:xfrm>
            <a:off x="5350474" y="235015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29" name="Oval 25"/>
          <p:cNvSpPr>
            <a:spLocks noChangeArrowheads="1"/>
          </p:cNvSpPr>
          <p:nvPr/>
        </p:nvSpPr>
        <p:spPr bwMode="auto">
          <a:xfrm>
            <a:off x="5347950" y="234505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30" name="Oval 26"/>
          <p:cNvSpPr>
            <a:spLocks noChangeArrowheads="1"/>
          </p:cNvSpPr>
          <p:nvPr/>
        </p:nvSpPr>
        <p:spPr bwMode="auto">
          <a:xfrm>
            <a:off x="5336862" y="234505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43" name="Oval 3642"/>
          <p:cNvSpPr/>
          <p:nvPr/>
        </p:nvSpPr>
        <p:spPr>
          <a:xfrm>
            <a:off x="5693721" y="1736523"/>
            <a:ext cx="109997" cy="111125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3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86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29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72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14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58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999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43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50" dirty="0" smtClean="0">
              <a:solidFill>
                <a:srgbClr val="FFFFFF"/>
              </a:solidFill>
            </a:endParaRPr>
          </a:p>
        </p:txBody>
      </p:sp>
      <p:sp>
        <p:nvSpPr>
          <p:cNvPr id="3644" name="Oval 3643"/>
          <p:cNvSpPr/>
          <p:nvPr/>
        </p:nvSpPr>
        <p:spPr>
          <a:xfrm>
            <a:off x="5697739" y="1740991"/>
            <a:ext cx="101921" cy="102966"/>
          </a:xfrm>
          <a:prstGeom prst="ellipse">
            <a:avLst/>
          </a:prstGeom>
          <a:solidFill>
            <a:srgbClr val="57B84D"/>
          </a:soli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07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3DA649"/>
              </a:solidFill>
            </a:endParaRPr>
          </a:p>
        </p:txBody>
      </p:sp>
      <p:sp>
        <p:nvSpPr>
          <p:cNvPr id="3622" name="Freeform 6"/>
          <p:cNvSpPr>
            <a:spLocks noEditPoints="1"/>
          </p:cNvSpPr>
          <p:nvPr/>
        </p:nvSpPr>
        <p:spPr bwMode="auto">
          <a:xfrm>
            <a:off x="5734532" y="1768768"/>
            <a:ext cx="27657" cy="45021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23" name="Oval 7"/>
          <p:cNvSpPr>
            <a:spLocks noChangeArrowheads="1"/>
          </p:cNvSpPr>
          <p:nvPr/>
        </p:nvSpPr>
        <p:spPr bwMode="auto">
          <a:xfrm>
            <a:off x="5757197" y="1797796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24" name="Oval 8"/>
          <p:cNvSpPr>
            <a:spLocks noChangeArrowheads="1"/>
          </p:cNvSpPr>
          <p:nvPr/>
        </p:nvSpPr>
        <p:spPr bwMode="auto">
          <a:xfrm>
            <a:off x="5751234" y="1797796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25" name="Oval 9"/>
          <p:cNvSpPr>
            <a:spLocks noChangeArrowheads="1"/>
          </p:cNvSpPr>
          <p:nvPr/>
        </p:nvSpPr>
        <p:spPr bwMode="auto">
          <a:xfrm>
            <a:off x="5737894" y="1797796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26" name="Oval 10"/>
          <p:cNvSpPr>
            <a:spLocks noChangeArrowheads="1"/>
          </p:cNvSpPr>
          <p:nvPr/>
        </p:nvSpPr>
        <p:spPr bwMode="auto">
          <a:xfrm>
            <a:off x="5754271" y="1797796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27" name="Oval 11"/>
          <p:cNvSpPr>
            <a:spLocks noChangeArrowheads="1"/>
          </p:cNvSpPr>
          <p:nvPr/>
        </p:nvSpPr>
        <p:spPr bwMode="auto">
          <a:xfrm>
            <a:off x="5751234" y="177271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28" name="Oval 12"/>
          <p:cNvSpPr>
            <a:spLocks noChangeArrowheads="1"/>
          </p:cNvSpPr>
          <p:nvPr/>
        </p:nvSpPr>
        <p:spPr bwMode="auto">
          <a:xfrm>
            <a:off x="5754271" y="177271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29" name="Oval 13"/>
          <p:cNvSpPr>
            <a:spLocks noChangeArrowheads="1"/>
          </p:cNvSpPr>
          <p:nvPr/>
        </p:nvSpPr>
        <p:spPr bwMode="auto">
          <a:xfrm>
            <a:off x="5737894" y="1779174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30" name="Oval 14"/>
          <p:cNvSpPr>
            <a:spLocks noChangeArrowheads="1"/>
          </p:cNvSpPr>
          <p:nvPr/>
        </p:nvSpPr>
        <p:spPr bwMode="auto">
          <a:xfrm>
            <a:off x="5757197" y="178541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31" name="Oval 15"/>
          <p:cNvSpPr>
            <a:spLocks noChangeArrowheads="1"/>
          </p:cNvSpPr>
          <p:nvPr/>
        </p:nvSpPr>
        <p:spPr bwMode="auto">
          <a:xfrm>
            <a:off x="5754271" y="1779174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32" name="Oval 16"/>
          <p:cNvSpPr>
            <a:spLocks noChangeArrowheads="1"/>
          </p:cNvSpPr>
          <p:nvPr/>
        </p:nvSpPr>
        <p:spPr bwMode="auto">
          <a:xfrm>
            <a:off x="5737894" y="177271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33" name="Oval 17"/>
          <p:cNvSpPr>
            <a:spLocks noChangeArrowheads="1"/>
          </p:cNvSpPr>
          <p:nvPr/>
        </p:nvSpPr>
        <p:spPr bwMode="auto">
          <a:xfrm>
            <a:off x="5751234" y="1779174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34" name="Oval 18"/>
          <p:cNvSpPr>
            <a:spLocks noChangeArrowheads="1"/>
          </p:cNvSpPr>
          <p:nvPr/>
        </p:nvSpPr>
        <p:spPr bwMode="auto">
          <a:xfrm>
            <a:off x="5757197" y="1779174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35" name="Oval 19"/>
          <p:cNvSpPr>
            <a:spLocks noChangeArrowheads="1"/>
          </p:cNvSpPr>
          <p:nvPr/>
        </p:nvSpPr>
        <p:spPr bwMode="auto">
          <a:xfrm>
            <a:off x="5754271" y="178541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36" name="Oval 20"/>
          <p:cNvSpPr>
            <a:spLocks noChangeArrowheads="1"/>
          </p:cNvSpPr>
          <p:nvPr/>
        </p:nvSpPr>
        <p:spPr bwMode="auto">
          <a:xfrm>
            <a:off x="5757197" y="177271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37" name="Oval 21"/>
          <p:cNvSpPr>
            <a:spLocks noChangeArrowheads="1"/>
          </p:cNvSpPr>
          <p:nvPr/>
        </p:nvSpPr>
        <p:spPr bwMode="auto">
          <a:xfrm>
            <a:off x="5751234" y="1791553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38" name="Oval 22"/>
          <p:cNvSpPr>
            <a:spLocks noChangeArrowheads="1"/>
          </p:cNvSpPr>
          <p:nvPr/>
        </p:nvSpPr>
        <p:spPr bwMode="auto">
          <a:xfrm>
            <a:off x="5737894" y="1791553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39" name="Oval 23"/>
          <p:cNvSpPr>
            <a:spLocks noChangeArrowheads="1"/>
          </p:cNvSpPr>
          <p:nvPr/>
        </p:nvSpPr>
        <p:spPr bwMode="auto">
          <a:xfrm>
            <a:off x="5757197" y="1791553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40" name="Oval 24"/>
          <p:cNvSpPr>
            <a:spLocks noChangeArrowheads="1"/>
          </p:cNvSpPr>
          <p:nvPr/>
        </p:nvSpPr>
        <p:spPr bwMode="auto">
          <a:xfrm>
            <a:off x="5754271" y="1791553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41" name="Oval 25"/>
          <p:cNvSpPr>
            <a:spLocks noChangeArrowheads="1"/>
          </p:cNvSpPr>
          <p:nvPr/>
        </p:nvSpPr>
        <p:spPr bwMode="auto">
          <a:xfrm>
            <a:off x="5751234" y="178541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42" name="Oval 26"/>
          <p:cNvSpPr>
            <a:spLocks noChangeArrowheads="1"/>
          </p:cNvSpPr>
          <p:nvPr/>
        </p:nvSpPr>
        <p:spPr bwMode="auto">
          <a:xfrm>
            <a:off x="5737894" y="178541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01" name="Freeform 6"/>
          <p:cNvSpPr>
            <a:spLocks noEditPoints="1"/>
          </p:cNvSpPr>
          <p:nvPr/>
        </p:nvSpPr>
        <p:spPr bwMode="auto">
          <a:xfrm>
            <a:off x="5762013" y="1772994"/>
            <a:ext cx="22989" cy="37422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02" name="Oval 7"/>
          <p:cNvSpPr>
            <a:spLocks noChangeArrowheads="1"/>
          </p:cNvSpPr>
          <p:nvPr/>
        </p:nvSpPr>
        <p:spPr bwMode="auto">
          <a:xfrm>
            <a:off x="5779144" y="179712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03" name="Oval 8"/>
          <p:cNvSpPr>
            <a:spLocks noChangeArrowheads="1"/>
          </p:cNvSpPr>
          <p:nvPr/>
        </p:nvSpPr>
        <p:spPr bwMode="auto">
          <a:xfrm>
            <a:off x="5774187" y="179712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04" name="Oval 9"/>
          <p:cNvSpPr>
            <a:spLocks noChangeArrowheads="1"/>
          </p:cNvSpPr>
          <p:nvPr/>
        </p:nvSpPr>
        <p:spPr bwMode="auto">
          <a:xfrm>
            <a:off x="5763099" y="179712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05" name="Oval 10"/>
          <p:cNvSpPr>
            <a:spLocks noChangeArrowheads="1"/>
          </p:cNvSpPr>
          <p:nvPr/>
        </p:nvSpPr>
        <p:spPr bwMode="auto">
          <a:xfrm>
            <a:off x="5776712" y="179712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06" name="Oval 11"/>
          <p:cNvSpPr>
            <a:spLocks noChangeArrowheads="1"/>
          </p:cNvSpPr>
          <p:nvPr/>
        </p:nvSpPr>
        <p:spPr bwMode="auto">
          <a:xfrm>
            <a:off x="5774187" y="177627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07" name="Oval 12"/>
          <p:cNvSpPr>
            <a:spLocks noChangeArrowheads="1"/>
          </p:cNvSpPr>
          <p:nvPr/>
        </p:nvSpPr>
        <p:spPr bwMode="auto">
          <a:xfrm>
            <a:off x="5776712" y="177627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08" name="Oval 13"/>
          <p:cNvSpPr>
            <a:spLocks noChangeArrowheads="1"/>
          </p:cNvSpPr>
          <p:nvPr/>
        </p:nvSpPr>
        <p:spPr bwMode="auto">
          <a:xfrm>
            <a:off x="5763099" y="178164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09" name="Oval 14"/>
          <p:cNvSpPr>
            <a:spLocks noChangeArrowheads="1"/>
          </p:cNvSpPr>
          <p:nvPr/>
        </p:nvSpPr>
        <p:spPr bwMode="auto">
          <a:xfrm>
            <a:off x="5779144" y="1786833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10" name="Oval 15"/>
          <p:cNvSpPr>
            <a:spLocks noChangeArrowheads="1"/>
          </p:cNvSpPr>
          <p:nvPr/>
        </p:nvSpPr>
        <p:spPr bwMode="auto">
          <a:xfrm>
            <a:off x="5776712" y="178164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11" name="Oval 16"/>
          <p:cNvSpPr>
            <a:spLocks noChangeArrowheads="1"/>
          </p:cNvSpPr>
          <p:nvPr/>
        </p:nvSpPr>
        <p:spPr bwMode="auto">
          <a:xfrm>
            <a:off x="5763099" y="177627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12" name="Oval 17"/>
          <p:cNvSpPr>
            <a:spLocks noChangeArrowheads="1"/>
          </p:cNvSpPr>
          <p:nvPr/>
        </p:nvSpPr>
        <p:spPr bwMode="auto">
          <a:xfrm>
            <a:off x="5774187" y="178164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13" name="Oval 18"/>
          <p:cNvSpPr>
            <a:spLocks noChangeArrowheads="1"/>
          </p:cNvSpPr>
          <p:nvPr/>
        </p:nvSpPr>
        <p:spPr bwMode="auto">
          <a:xfrm>
            <a:off x="5779144" y="178164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14" name="Oval 19"/>
          <p:cNvSpPr>
            <a:spLocks noChangeArrowheads="1"/>
          </p:cNvSpPr>
          <p:nvPr/>
        </p:nvSpPr>
        <p:spPr bwMode="auto">
          <a:xfrm>
            <a:off x="5776712" y="1786833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15" name="Oval 20"/>
          <p:cNvSpPr>
            <a:spLocks noChangeArrowheads="1"/>
          </p:cNvSpPr>
          <p:nvPr/>
        </p:nvSpPr>
        <p:spPr bwMode="auto">
          <a:xfrm>
            <a:off x="5779144" y="177627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16" name="Oval 21"/>
          <p:cNvSpPr>
            <a:spLocks noChangeArrowheads="1"/>
          </p:cNvSpPr>
          <p:nvPr/>
        </p:nvSpPr>
        <p:spPr bwMode="auto">
          <a:xfrm>
            <a:off x="5774187" y="179193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17" name="Oval 22"/>
          <p:cNvSpPr>
            <a:spLocks noChangeArrowheads="1"/>
          </p:cNvSpPr>
          <p:nvPr/>
        </p:nvSpPr>
        <p:spPr bwMode="auto">
          <a:xfrm>
            <a:off x="5763099" y="179193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18" name="Oval 23"/>
          <p:cNvSpPr>
            <a:spLocks noChangeArrowheads="1"/>
          </p:cNvSpPr>
          <p:nvPr/>
        </p:nvSpPr>
        <p:spPr bwMode="auto">
          <a:xfrm>
            <a:off x="5779144" y="179193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19" name="Oval 24"/>
          <p:cNvSpPr>
            <a:spLocks noChangeArrowheads="1"/>
          </p:cNvSpPr>
          <p:nvPr/>
        </p:nvSpPr>
        <p:spPr bwMode="auto">
          <a:xfrm>
            <a:off x="5776712" y="179193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20" name="Oval 25"/>
          <p:cNvSpPr>
            <a:spLocks noChangeArrowheads="1"/>
          </p:cNvSpPr>
          <p:nvPr/>
        </p:nvSpPr>
        <p:spPr bwMode="auto">
          <a:xfrm>
            <a:off x="5774187" y="1786833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21" name="Oval 26"/>
          <p:cNvSpPr>
            <a:spLocks noChangeArrowheads="1"/>
          </p:cNvSpPr>
          <p:nvPr/>
        </p:nvSpPr>
        <p:spPr bwMode="auto">
          <a:xfrm>
            <a:off x="5763099" y="1786833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80" name="Freeform 6"/>
          <p:cNvSpPr>
            <a:spLocks noEditPoints="1"/>
          </p:cNvSpPr>
          <p:nvPr/>
        </p:nvSpPr>
        <p:spPr bwMode="auto">
          <a:xfrm>
            <a:off x="5712003" y="1772994"/>
            <a:ext cx="22988" cy="37422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81" name="Oval 7"/>
          <p:cNvSpPr>
            <a:spLocks noChangeArrowheads="1"/>
          </p:cNvSpPr>
          <p:nvPr/>
        </p:nvSpPr>
        <p:spPr bwMode="auto">
          <a:xfrm>
            <a:off x="5730842" y="179712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82" name="Oval 8"/>
          <p:cNvSpPr>
            <a:spLocks noChangeArrowheads="1"/>
          </p:cNvSpPr>
          <p:nvPr/>
        </p:nvSpPr>
        <p:spPr bwMode="auto">
          <a:xfrm>
            <a:off x="5725885" y="179712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83" name="Oval 9"/>
          <p:cNvSpPr>
            <a:spLocks noChangeArrowheads="1"/>
          </p:cNvSpPr>
          <p:nvPr/>
        </p:nvSpPr>
        <p:spPr bwMode="auto">
          <a:xfrm>
            <a:off x="5714797" y="179712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84" name="Oval 10"/>
          <p:cNvSpPr>
            <a:spLocks noChangeArrowheads="1"/>
          </p:cNvSpPr>
          <p:nvPr/>
        </p:nvSpPr>
        <p:spPr bwMode="auto">
          <a:xfrm>
            <a:off x="5728409" y="179712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85" name="Oval 11"/>
          <p:cNvSpPr>
            <a:spLocks noChangeArrowheads="1"/>
          </p:cNvSpPr>
          <p:nvPr/>
        </p:nvSpPr>
        <p:spPr bwMode="auto">
          <a:xfrm>
            <a:off x="5725885" y="177627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86" name="Oval 12"/>
          <p:cNvSpPr>
            <a:spLocks noChangeArrowheads="1"/>
          </p:cNvSpPr>
          <p:nvPr/>
        </p:nvSpPr>
        <p:spPr bwMode="auto">
          <a:xfrm>
            <a:off x="5728409" y="177627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87" name="Oval 13"/>
          <p:cNvSpPr>
            <a:spLocks noChangeArrowheads="1"/>
          </p:cNvSpPr>
          <p:nvPr/>
        </p:nvSpPr>
        <p:spPr bwMode="auto">
          <a:xfrm>
            <a:off x="5714797" y="178164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88" name="Oval 14"/>
          <p:cNvSpPr>
            <a:spLocks noChangeArrowheads="1"/>
          </p:cNvSpPr>
          <p:nvPr/>
        </p:nvSpPr>
        <p:spPr bwMode="auto">
          <a:xfrm>
            <a:off x="5730842" y="1786833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89" name="Oval 15"/>
          <p:cNvSpPr>
            <a:spLocks noChangeArrowheads="1"/>
          </p:cNvSpPr>
          <p:nvPr/>
        </p:nvSpPr>
        <p:spPr bwMode="auto">
          <a:xfrm>
            <a:off x="5728409" y="178164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90" name="Oval 16"/>
          <p:cNvSpPr>
            <a:spLocks noChangeArrowheads="1"/>
          </p:cNvSpPr>
          <p:nvPr/>
        </p:nvSpPr>
        <p:spPr bwMode="auto">
          <a:xfrm>
            <a:off x="5714797" y="177627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91" name="Oval 17"/>
          <p:cNvSpPr>
            <a:spLocks noChangeArrowheads="1"/>
          </p:cNvSpPr>
          <p:nvPr/>
        </p:nvSpPr>
        <p:spPr bwMode="auto">
          <a:xfrm>
            <a:off x="5725885" y="178164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92" name="Oval 18"/>
          <p:cNvSpPr>
            <a:spLocks noChangeArrowheads="1"/>
          </p:cNvSpPr>
          <p:nvPr/>
        </p:nvSpPr>
        <p:spPr bwMode="auto">
          <a:xfrm>
            <a:off x="5730842" y="178164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93" name="Oval 19"/>
          <p:cNvSpPr>
            <a:spLocks noChangeArrowheads="1"/>
          </p:cNvSpPr>
          <p:nvPr/>
        </p:nvSpPr>
        <p:spPr bwMode="auto">
          <a:xfrm>
            <a:off x="5728409" y="1786833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94" name="Oval 20"/>
          <p:cNvSpPr>
            <a:spLocks noChangeArrowheads="1"/>
          </p:cNvSpPr>
          <p:nvPr/>
        </p:nvSpPr>
        <p:spPr bwMode="auto">
          <a:xfrm>
            <a:off x="5730842" y="177627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95" name="Oval 21"/>
          <p:cNvSpPr>
            <a:spLocks noChangeArrowheads="1"/>
          </p:cNvSpPr>
          <p:nvPr/>
        </p:nvSpPr>
        <p:spPr bwMode="auto">
          <a:xfrm>
            <a:off x="5725885" y="179193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96" name="Oval 22"/>
          <p:cNvSpPr>
            <a:spLocks noChangeArrowheads="1"/>
          </p:cNvSpPr>
          <p:nvPr/>
        </p:nvSpPr>
        <p:spPr bwMode="auto">
          <a:xfrm>
            <a:off x="5714797" y="179193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97" name="Oval 23"/>
          <p:cNvSpPr>
            <a:spLocks noChangeArrowheads="1"/>
          </p:cNvSpPr>
          <p:nvPr/>
        </p:nvSpPr>
        <p:spPr bwMode="auto">
          <a:xfrm>
            <a:off x="5730842" y="179193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98" name="Oval 24"/>
          <p:cNvSpPr>
            <a:spLocks noChangeArrowheads="1"/>
          </p:cNvSpPr>
          <p:nvPr/>
        </p:nvSpPr>
        <p:spPr bwMode="auto">
          <a:xfrm>
            <a:off x="5728409" y="179193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599" name="Oval 25"/>
          <p:cNvSpPr>
            <a:spLocks noChangeArrowheads="1"/>
          </p:cNvSpPr>
          <p:nvPr/>
        </p:nvSpPr>
        <p:spPr bwMode="auto">
          <a:xfrm>
            <a:off x="5725885" y="1786833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00" name="Oval 26"/>
          <p:cNvSpPr>
            <a:spLocks noChangeArrowheads="1"/>
          </p:cNvSpPr>
          <p:nvPr/>
        </p:nvSpPr>
        <p:spPr bwMode="auto">
          <a:xfrm>
            <a:off x="5714797" y="1786833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13" name="Oval 3712"/>
          <p:cNvSpPr/>
          <p:nvPr/>
        </p:nvSpPr>
        <p:spPr>
          <a:xfrm>
            <a:off x="6075126" y="2436301"/>
            <a:ext cx="109997" cy="111125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3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86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29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72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14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58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999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43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50" dirty="0" smtClean="0">
              <a:solidFill>
                <a:srgbClr val="FFFFFF"/>
              </a:solidFill>
            </a:endParaRPr>
          </a:p>
        </p:txBody>
      </p:sp>
      <p:sp>
        <p:nvSpPr>
          <p:cNvPr id="3714" name="Oval 3713"/>
          <p:cNvSpPr/>
          <p:nvPr/>
        </p:nvSpPr>
        <p:spPr>
          <a:xfrm>
            <a:off x="6079143" y="2440769"/>
            <a:ext cx="101921" cy="102966"/>
          </a:xfrm>
          <a:prstGeom prst="ellipse">
            <a:avLst/>
          </a:prstGeom>
          <a:solidFill>
            <a:srgbClr val="57B84D"/>
          </a:soli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07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3DA649"/>
              </a:solidFill>
            </a:endParaRPr>
          </a:p>
        </p:txBody>
      </p:sp>
      <p:sp>
        <p:nvSpPr>
          <p:cNvPr id="3692" name="Freeform 6"/>
          <p:cNvSpPr>
            <a:spLocks noEditPoints="1"/>
          </p:cNvSpPr>
          <p:nvPr/>
        </p:nvSpPr>
        <p:spPr bwMode="auto">
          <a:xfrm>
            <a:off x="6115937" y="2468547"/>
            <a:ext cx="27657" cy="45021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93" name="Oval 7"/>
          <p:cNvSpPr>
            <a:spLocks noChangeArrowheads="1"/>
          </p:cNvSpPr>
          <p:nvPr/>
        </p:nvSpPr>
        <p:spPr bwMode="auto">
          <a:xfrm>
            <a:off x="6138602" y="2497574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94" name="Oval 8"/>
          <p:cNvSpPr>
            <a:spLocks noChangeArrowheads="1"/>
          </p:cNvSpPr>
          <p:nvPr/>
        </p:nvSpPr>
        <p:spPr bwMode="auto">
          <a:xfrm>
            <a:off x="6132639" y="2497574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95" name="Oval 9"/>
          <p:cNvSpPr>
            <a:spLocks noChangeArrowheads="1"/>
          </p:cNvSpPr>
          <p:nvPr/>
        </p:nvSpPr>
        <p:spPr bwMode="auto">
          <a:xfrm>
            <a:off x="6119298" y="2497574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96" name="Oval 10"/>
          <p:cNvSpPr>
            <a:spLocks noChangeArrowheads="1"/>
          </p:cNvSpPr>
          <p:nvPr/>
        </p:nvSpPr>
        <p:spPr bwMode="auto">
          <a:xfrm>
            <a:off x="6135676" y="2497574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97" name="Oval 11"/>
          <p:cNvSpPr>
            <a:spLocks noChangeArrowheads="1"/>
          </p:cNvSpPr>
          <p:nvPr/>
        </p:nvSpPr>
        <p:spPr bwMode="auto">
          <a:xfrm>
            <a:off x="6132639" y="2472490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98" name="Oval 12"/>
          <p:cNvSpPr>
            <a:spLocks noChangeArrowheads="1"/>
          </p:cNvSpPr>
          <p:nvPr/>
        </p:nvSpPr>
        <p:spPr bwMode="auto">
          <a:xfrm>
            <a:off x="6135676" y="2472490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99" name="Oval 13"/>
          <p:cNvSpPr>
            <a:spLocks noChangeArrowheads="1"/>
          </p:cNvSpPr>
          <p:nvPr/>
        </p:nvSpPr>
        <p:spPr bwMode="auto">
          <a:xfrm>
            <a:off x="6119298" y="2478953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00" name="Oval 14"/>
          <p:cNvSpPr>
            <a:spLocks noChangeArrowheads="1"/>
          </p:cNvSpPr>
          <p:nvPr/>
        </p:nvSpPr>
        <p:spPr bwMode="auto">
          <a:xfrm>
            <a:off x="6138602" y="2485197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01" name="Oval 15"/>
          <p:cNvSpPr>
            <a:spLocks noChangeArrowheads="1"/>
          </p:cNvSpPr>
          <p:nvPr/>
        </p:nvSpPr>
        <p:spPr bwMode="auto">
          <a:xfrm>
            <a:off x="6135676" y="2478953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02" name="Oval 16"/>
          <p:cNvSpPr>
            <a:spLocks noChangeArrowheads="1"/>
          </p:cNvSpPr>
          <p:nvPr/>
        </p:nvSpPr>
        <p:spPr bwMode="auto">
          <a:xfrm>
            <a:off x="6119298" y="2472490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03" name="Oval 17"/>
          <p:cNvSpPr>
            <a:spLocks noChangeArrowheads="1"/>
          </p:cNvSpPr>
          <p:nvPr/>
        </p:nvSpPr>
        <p:spPr bwMode="auto">
          <a:xfrm>
            <a:off x="6132639" y="2478953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04" name="Oval 18"/>
          <p:cNvSpPr>
            <a:spLocks noChangeArrowheads="1"/>
          </p:cNvSpPr>
          <p:nvPr/>
        </p:nvSpPr>
        <p:spPr bwMode="auto">
          <a:xfrm>
            <a:off x="6138602" y="2478953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05" name="Oval 19"/>
          <p:cNvSpPr>
            <a:spLocks noChangeArrowheads="1"/>
          </p:cNvSpPr>
          <p:nvPr/>
        </p:nvSpPr>
        <p:spPr bwMode="auto">
          <a:xfrm>
            <a:off x="6135676" y="2485197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06" name="Oval 20"/>
          <p:cNvSpPr>
            <a:spLocks noChangeArrowheads="1"/>
          </p:cNvSpPr>
          <p:nvPr/>
        </p:nvSpPr>
        <p:spPr bwMode="auto">
          <a:xfrm>
            <a:off x="6138602" y="2472490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07" name="Oval 21"/>
          <p:cNvSpPr>
            <a:spLocks noChangeArrowheads="1"/>
          </p:cNvSpPr>
          <p:nvPr/>
        </p:nvSpPr>
        <p:spPr bwMode="auto">
          <a:xfrm>
            <a:off x="6132639" y="2491331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08" name="Oval 22"/>
          <p:cNvSpPr>
            <a:spLocks noChangeArrowheads="1"/>
          </p:cNvSpPr>
          <p:nvPr/>
        </p:nvSpPr>
        <p:spPr bwMode="auto">
          <a:xfrm>
            <a:off x="6119298" y="2491331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09" name="Oval 23"/>
          <p:cNvSpPr>
            <a:spLocks noChangeArrowheads="1"/>
          </p:cNvSpPr>
          <p:nvPr/>
        </p:nvSpPr>
        <p:spPr bwMode="auto">
          <a:xfrm>
            <a:off x="6138602" y="2491331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10" name="Oval 24"/>
          <p:cNvSpPr>
            <a:spLocks noChangeArrowheads="1"/>
          </p:cNvSpPr>
          <p:nvPr/>
        </p:nvSpPr>
        <p:spPr bwMode="auto">
          <a:xfrm>
            <a:off x="6135676" y="2491331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11" name="Oval 25"/>
          <p:cNvSpPr>
            <a:spLocks noChangeArrowheads="1"/>
          </p:cNvSpPr>
          <p:nvPr/>
        </p:nvSpPr>
        <p:spPr bwMode="auto">
          <a:xfrm>
            <a:off x="6132639" y="2485197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12" name="Oval 26"/>
          <p:cNvSpPr>
            <a:spLocks noChangeArrowheads="1"/>
          </p:cNvSpPr>
          <p:nvPr/>
        </p:nvSpPr>
        <p:spPr bwMode="auto">
          <a:xfrm>
            <a:off x="6119298" y="2485197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71" name="Freeform 6"/>
          <p:cNvSpPr>
            <a:spLocks noEditPoints="1"/>
          </p:cNvSpPr>
          <p:nvPr/>
        </p:nvSpPr>
        <p:spPr bwMode="auto">
          <a:xfrm>
            <a:off x="6143418" y="2472772"/>
            <a:ext cx="22989" cy="37422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72" name="Oval 7"/>
          <p:cNvSpPr>
            <a:spLocks noChangeArrowheads="1"/>
          </p:cNvSpPr>
          <p:nvPr/>
        </p:nvSpPr>
        <p:spPr bwMode="auto">
          <a:xfrm>
            <a:off x="6160549" y="2496901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73" name="Oval 8"/>
          <p:cNvSpPr>
            <a:spLocks noChangeArrowheads="1"/>
          </p:cNvSpPr>
          <p:nvPr/>
        </p:nvSpPr>
        <p:spPr bwMode="auto">
          <a:xfrm>
            <a:off x="6155592" y="2496901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74" name="Oval 9"/>
          <p:cNvSpPr>
            <a:spLocks noChangeArrowheads="1"/>
          </p:cNvSpPr>
          <p:nvPr/>
        </p:nvSpPr>
        <p:spPr bwMode="auto">
          <a:xfrm>
            <a:off x="6144504" y="2496901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75" name="Oval 10"/>
          <p:cNvSpPr>
            <a:spLocks noChangeArrowheads="1"/>
          </p:cNvSpPr>
          <p:nvPr/>
        </p:nvSpPr>
        <p:spPr bwMode="auto">
          <a:xfrm>
            <a:off x="6158117" y="2496901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76" name="Oval 11"/>
          <p:cNvSpPr>
            <a:spLocks noChangeArrowheads="1"/>
          </p:cNvSpPr>
          <p:nvPr/>
        </p:nvSpPr>
        <p:spPr bwMode="auto">
          <a:xfrm>
            <a:off x="6155592" y="247605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77" name="Oval 12"/>
          <p:cNvSpPr>
            <a:spLocks noChangeArrowheads="1"/>
          </p:cNvSpPr>
          <p:nvPr/>
        </p:nvSpPr>
        <p:spPr bwMode="auto">
          <a:xfrm>
            <a:off x="6158117" y="247605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78" name="Oval 13"/>
          <p:cNvSpPr>
            <a:spLocks noChangeArrowheads="1"/>
          </p:cNvSpPr>
          <p:nvPr/>
        </p:nvSpPr>
        <p:spPr bwMode="auto">
          <a:xfrm>
            <a:off x="6144504" y="248142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79" name="Oval 14"/>
          <p:cNvSpPr>
            <a:spLocks noChangeArrowheads="1"/>
          </p:cNvSpPr>
          <p:nvPr/>
        </p:nvSpPr>
        <p:spPr bwMode="auto">
          <a:xfrm>
            <a:off x="6160549" y="248661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80" name="Oval 15"/>
          <p:cNvSpPr>
            <a:spLocks noChangeArrowheads="1"/>
          </p:cNvSpPr>
          <p:nvPr/>
        </p:nvSpPr>
        <p:spPr bwMode="auto">
          <a:xfrm>
            <a:off x="6158117" y="248142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81" name="Oval 16"/>
          <p:cNvSpPr>
            <a:spLocks noChangeArrowheads="1"/>
          </p:cNvSpPr>
          <p:nvPr/>
        </p:nvSpPr>
        <p:spPr bwMode="auto">
          <a:xfrm>
            <a:off x="6144504" y="247605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82" name="Oval 17"/>
          <p:cNvSpPr>
            <a:spLocks noChangeArrowheads="1"/>
          </p:cNvSpPr>
          <p:nvPr/>
        </p:nvSpPr>
        <p:spPr bwMode="auto">
          <a:xfrm>
            <a:off x="6155592" y="248142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83" name="Oval 18"/>
          <p:cNvSpPr>
            <a:spLocks noChangeArrowheads="1"/>
          </p:cNvSpPr>
          <p:nvPr/>
        </p:nvSpPr>
        <p:spPr bwMode="auto">
          <a:xfrm>
            <a:off x="6160549" y="248142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84" name="Oval 19"/>
          <p:cNvSpPr>
            <a:spLocks noChangeArrowheads="1"/>
          </p:cNvSpPr>
          <p:nvPr/>
        </p:nvSpPr>
        <p:spPr bwMode="auto">
          <a:xfrm>
            <a:off x="6158117" y="248661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85" name="Oval 20"/>
          <p:cNvSpPr>
            <a:spLocks noChangeArrowheads="1"/>
          </p:cNvSpPr>
          <p:nvPr/>
        </p:nvSpPr>
        <p:spPr bwMode="auto">
          <a:xfrm>
            <a:off x="6160549" y="247605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86" name="Oval 21"/>
          <p:cNvSpPr>
            <a:spLocks noChangeArrowheads="1"/>
          </p:cNvSpPr>
          <p:nvPr/>
        </p:nvSpPr>
        <p:spPr bwMode="auto">
          <a:xfrm>
            <a:off x="6155592" y="249171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87" name="Oval 22"/>
          <p:cNvSpPr>
            <a:spLocks noChangeArrowheads="1"/>
          </p:cNvSpPr>
          <p:nvPr/>
        </p:nvSpPr>
        <p:spPr bwMode="auto">
          <a:xfrm>
            <a:off x="6144504" y="249171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88" name="Oval 23"/>
          <p:cNvSpPr>
            <a:spLocks noChangeArrowheads="1"/>
          </p:cNvSpPr>
          <p:nvPr/>
        </p:nvSpPr>
        <p:spPr bwMode="auto">
          <a:xfrm>
            <a:off x="6160549" y="249171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89" name="Oval 24"/>
          <p:cNvSpPr>
            <a:spLocks noChangeArrowheads="1"/>
          </p:cNvSpPr>
          <p:nvPr/>
        </p:nvSpPr>
        <p:spPr bwMode="auto">
          <a:xfrm>
            <a:off x="6158117" y="249171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90" name="Oval 25"/>
          <p:cNvSpPr>
            <a:spLocks noChangeArrowheads="1"/>
          </p:cNvSpPr>
          <p:nvPr/>
        </p:nvSpPr>
        <p:spPr bwMode="auto">
          <a:xfrm>
            <a:off x="6155592" y="248661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91" name="Oval 26"/>
          <p:cNvSpPr>
            <a:spLocks noChangeArrowheads="1"/>
          </p:cNvSpPr>
          <p:nvPr/>
        </p:nvSpPr>
        <p:spPr bwMode="auto">
          <a:xfrm>
            <a:off x="6144504" y="248661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50" name="Freeform 6"/>
          <p:cNvSpPr>
            <a:spLocks noEditPoints="1"/>
          </p:cNvSpPr>
          <p:nvPr/>
        </p:nvSpPr>
        <p:spPr bwMode="auto">
          <a:xfrm>
            <a:off x="6093407" y="2472772"/>
            <a:ext cx="22988" cy="37422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51" name="Oval 7"/>
          <p:cNvSpPr>
            <a:spLocks noChangeArrowheads="1"/>
          </p:cNvSpPr>
          <p:nvPr/>
        </p:nvSpPr>
        <p:spPr bwMode="auto">
          <a:xfrm>
            <a:off x="6112247" y="2496901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52" name="Oval 8"/>
          <p:cNvSpPr>
            <a:spLocks noChangeArrowheads="1"/>
          </p:cNvSpPr>
          <p:nvPr/>
        </p:nvSpPr>
        <p:spPr bwMode="auto">
          <a:xfrm>
            <a:off x="6107290" y="2496901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53" name="Oval 9"/>
          <p:cNvSpPr>
            <a:spLocks noChangeArrowheads="1"/>
          </p:cNvSpPr>
          <p:nvPr/>
        </p:nvSpPr>
        <p:spPr bwMode="auto">
          <a:xfrm>
            <a:off x="6096202" y="2496901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54" name="Oval 10"/>
          <p:cNvSpPr>
            <a:spLocks noChangeArrowheads="1"/>
          </p:cNvSpPr>
          <p:nvPr/>
        </p:nvSpPr>
        <p:spPr bwMode="auto">
          <a:xfrm>
            <a:off x="6109814" y="2496901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55" name="Oval 11"/>
          <p:cNvSpPr>
            <a:spLocks noChangeArrowheads="1"/>
          </p:cNvSpPr>
          <p:nvPr/>
        </p:nvSpPr>
        <p:spPr bwMode="auto">
          <a:xfrm>
            <a:off x="6107290" y="247605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56" name="Oval 12"/>
          <p:cNvSpPr>
            <a:spLocks noChangeArrowheads="1"/>
          </p:cNvSpPr>
          <p:nvPr/>
        </p:nvSpPr>
        <p:spPr bwMode="auto">
          <a:xfrm>
            <a:off x="6109814" y="247605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57" name="Oval 13"/>
          <p:cNvSpPr>
            <a:spLocks noChangeArrowheads="1"/>
          </p:cNvSpPr>
          <p:nvPr/>
        </p:nvSpPr>
        <p:spPr bwMode="auto">
          <a:xfrm>
            <a:off x="6096202" y="248142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58" name="Oval 14"/>
          <p:cNvSpPr>
            <a:spLocks noChangeArrowheads="1"/>
          </p:cNvSpPr>
          <p:nvPr/>
        </p:nvSpPr>
        <p:spPr bwMode="auto">
          <a:xfrm>
            <a:off x="6112247" y="248661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59" name="Oval 15"/>
          <p:cNvSpPr>
            <a:spLocks noChangeArrowheads="1"/>
          </p:cNvSpPr>
          <p:nvPr/>
        </p:nvSpPr>
        <p:spPr bwMode="auto">
          <a:xfrm>
            <a:off x="6109814" y="248142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60" name="Oval 16"/>
          <p:cNvSpPr>
            <a:spLocks noChangeArrowheads="1"/>
          </p:cNvSpPr>
          <p:nvPr/>
        </p:nvSpPr>
        <p:spPr bwMode="auto">
          <a:xfrm>
            <a:off x="6096202" y="247605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61" name="Oval 17"/>
          <p:cNvSpPr>
            <a:spLocks noChangeArrowheads="1"/>
          </p:cNvSpPr>
          <p:nvPr/>
        </p:nvSpPr>
        <p:spPr bwMode="auto">
          <a:xfrm>
            <a:off x="6107290" y="248142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62" name="Oval 18"/>
          <p:cNvSpPr>
            <a:spLocks noChangeArrowheads="1"/>
          </p:cNvSpPr>
          <p:nvPr/>
        </p:nvSpPr>
        <p:spPr bwMode="auto">
          <a:xfrm>
            <a:off x="6112247" y="248142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63" name="Oval 19"/>
          <p:cNvSpPr>
            <a:spLocks noChangeArrowheads="1"/>
          </p:cNvSpPr>
          <p:nvPr/>
        </p:nvSpPr>
        <p:spPr bwMode="auto">
          <a:xfrm>
            <a:off x="6109814" y="248661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64" name="Oval 20"/>
          <p:cNvSpPr>
            <a:spLocks noChangeArrowheads="1"/>
          </p:cNvSpPr>
          <p:nvPr/>
        </p:nvSpPr>
        <p:spPr bwMode="auto">
          <a:xfrm>
            <a:off x="6112247" y="247605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65" name="Oval 21"/>
          <p:cNvSpPr>
            <a:spLocks noChangeArrowheads="1"/>
          </p:cNvSpPr>
          <p:nvPr/>
        </p:nvSpPr>
        <p:spPr bwMode="auto">
          <a:xfrm>
            <a:off x="6107290" y="249171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66" name="Oval 22"/>
          <p:cNvSpPr>
            <a:spLocks noChangeArrowheads="1"/>
          </p:cNvSpPr>
          <p:nvPr/>
        </p:nvSpPr>
        <p:spPr bwMode="auto">
          <a:xfrm>
            <a:off x="6096202" y="249171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67" name="Oval 23"/>
          <p:cNvSpPr>
            <a:spLocks noChangeArrowheads="1"/>
          </p:cNvSpPr>
          <p:nvPr/>
        </p:nvSpPr>
        <p:spPr bwMode="auto">
          <a:xfrm>
            <a:off x="6112247" y="249171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68" name="Oval 24"/>
          <p:cNvSpPr>
            <a:spLocks noChangeArrowheads="1"/>
          </p:cNvSpPr>
          <p:nvPr/>
        </p:nvSpPr>
        <p:spPr bwMode="auto">
          <a:xfrm>
            <a:off x="6109814" y="249171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69" name="Oval 25"/>
          <p:cNvSpPr>
            <a:spLocks noChangeArrowheads="1"/>
          </p:cNvSpPr>
          <p:nvPr/>
        </p:nvSpPr>
        <p:spPr bwMode="auto">
          <a:xfrm>
            <a:off x="6107290" y="248661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670" name="Oval 26"/>
          <p:cNvSpPr>
            <a:spLocks noChangeArrowheads="1"/>
          </p:cNvSpPr>
          <p:nvPr/>
        </p:nvSpPr>
        <p:spPr bwMode="auto">
          <a:xfrm>
            <a:off x="6096202" y="248661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53" name="Oval 3852"/>
          <p:cNvSpPr/>
          <p:nvPr/>
        </p:nvSpPr>
        <p:spPr>
          <a:xfrm>
            <a:off x="5975889" y="1982196"/>
            <a:ext cx="109997" cy="111125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3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86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29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72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14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58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999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43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50" dirty="0" smtClean="0">
              <a:solidFill>
                <a:srgbClr val="FFFFFF"/>
              </a:solidFill>
            </a:endParaRPr>
          </a:p>
        </p:txBody>
      </p:sp>
      <p:sp>
        <p:nvSpPr>
          <p:cNvPr id="3854" name="Oval 3853"/>
          <p:cNvSpPr/>
          <p:nvPr/>
        </p:nvSpPr>
        <p:spPr>
          <a:xfrm>
            <a:off x="5979906" y="1986664"/>
            <a:ext cx="101921" cy="102966"/>
          </a:xfrm>
          <a:prstGeom prst="ellipse">
            <a:avLst/>
          </a:prstGeom>
          <a:solidFill>
            <a:srgbClr val="57B84D"/>
          </a:soli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07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3DA649"/>
              </a:solidFill>
            </a:endParaRPr>
          </a:p>
        </p:txBody>
      </p:sp>
      <p:sp>
        <p:nvSpPr>
          <p:cNvPr id="3832" name="Freeform 6"/>
          <p:cNvSpPr>
            <a:spLocks noEditPoints="1"/>
          </p:cNvSpPr>
          <p:nvPr/>
        </p:nvSpPr>
        <p:spPr bwMode="auto">
          <a:xfrm>
            <a:off x="6016700" y="2014442"/>
            <a:ext cx="27657" cy="45021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33" name="Oval 7"/>
          <p:cNvSpPr>
            <a:spLocks noChangeArrowheads="1"/>
          </p:cNvSpPr>
          <p:nvPr/>
        </p:nvSpPr>
        <p:spPr bwMode="auto">
          <a:xfrm>
            <a:off x="6039365" y="2043469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34" name="Oval 8"/>
          <p:cNvSpPr>
            <a:spLocks noChangeArrowheads="1"/>
          </p:cNvSpPr>
          <p:nvPr/>
        </p:nvSpPr>
        <p:spPr bwMode="auto">
          <a:xfrm>
            <a:off x="6033401" y="2043469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35" name="Oval 9"/>
          <p:cNvSpPr>
            <a:spLocks noChangeArrowheads="1"/>
          </p:cNvSpPr>
          <p:nvPr/>
        </p:nvSpPr>
        <p:spPr bwMode="auto">
          <a:xfrm>
            <a:off x="6020061" y="2043469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36" name="Oval 10"/>
          <p:cNvSpPr>
            <a:spLocks noChangeArrowheads="1"/>
          </p:cNvSpPr>
          <p:nvPr/>
        </p:nvSpPr>
        <p:spPr bwMode="auto">
          <a:xfrm>
            <a:off x="6036438" y="2043469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37" name="Oval 11"/>
          <p:cNvSpPr>
            <a:spLocks noChangeArrowheads="1"/>
          </p:cNvSpPr>
          <p:nvPr/>
        </p:nvSpPr>
        <p:spPr bwMode="auto">
          <a:xfrm>
            <a:off x="6033401" y="2018385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38" name="Oval 12"/>
          <p:cNvSpPr>
            <a:spLocks noChangeArrowheads="1"/>
          </p:cNvSpPr>
          <p:nvPr/>
        </p:nvSpPr>
        <p:spPr bwMode="auto">
          <a:xfrm>
            <a:off x="6036438" y="2018385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39" name="Oval 13"/>
          <p:cNvSpPr>
            <a:spLocks noChangeArrowheads="1"/>
          </p:cNvSpPr>
          <p:nvPr/>
        </p:nvSpPr>
        <p:spPr bwMode="auto">
          <a:xfrm>
            <a:off x="6020061" y="202484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40" name="Oval 14"/>
          <p:cNvSpPr>
            <a:spLocks noChangeArrowheads="1"/>
          </p:cNvSpPr>
          <p:nvPr/>
        </p:nvSpPr>
        <p:spPr bwMode="auto">
          <a:xfrm>
            <a:off x="6039365" y="203109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41" name="Oval 15"/>
          <p:cNvSpPr>
            <a:spLocks noChangeArrowheads="1"/>
          </p:cNvSpPr>
          <p:nvPr/>
        </p:nvSpPr>
        <p:spPr bwMode="auto">
          <a:xfrm>
            <a:off x="6036438" y="202484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42" name="Oval 16"/>
          <p:cNvSpPr>
            <a:spLocks noChangeArrowheads="1"/>
          </p:cNvSpPr>
          <p:nvPr/>
        </p:nvSpPr>
        <p:spPr bwMode="auto">
          <a:xfrm>
            <a:off x="6020061" y="2018385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43" name="Oval 17"/>
          <p:cNvSpPr>
            <a:spLocks noChangeArrowheads="1"/>
          </p:cNvSpPr>
          <p:nvPr/>
        </p:nvSpPr>
        <p:spPr bwMode="auto">
          <a:xfrm>
            <a:off x="6033401" y="202484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44" name="Oval 18"/>
          <p:cNvSpPr>
            <a:spLocks noChangeArrowheads="1"/>
          </p:cNvSpPr>
          <p:nvPr/>
        </p:nvSpPr>
        <p:spPr bwMode="auto">
          <a:xfrm>
            <a:off x="6039365" y="202484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45" name="Oval 19"/>
          <p:cNvSpPr>
            <a:spLocks noChangeArrowheads="1"/>
          </p:cNvSpPr>
          <p:nvPr/>
        </p:nvSpPr>
        <p:spPr bwMode="auto">
          <a:xfrm>
            <a:off x="6036438" y="203109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46" name="Oval 20"/>
          <p:cNvSpPr>
            <a:spLocks noChangeArrowheads="1"/>
          </p:cNvSpPr>
          <p:nvPr/>
        </p:nvSpPr>
        <p:spPr bwMode="auto">
          <a:xfrm>
            <a:off x="6039365" y="2018385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47" name="Oval 21"/>
          <p:cNvSpPr>
            <a:spLocks noChangeArrowheads="1"/>
          </p:cNvSpPr>
          <p:nvPr/>
        </p:nvSpPr>
        <p:spPr bwMode="auto">
          <a:xfrm>
            <a:off x="6033401" y="2037226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48" name="Oval 22"/>
          <p:cNvSpPr>
            <a:spLocks noChangeArrowheads="1"/>
          </p:cNvSpPr>
          <p:nvPr/>
        </p:nvSpPr>
        <p:spPr bwMode="auto">
          <a:xfrm>
            <a:off x="6020061" y="2037226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49" name="Oval 23"/>
          <p:cNvSpPr>
            <a:spLocks noChangeArrowheads="1"/>
          </p:cNvSpPr>
          <p:nvPr/>
        </p:nvSpPr>
        <p:spPr bwMode="auto">
          <a:xfrm>
            <a:off x="6039365" y="2037226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50" name="Oval 24"/>
          <p:cNvSpPr>
            <a:spLocks noChangeArrowheads="1"/>
          </p:cNvSpPr>
          <p:nvPr/>
        </p:nvSpPr>
        <p:spPr bwMode="auto">
          <a:xfrm>
            <a:off x="6036438" y="2037226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51" name="Oval 25"/>
          <p:cNvSpPr>
            <a:spLocks noChangeArrowheads="1"/>
          </p:cNvSpPr>
          <p:nvPr/>
        </p:nvSpPr>
        <p:spPr bwMode="auto">
          <a:xfrm>
            <a:off x="6033401" y="203109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52" name="Oval 26"/>
          <p:cNvSpPr>
            <a:spLocks noChangeArrowheads="1"/>
          </p:cNvSpPr>
          <p:nvPr/>
        </p:nvSpPr>
        <p:spPr bwMode="auto">
          <a:xfrm>
            <a:off x="6020061" y="203109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11" name="Freeform 6"/>
          <p:cNvSpPr>
            <a:spLocks noEditPoints="1"/>
          </p:cNvSpPr>
          <p:nvPr/>
        </p:nvSpPr>
        <p:spPr bwMode="auto">
          <a:xfrm>
            <a:off x="6044181" y="2018667"/>
            <a:ext cx="22989" cy="37422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12" name="Oval 7"/>
          <p:cNvSpPr>
            <a:spLocks noChangeArrowheads="1"/>
          </p:cNvSpPr>
          <p:nvPr/>
        </p:nvSpPr>
        <p:spPr bwMode="auto">
          <a:xfrm>
            <a:off x="6061312" y="204279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13" name="Oval 8"/>
          <p:cNvSpPr>
            <a:spLocks noChangeArrowheads="1"/>
          </p:cNvSpPr>
          <p:nvPr/>
        </p:nvSpPr>
        <p:spPr bwMode="auto">
          <a:xfrm>
            <a:off x="6056355" y="204279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14" name="Oval 9"/>
          <p:cNvSpPr>
            <a:spLocks noChangeArrowheads="1"/>
          </p:cNvSpPr>
          <p:nvPr/>
        </p:nvSpPr>
        <p:spPr bwMode="auto">
          <a:xfrm>
            <a:off x="6045267" y="204279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15" name="Oval 10"/>
          <p:cNvSpPr>
            <a:spLocks noChangeArrowheads="1"/>
          </p:cNvSpPr>
          <p:nvPr/>
        </p:nvSpPr>
        <p:spPr bwMode="auto">
          <a:xfrm>
            <a:off x="6058880" y="204279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16" name="Oval 11"/>
          <p:cNvSpPr>
            <a:spLocks noChangeArrowheads="1"/>
          </p:cNvSpPr>
          <p:nvPr/>
        </p:nvSpPr>
        <p:spPr bwMode="auto">
          <a:xfrm>
            <a:off x="6056355" y="202194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17" name="Oval 12"/>
          <p:cNvSpPr>
            <a:spLocks noChangeArrowheads="1"/>
          </p:cNvSpPr>
          <p:nvPr/>
        </p:nvSpPr>
        <p:spPr bwMode="auto">
          <a:xfrm>
            <a:off x="6058880" y="202194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18" name="Oval 13"/>
          <p:cNvSpPr>
            <a:spLocks noChangeArrowheads="1"/>
          </p:cNvSpPr>
          <p:nvPr/>
        </p:nvSpPr>
        <p:spPr bwMode="auto">
          <a:xfrm>
            <a:off x="6045267" y="2027317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19" name="Oval 14"/>
          <p:cNvSpPr>
            <a:spLocks noChangeArrowheads="1"/>
          </p:cNvSpPr>
          <p:nvPr/>
        </p:nvSpPr>
        <p:spPr bwMode="auto">
          <a:xfrm>
            <a:off x="6061312" y="2032507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20" name="Oval 15"/>
          <p:cNvSpPr>
            <a:spLocks noChangeArrowheads="1"/>
          </p:cNvSpPr>
          <p:nvPr/>
        </p:nvSpPr>
        <p:spPr bwMode="auto">
          <a:xfrm>
            <a:off x="6058880" y="2027317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21" name="Oval 16"/>
          <p:cNvSpPr>
            <a:spLocks noChangeArrowheads="1"/>
          </p:cNvSpPr>
          <p:nvPr/>
        </p:nvSpPr>
        <p:spPr bwMode="auto">
          <a:xfrm>
            <a:off x="6045267" y="202194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22" name="Oval 17"/>
          <p:cNvSpPr>
            <a:spLocks noChangeArrowheads="1"/>
          </p:cNvSpPr>
          <p:nvPr/>
        </p:nvSpPr>
        <p:spPr bwMode="auto">
          <a:xfrm>
            <a:off x="6056355" y="2027317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23" name="Oval 18"/>
          <p:cNvSpPr>
            <a:spLocks noChangeArrowheads="1"/>
          </p:cNvSpPr>
          <p:nvPr/>
        </p:nvSpPr>
        <p:spPr bwMode="auto">
          <a:xfrm>
            <a:off x="6061312" y="2027317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24" name="Oval 19"/>
          <p:cNvSpPr>
            <a:spLocks noChangeArrowheads="1"/>
          </p:cNvSpPr>
          <p:nvPr/>
        </p:nvSpPr>
        <p:spPr bwMode="auto">
          <a:xfrm>
            <a:off x="6058880" y="2032507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25" name="Oval 20"/>
          <p:cNvSpPr>
            <a:spLocks noChangeArrowheads="1"/>
          </p:cNvSpPr>
          <p:nvPr/>
        </p:nvSpPr>
        <p:spPr bwMode="auto">
          <a:xfrm>
            <a:off x="6061312" y="202194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26" name="Oval 21"/>
          <p:cNvSpPr>
            <a:spLocks noChangeArrowheads="1"/>
          </p:cNvSpPr>
          <p:nvPr/>
        </p:nvSpPr>
        <p:spPr bwMode="auto">
          <a:xfrm>
            <a:off x="6056355" y="203760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27" name="Oval 22"/>
          <p:cNvSpPr>
            <a:spLocks noChangeArrowheads="1"/>
          </p:cNvSpPr>
          <p:nvPr/>
        </p:nvSpPr>
        <p:spPr bwMode="auto">
          <a:xfrm>
            <a:off x="6045267" y="203760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28" name="Oval 23"/>
          <p:cNvSpPr>
            <a:spLocks noChangeArrowheads="1"/>
          </p:cNvSpPr>
          <p:nvPr/>
        </p:nvSpPr>
        <p:spPr bwMode="auto">
          <a:xfrm>
            <a:off x="6061312" y="203760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29" name="Oval 24"/>
          <p:cNvSpPr>
            <a:spLocks noChangeArrowheads="1"/>
          </p:cNvSpPr>
          <p:nvPr/>
        </p:nvSpPr>
        <p:spPr bwMode="auto">
          <a:xfrm>
            <a:off x="6058880" y="203760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30" name="Oval 25"/>
          <p:cNvSpPr>
            <a:spLocks noChangeArrowheads="1"/>
          </p:cNvSpPr>
          <p:nvPr/>
        </p:nvSpPr>
        <p:spPr bwMode="auto">
          <a:xfrm>
            <a:off x="6056355" y="2032507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31" name="Oval 26"/>
          <p:cNvSpPr>
            <a:spLocks noChangeArrowheads="1"/>
          </p:cNvSpPr>
          <p:nvPr/>
        </p:nvSpPr>
        <p:spPr bwMode="auto">
          <a:xfrm>
            <a:off x="6045267" y="2032507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90" name="Freeform 6"/>
          <p:cNvSpPr>
            <a:spLocks noEditPoints="1"/>
          </p:cNvSpPr>
          <p:nvPr/>
        </p:nvSpPr>
        <p:spPr bwMode="auto">
          <a:xfrm>
            <a:off x="5994170" y="2018667"/>
            <a:ext cx="22988" cy="37422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91" name="Oval 7"/>
          <p:cNvSpPr>
            <a:spLocks noChangeArrowheads="1"/>
          </p:cNvSpPr>
          <p:nvPr/>
        </p:nvSpPr>
        <p:spPr bwMode="auto">
          <a:xfrm>
            <a:off x="6013010" y="204279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92" name="Oval 8"/>
          <p:cNvSpPr>
            <a:spLocks noChangeArrowheads="1"/>
          </p:cNvSpPr>
          <p:nvPr/>
        </p:nvSpPr>
        <p:spPr bwMode="auto">
          <a:xfrm>
            <a:off x="6008053" y="204279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93" name="Oval 9"/>
          <p:cNvSpPr>
            <a:spLocks noChangeArrowheads="1"/>
          </p:cNvSpPr>
          <p:nvPr/>
        </p:nvSpPr>
        <p:spPr bwMode="auto">
          <a:xfrm>
            <a:off x="5996965" y="204279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94" name="Oval 10"/>
          <p:cNvSpPr>
            <a:spLocks noChangeArrowheads="1"/>
          </p:cNvSpPr>
          <p:nvPr/>
        </p:nvSpPr>
        <p:spPr bwMode="auto">
          <a:xfrm>
            <a:off x="6010577" y="204279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95" name="Oval 11"/>
          <p:cNvSpPr>
            <a:spLocks noChangeArrowheads="1"/>
          </p:cNvSpPr>
          <p:nvPr/>
        </p:nvSpPr>
        <p:spPr bwMode="auto">
          <a:xfrm>
            <a:off x="6008053" y="202194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96" name="Oval 12"/>
          <p:cNvSpPr>
            <a:spLocks noChangeArrowheads="1"/>
          </p:cNvSpPr>
          <p:nvPr/>
        </p:nvSpPr>
        <p:spPr bwMode="auto">
          <a:xfrm>
            <a:off x="6010577" y="202194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97" name="Oval 13"/>
          <p:cNvSpPr>
            <a:spLocks noChangeArrowheads="1"/>
          </p:cNvSpPr>
          <p:nvPr/>
        </p:nvSpPr>
        <p:spPr bwMode="auto">
          <a:xfrm>
            <a:off x="5996965" y="2027317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98" name="Oval 14"/>
          <p:cNvSpPr>
            <a:spLocks noChangeArrowheads="1"/>
          </p:cNvSpPr>
          <p:nvPr/>
        </p:nvSpPr>
        <p:spPr bwMode="auto">
          <a:xfrm>
            <a:off x="6013010" y="2032507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799" name="Oval 15"/>
          <p:cNvSpPr>
            <a:spLocks noChangeArrowheads="1"/>
          </p:cNvSpPr>
          <p:nvPr/>
        </p:nvSpPr>
        <p:spPr bwMode="auto">
          <a:xfrm>
            <a:off x="6010577" y="2027317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00" name="Oval 16"/>
          <p:cNvSpPr>
            <a:spLocks noChangeArrowheads="1"/>
          </p:cNvSpPr>
          <p:nvPr/>
        </p:nvSpPr>
        <p:spPr bwMode="auto">
          <a:xfrm>
            <a:off x="5996965" y="202194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01" name="Oval 17"/>
          <p:cNvSpPr>
            <a:spLocks noChangeArrowheads="1"/>
          </p:cNvSpPr>
          <p:nvPr/>
        </p:nvSpPr>
        <p:spPr bwMode="auto">
          <a:xfrm>
            <a:off x="6008053" y="2027317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02" name="Oval 18"/>
          <p:cNvSpPr>
            <a:spLocks noChangeArrowheads="1"/>
          </p:cNvSpPr>
          <p:nvPr/>
        </p:nvSpPr>
        <p:spPr bwMode="auto">
          <a:xfrm>
            <a:off x="6013010" y="2027317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03" name="Oval 19"/>
          <p:cNvSpPr>
            <a:spLocks noChangeArrowheads="1"/>
          </p:cNvSpPr>
          <p:nvPr/>
        </p:nvSpPr>
        <p:spPr bwMode="auto">
          <a:xfrm>
            <a:off x="6010577" y="2032507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04" name="Oval 20"/>
          <p:cNvSpPr>
            <a:spLocks noChangeArrowheads="1"/>
          </p:cNvSpPr>
          <p:nvPr/>
        </p:nvSpPr>
        <p:spPr bwMode="auto">
          <a:xfrm>
            <a:off x="6013010" y="202194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05" name="Oval 21"/>
          <p:cNvSpPr>
            <a:spLocks noChangeArrowheads="1"/>
          </p:cNvSpPr>
          <p:nvPr/>
        </p:nvSpPr>
        <p:spPr bwMode="auto">
          <a:xfrm>
            <a:off x="6008053" y="203760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06" name="Oval 22"/>
          <p:cNvSpPr>
            <a:spLocks noChangeArrowheads="1"/>
          </p:cNvSpPr>
          <p:nvPr/>
        </p:nvSpPr>
        <p:spPr bwMode="auto">
          <a:xfrm>
            <a:off x="5996965" y="203760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07" name="Oval 23"/>
          <p:cNvSpPr>
            <a:spLocks noChangeArrowheads="1"/>
          </p:cNvSpPr>
          <p:nvPr/>
        </p:nvSpPr>
        <p:spPr bwMode="auto">
          <a:xfrm>
            <a:off x="6013010" y="203760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08" name="Oval 24"/>
          <p:cNvSpPr>
            <a:spLocks noChangeArrowheads="1"/>
          </p:cNvSpPr>
          <p:nvPr/>
        </p:nvSpPr>
        <p:spPr bwMode="auto">
          <a:xfrm>
            <a:off x="6010577" y="2037605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09" name="Oval 25"/>
          <p:cNvSpPr>
            <a:spLocks noChangeArrowheads="1"/>
          </p:cNvSpPr>
          <p:nvPr/>
        </p:nvSpPr>
        <p:spPr bwMode="auto">
          <a:xfrm>
            <a:off x="6008053" y="2032507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10" name="Oval 26"/>
          <p:cNvSpPr>
            <a:spLocks noChangeArrowheads="1"/>
          </p:cNvSpPr>
          <p:nvPr/>
        </p:nvSpPr>
        <p:spPr bwMode="auto">
          <a:xfrm>
            <a:off x="5996965" y="2032507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23" name="Oval 3922"/>
          <p:cNvSpPr/>
          <p:nvPr/>
        </p:nvSpPr>
        <p:spPr>
          <a:xfrm>
            <a:off x="5143792" y="2496901"/>
            <a:ext cx="109997" cy="111125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3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86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29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72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14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58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999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43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50" dirty="0" smtClean="0">
              <a:solidFill>
                <a:srgbClr val="FFFFFF"/>
              </a:solidFill>
            </a:endParaRPr>
          </a:p>
        </p:txBody>
      </p:sp>
      <p:sp>
        <p:nvSpPr>
          <p:cNvPr id="3924" name="Oval 3923"/>
          <p:cNvSpPr/>
          <p:nvPr/>
        </p:nvSpPr>
        <p:spPr>
          <a:xfrm>
            <a:off x="5147809" y="2501369"/>
            <a:ext cx="101921" cy="102966"/>
          </a:xfrm>
          <a:prstGeom prst="ellipse">
            <a:avLst/>
          </a:prstGeom>
          <a:solidFill>
            <a:srgbClr val="57B84D"/>
          </a:soli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07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3DA649"/>
              </a:solidFill>
            </a:endParaRPr>
          </a:p>
        </p:txBody>
      </p:sp>
      <p:sp>
        <p:nvSpPr>
          <p:cNvPr id="3902" name="Freeform 6"/>
          <p:cNvSpPr>
            <a:spLocks noEditPoints="1"/>
          </p:cNvSpPr>
          <p:nvPr/>
        </p:nvSpPr>
        <p:spPr bwMode="auto">
          <a:xfrm>
            <a:off x="5184602" y="2529146"/>
            <a:ext cx="27657" cy="45021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03" name="Oval 7"/>
          <p:cNvSpPr>
            <a:spLocks noChangeArrowheads="1"/>
          </p:cNvSpPr>
          <p:nvPr/>
        </p:nvSpPr>
        <p:spPr bwMode="auto">
          <a:xfrm>
            <a:off x="5207268" y="2558174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04" name="Oval 8"/>
          <p:cNvSpPr>
            <a:spLocks noChangeArrowheads="1"/>
          </p:cNvSpPr>
          <p:nvPr/>
        </p:nvSpPr>
        <p:spPr bwMode="auto">
          <a:xfrm>
            <a:off x="5201304" y="2558174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05" name="Oval 9"/>
          <p:cNvSpPr>
            <a:spLocks noChangeArrowheads="1"/>
          </p:cNvSpPr>
          <p:nvPr/>
        </p:nvSpPr>
        <p:spPr bwMode="auto">
          <a:xfrm>
            <a:off x="5187964" y="2558174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06" name="Oval 10"/>
          <p:cNvSpPr>
            <a:spLocks noChangeArrowheads="1"/>
          </p:cNvSpPr>
          <p:nvPr/>
        </p:nvSpPr>
        <p:spPr bwMode="auto">
          <a:xfrm>
            <a:off x="5204341" y="2558174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07" name="Oval 11"/>
          <p:cNvSpPr>
            <a:spLocks noChangeArrowheads="1"/>
          </p:cNvSpPr>
          <p:nvPr/>
        </p:nvSpPr>
        <p:spPr bwMode="auto">
          <a:xfrm>
            <a:off x="5201304" y="2533090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08" name="Oval 12"/>
          <p:cNvSpPr>
            <a:spLocks noChangeArrowheads="1"/>
          </p:cNvSpPr>
          <p:nvPr/>
        </p:nvSpPr>
        <p:spPr bwMode="auto">
          <a:xfrm>
            <a:off x="5204341" y="2533090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09" name="Oval 13"/>
          <p:cNvSpPr>
            <a:spLocks noChangeArrowheads="1"/>
          </p:cNvSpPr>
          <p:nvPr/>
        </p:nvSpPr>
        <p:spPr bwMode="auto">
          <a:xfrm>
            <a:off x="5187964" y="253955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10" name="Oval 14"/>
          <p:cNvSpPr>
            <a:spLocks noChangeArrowheads="1"/>
          </p:cNvSpPr>
          <p:nvPr/>
        </p:nvSpPr>
        <p:spPr bwMode="auto">
          <a:xfrm>
            <a:off x="5207268" y="2545796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11" name="Oval 15"/>
          <p:cNvSpPr>
            <a:spLocks noChangeArrowheads="1"/>
          </p:cNvSpPr>
          <p:nvPr/>
        </p:nvSpPr>
        <p:spPr bwMode="auto">
          <a:xfrm>
            <a:off x="5204341" y="253955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12" name="Oval 16"/>
          <p:cNvSpPr>
            <a:spLocks noChangeArrowheads="1"/>
          </p:cNvSpPr>
          <p:nvPr/>
        </p:nvSpPr>
        <p:spPr bwMode="auto">
          <a:xfrm>
            <a:off x="5187964" y="2533090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13" name="Oval 17"/>
          <p:cNvSpPr>
            <a:spLocks noChangeArrowheads="1"/>
          </p:cNvSpPr>
          <p:nvPr/>
        </p:nvSpPr>
        <p:spPr bwMode="auto">
          <a:xfrm>
            <a:off x="5201304" y="253955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14" name="Oval 18"/>
          <p:cNvSpPr>
            <a:spLocks noChangeArrowheads="1"/>
          </p:cNvSpPr>
          <p:nvPr/>
        </p:nvSpPr>
        <p:spPr bwMode="auto">
          <a:xfrm>
            <a:off x="5207268" y="253955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15" name="Oval 19"/>
          <p:cNvSpPr>
            <a:spLocks noChangeArrowheads="1"/>
          </p:cNvSpPr>
          <p:nvPr/>
        </p:nvSpPr>
        <p:spPr bwMode="auto">
          <a:xfrm>
            <a:off x="5204341" y="2545796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16" name="Oval 20"/>
          <p:cNvSpPr>
            <a:spLocks noChangeArrowheads="1"/>
          </p:cNvSpPr>
          <p:nvPr/>
        </p:nvSpPr>
        <p:spPr bwMode="auto">
          <a:xfrm>
            <a:off x="5207268" y="2533090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17" name="Oval 21"/>
          <p:cNvSpPr>
            <a:spLocks noChangeArrowheads="1"/>
          </p:cNvSpPr>
          <p:nvPr/>
        </p:nvSpPr>
        <p:spPr bwMode="auto">
          <a:xfrm>
            <a:off x="5201304" y="2551931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18" name="Oval 22"/>
          <p:cNvSpPr>
            <a:spLocks noChangeArrowheads="1"/>
          </p:cNvSpPr>
          <p:nvPr/>
        </p:nvSpPr>
        <p:spPr bwMode="auto">
          <a:xfrm>
            <a:off x="5187964" y="2551931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19" name="Oval 23"/>
          <p:cNvSpPr>
            <a:spLocks noChangeArrowheads="1"/>
          </p:cNvSpPr>
          <p:nvPr/>
        </p:nvSpPr>
        <p:spPr bwMode="auto">
          <a:xfrm>
            <a:off x="5207268" y="2551931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20" name="Oval 24"/>
          <p:cNvSpPr>
            <a:spLocks noChangeArrowheads="1"/>
          </p:cNvSpPr>
          <p:nvPr/>
        </p:nvSpPr>
        <p:spPr bwMode="auto">
          <a:xfrm>
            <a:off x="5204341" y="2551931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21" name="Oval 25"/>
          <p:cNvSpPr>
            <a:spLocks noChangeArrowheads="1"/>
          </p:cNvSpPr>
          <p:nvPr/>
        </p:nvSpPr>
        <p:spPr bwMode="auto">
          <a:xfrm>
            <a:off x="5201304" y="2545796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22" name="Oval 26"/>
          <p:cNvSpPr>
            <a:spLocks noChangeArrowheads="1"/>
          </p:cNvSpPr>
          <p:nvPr/>
        </p:nvSpPr>
        <p:spPr bwMode="auto">
          <a:xfrm>
            <a:off x="5187964" y="2545796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81" name="Freeform 6"/>
          <p:cNvSpPr>
            <a:spLocks noEditPoints="1"/>
          </p:cNvSpPr>
          <p:nvPr/>
        </p:nvSpPr>
        <p:spPr bwMode="auto">
          <a:xfrm>
            <a:off x="5212083" y="2533372"/>
            <a:ext cx="22989" cy="37422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82" name="Oval 7"/>
          <p:cNvSpPr>
            <a:spLocks noChangeArrowheads="1"/>
          </p:cNvSpPr>
          <p:nvPr/>
        </p:nvSpPr>
        <p:spPr bwMode="auto">
          <a:xfrm>
            <a:off x="5229215" y="255750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83" name="Oval 8"/>
          <p:cNvSpPr>
            <a:spLocks noChangeArrowheads="1"/>
          </p:cNvSpPr>
          <p:nvPr/>
        </p:nvSpPr>
        <p:spPr bwMode="auto">
          <a:xfrm>
            <a:off x="5224258" y="255750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84" name="Oval 9"/>
          <p:cNvSpPr>
            <a:spLocks noChangeArrowheads="1"/>
          </p:cNvSpPr>
          <p:nvPr/>
        </p:nvSpPr>
        <p:spPr bwMode="auto">
          <a:xfrm>
            <a:off x="5213170" y="255750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85" name="Oval 10"/>
          <p:cNvSpPr>
            <a:spLocks noChangeArrowheads="1"/>
          </p:cNvSpPr>
          <p:nvPr/>
        </p:nvSpPr>
        <p:spPr bwMode="auto">
          <a:xfrm>
            <a:off x="5226783" y="255750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86" name="Oval 11"/>
          <p:cNvSpPr>
            <a:spLocks noChangeArrowheads="1"/>
          </p:cNvSpPr>
          <p:nvPr/>
        </p:nvSpPr>
        <p:spPr bwMode="auto">
          <a:xfrm>
            <a:off x="5224258" y="253665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87" name="Oval 12"/>
          <p:cNvSpPr>
            <a:spLocks noChangeArrowheads="1"/>
          </p:cNvSpPr>
          <p:nvPr/>
        </p:nvSpPr>
        <p:spPr bwMode="auto">
          <a:xfrm>
            <a:off x="5226783" y="253665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88" name="Oval 13"/>
          <p:cNvSpPr>
            <a:spLocks noChangeArrowheads="1"/>
          </p:cNvSpPr>
          <p:nvPr/>
        </p:nvSpPr>
        <p:spPr bwMode="auto">
          <a:xfrm>
            <a:off x="5213170" y="254202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89" name="Oval 14"/>
          <p:cNvSpPr>
            <a:spLocks noChangeArrowheads="1"/>
          </p:cNvSpPr>
          <p:nvPr/>
        </p:nvSpPr>
        <p:spPr bwMode="auto">
          <a:xfrm>
            <a:off x="5229215" y="2547211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90" name="Oval 15"/>
          <p:cNvSpPr>
            <a:spLocks noChangeArrowheads="1"/>
          </p:cNvSpPr>
          <p:nvPr/>
        </p:nvSpPr>
        <p:spPr bwMode="auto">
          <a:xfrm>
            <a:off x="5226783" y="254202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91" name="Oval 16"/>
          <p:cNvSpPr>
            <a:spLocks noChangeArrowheads="1"/>
          </p:cNvSpPr>
          <p:nvPr/>
        </p:nvSpPr>
        <p:spPr bwMode="auto">
          <a:xfrm>
            <a:off x="5213170" y="253665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92" name="Oval 17"/>
          <p:cNvSpPr>
            <a:spLocks noChangeArrowheads="1"/>
          </p:cNvSpPr>
          <p:nvPr/>
        </p:nvSpPr>
        <p:spPr bwMode="auto">
          <a:xfrm>
            <a:off x="5224258" y="254202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93" name="Oval 18"/>
          <p:cNvSpPr>
            <a:spLocks noChangeArrowheads="1"/>
          </p:cNvSpPr>
          <p:nvPr/>
        </p:nvSpPr>
        <p:spPr bwMode="auto">
          <a:xfrm>
            <a:off x="5229215" y="254202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94" name="Oval 19"/>
          <p:cNvSpPr>
            <a:spLocks noChangeArrowheads="1"/>
          </p:cNvSpPr>
          <p:nvPr/>
        </p:nvSpPr>
        <p:spPr bwMode="auto">
          <a:xfrm>
            <a:off x="5226783" y="2547211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95" name="Oval 20"/>
          <p:cNvSpPr>
            <a:spLocks noChangeArrowheads="1"/>
          </p:cNvSpPr>
          <p:nvPr/>
        </p:nvSpPr>
        <p:spPr bwMode="auto">
          <a:xfrm>
            <a:off x="5229215" y="253665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96" name="Oval 21"/>
          <p:cNvSpPr>
            <a:spLocks noChangeArrowheads="1"/>
          </p:cNvSpPr>
          <p:nvPr/>
        </p:nvSpPr>
        <p:spPr bwMode="auto">
          <a:xfrm>
            <a:off x="5224258" y="255231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97" name="Oval 22"/>
          <p:cNvSpPr>
            <a:spLocks noChangeArrowheads="1"/>
          </p:cNvSpPr>
          <p:nvPr/>
        </p:nvSpPr>
        <p:spPr bwMode="auto">
          <a:xfrm>
            <a:off x="5213170" y="255231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98" name="Oval 23"/>
          <p:cNvSpPr>
            <a:spLocks noChangeArrowheads="1"/>
          </p:cNvSpPr>
          <p:nvPr/>
        </p:nvSpPr>
        <p:spPr bwMode="auto">
          <a:xfrm>
            <a:off x="5229215" y="255231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99" name="Oval 24"/>
          <p:cNvSpPr>
            <a:spLocks noChangeArrowheads="1"/>
          </p:cNvSpPr>
          <p:nvPr/>
        </p:nvSpPr>
        <p:spPr bwMode="auto">
          <a:xfrm>
            <a:off x="5226783" y="255231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00" name="Oval 25"/>
          <p:cNvSpPr>
            <a:spLocks noChangeArrowheads="1"/>
          </p:cNvSpPr>
          <p:nvPr/>
        </p:nvSpPr>
        <p:spPr bwMode="auto">
          <a:xfrm>
            <a:off x="5224258" y="2547211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01" name="Oval 26"/>
          <p:cNvSpPr>
            <a:spLocks noChangeArrowheads="1"/>
          </p:cNvSpPr>
          <p:nvPr/>
        </p:nvSpPr>
        <p:spPr bwMode="auto">
          <a:xfrm>
            <a:off x="5213170" y="2547211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60" name="Freeform 6"/>
          <p:cNvSpPr>
            <a:spLocks noEditPoints="1"/>
          </p:cNvSpPr>
          <p:nvPr/>
        </p:nvSpPr>
        <p:spPr bwMode="auto">
          <a:xfrm>
            <a:off x="5162073" y="2533372"/>
            <a:ext cx="22988" cy="37422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61" name="Oval 7"/>
          <p:cNvSpPr>
            <a:spLocks noChangeArrowheads="1"/>
          </p:cNvSpPr>
          <p:nvPr/>
        </p:nvSpPr>
        <p:spPr bwMode="auto">
          <a:xfrm>
            <a:off x="5180913" y="255750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62" name="Oval 8"/>
          <p:cNvSpPr>
            <a:spLocks noChangeArrowheads="1"/>
          </p:cNvSpPr>
          <p:nvPr/>
        </p:nvSpPr>
        <p:spPr bwMode="auto">
          <a:xfrm>
            <a:off x="5175956" y="255750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63" name="Oval 9"/>
          <p:cNvSpPr>
            <a:spLocks noChangeArrowheads="1"/>
          </p:cNvSpPr>
          <p:nvPr/>
        </p:nvSpPr>
        <p:spPr bwMode="auto">
          <a:xfrm>
            <a:off x="5164868" y="255750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64" name="Oval 10"/>
          <p:cNvSpPr>
            <a:spLocks noChangeArrowheads="1"/>
          </p:cNvSpPr>
          <p:nvPr/>
        </p:nvSpPr>
        <p:spPr bwMode="auto">
          <a:xfrm>
            <a:off x="5178480" y="255750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65" name="Oval 11"/>
          <p:cNvSpPr>
            <a:spLocks noChangeArrowheads="1"/>
          </p:cNvSpPr>
          <p:nvPr/>
        </p:nvSpPr>
        <p:spPr bwMode="auto">
          <a:xfrm>
            <a:off x="5175956" y="253665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66" name="Oval 12"/>
          <p:cNvSpPr>
            <a:spLocks noChangeArrowheads="1"/>
          </p:cNvSpPr>
          <p:nvPr/>
        </p:nvSpPr>
        <p:spPr bwMode="auto">
          <a:xfrm>
            <a:off x="5178480" y="253665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67" name="Oval 13"/>
          <p:cNvSpPr>
            <a:spLocks noChangeArrowheads="1"/>
          </p:cNvSpPr>
          <p:nvPr/>
        </p:nvSpPr>
        <p:spPr bwMode="auto">
          <a:xfrm>
            <a:off x="5164868" y="254202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68" name="Oval 14"/>
          <p:cNvSpPr>
            <a:spLocks noChangeArrowheads="1"/>
          </p:cNvSpPr>
          <p:nvPr/>
        </p:nvSpPr>
        <p:spPr bwMode="auto">
          <a:xfrm>
            <a:off x="5180913" y="2547211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69" name="Oval 15"/>
          <p:cNvSpPr>
            <a:spLocks noChangeArrowheads="1"/>
          </p:cNvSpPr>
          <p:nvPr/>
        </p:nvSpPr>
        <p:spPr bwMode="auto">
          <a:xfrm>
            <a:off x="5178480" y="254202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70" name="Oval 16"/>
          <p:cNvSpPr>
            <a:spLocks noChangeArrowheads="1"/>
          </p:cNvSpPr>
          <p:nvPr/>
        </p:nvSpPr>
        <p:spPr bwMode="auto">
          <a:xfrm>
            <a:off x="5164868" y="253665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71" name="Oval 17"/>
          <p:cNvSpPr>
            <a:spLocks noChangeArrowheads="1"/>
          </p:cNvSpPr>
          <p:nvPr/>
        </p:nvSpPr>
        <p:spPr bwMode="auto">
          <a:xfrm>
            <a:off x="5175956" y="254202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72" name="Oval 18"/>
          <p:cNvSpPr>
            <a:spLocks noChangeArrowheads="1"/>
          </p:cNvSpPr>
          <p:nvPr/>
        </p:nvSpPr>
        <p:spPr bwMode="auto">
          <a:xfrm>
            <a:off x="5180913" y="254202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73" name="Oval 19"/>
          <p:cNvSpPr>
            <a:spLocks noChangeArrowheads="1"/>
          </p:cNvSpPr>
          <p:nvPr/>
        </p:nvSpPr>
        <p:spPr bwMode="auto">
          <a:xfrm>
            <a:off x="5178480" y="2547211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74" name="Oval 20"/>
          <p:cNvSpPr>
            <a:spLocks noChangeArrowheads="1"/>
          </p:cNvSpPr>
          <p:nvPr/>
        </p:nvSpPr>
        <p:spPr bwMode="auto">
          <a:xfrm>
            <a:off x="5180913" y="253665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75" name="Oval 21"/>
          <p:cNvSpPr>
            <a:spLocks noChangeArrowheads="1"/>
          </p:cNvSpPr>
          <p:nvPr/>
        </p:nvSpPr>
        <p:spPr bwMode="auto">
          <a:xfrm>
            <a:off x="5175956" y="255231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76" name="Oval 22"/>
          <p:cNvSpPr>
            <a:spLocks noChangeArrowheads="1"/>
          </p:cNvSpPr>
          <p:nvPr/>
        </p:nvSpPr>
        <p:spPr bwMode="auto">
          <a:xfrm>
            <a:off x="5164868" y="255231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77" name="Oval 23"/>
          <p:cNvSpPr>
            <a:spLocks noChangeArrowheads="1"/>
          </p:cNvSpPr>
          <p:nvPr/>
        </p:nvSpPr>
        <p:spPr bwMode="auto">
          <a:xfrm>
            <a:off x="5180913" y="255231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78" name="Oval 24"/>
          <p:cNvSpPr>
            <a:spLocks noChangeArrowheads="1"/>
          </p:cNvSpPr>
          <p:nvPr/>
        </p:nvSpPr>
        <p:spPr bwMode="auto">
          <a:xfrm>
            <a:off x="5178480" y="255231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79" name="Oval 25"/>
          <p:cNvSpPr>
            <a:spLocks noChangeArrowheads="1"/>
          </p:cNvSpPr>
          <p:nvPr/>
        </p:nvSpPr>
        <p:spPr bwMode="auto">
          <a:xfrm>
            <a:off x="5175956" y="2547211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880" name="Oval 26"/>
          <p:cNvSpPr>
            <a:spLocks noChangeArrowheads="1"/>
          </p:cNvSpPr>
          <p:nvPr/>
        </p:nvSpPr>
        <p:spPr bwMode="auto">
          <a:xfrm>
            <a:off x="5164868" y="2547211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93" name="Oval 3992"/>
          <p:cNvSpPr/>
          <p:nvPr/>
        </p:nvSpPr>
        <p:spPr>
          <a:xfrm>
            <a:off x="6092243" y="2165783"/>
            <a:ext cx="109997" cy="111125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3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86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29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72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14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58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999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43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50" dirty="0" smtClean="0">
              <a:solidFill>
                <a:srgbClr val="FFFFFF"/>
              </a:solidFill>
            </a:endParaRPr>
          </a:p>
        </p:txBody>
      </p:sp>
      <p:sp>
        <p:nvSpPr>
          <p:cNvPr id="3994" name="Oval 3993"/>
          <p:cNvSpPr/>
          <p:nvPr/>
        </p:nvSpPr>
        <p:spPr>
          <a:xfrm>
            <a:off x="6096260" y="2170251"/>
            <a:ext cx="101921" cy="102966"/>
          </a:xfrm>
          <a:prstGeom prst="ellipse">
            <a:avLst/>
          </a:prstGeom>
          <a:solidFill>
            <a:srgbClr val="57B84D"/>
          </a:soli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07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3DA649"/>
              </a:solidFill>
            </a:endParaRPr>
          </a:p>
        </p:txBody>
      </p:sp>
      <p:sp>
        <p:nvSpPr>
          <p:cNvPr id="3972" name="Freeform 6"/>
          <p:cNvSpPr>
            <a:spLocks noEditPoints="1"/>
          </p:cNvSpPr>
          <p:nvPr/>
        </p:nvSpPr>
        <p:spPr bwMode="auto">
          <a:xfrm>
            <a:off x="6133053" y="2198028"/>
            <a:ext cx="27657" cy="45021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73" name="Oval 7"/>
          <p:cNvSpPr>
            <a:spLocks noChangeArrowheads="1"/>
          </p:cNvSpPr>
          <p:nvPr/>
        </p:nvSpPr>
        <p:spPr bwMode="auto">
          <a:xfrm>
            <a:off x="6155718" y="2227056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74" name="Oval 8"/>
          <p:cNvSpPr>
            <a:spLocks noChangeArrowheads="1"/>
          </p:cNvSpPr>
          <p:nvPr/>
        </p:nvSpPr>
        <p:spPr bwMode="auto">
          <a:xfrm>
            <a:off x="6149755" y="2227056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75" name="Oval 9"/>
          <p:cNvSpPr>
            <a:spLocks noChangeArrowheads="1"/>
          </p:cNvSpPr>
          <p:nvPr/>
        </p:nvSpPr>
        <p:spPr bwMode="auto">
          <a:xfrm>
            <a:off x="6136415" y="2227056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76" name="Oval 10"/>
          <p:cNvSpPr>
            <a:spLocks noChangeArrowheads="1"/>
          </p:cNvSpPr>
          <p:nvPr/>
        </p:nvSpPr>
        <p:spPr bwMode="auto">
          <a:xfrm>
            <a:off x="6152792" y="2227056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77" name="Oval 11"/>
          <p:cNvSpPr>
            <a:spLocks noChangeArrowheads="1"/>
          </p:cNvSpPr>
          <p:nvPr/>
        </p:nvSpPr>
        <p:spPr bwMode="auto">
          <a:xfrm>
            <a:off x="6149755" y="220197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78" name="Oval 12"/>
          <p:cNvSpPr>
            <a:spLocks noChangeArrowheads="1"/>
          </p:cNvSpPr>
          <p:nvPr/>
        </p:nvSpPr>
        <p:spPr bwMode="auto">
          <a:xfrm>
            <a:off x="6152792" y="220197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79" name="Oval 13"/>
          <p:cNvSpPr>
            <a:spLocks noChangeArrowheads="1"/>
          </p:cNvSpPr>
          <p:nvPr/>
        </p:nvSpPr>
        <p:spPr bwMode="auto">
          <a:xfrm>
            <a:off x="6136415" y="2208434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80" name="Oval 14"/>
          <p:cNvSpPr>
            <a:spLocks noChangeArrowheads="1"/>
          </p:cNvSpPr>
          <p:nvPr/>
        </p:nvSpPr>
        <p:spPr bwMode="auto">
          <a:xfrm>
            <a:off x="6155718" y="221467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81" name="Oval 15"/>
          <p:cNvSpPr>
            <a:spLocks noChangeArrowheads="1"/>
          </p:cNvSpPr>
          <p:nvPr/>
        </p:nvSpPr>
        <p:spPr bwMode="auto">
          <a:xfrm>
            <a:off x="6152792" y="2208434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82" name="Oval 16"/>
          <p:cNvSpPr>
            <a:spLocks noChangeArrowheads="1"/>
          </p:cNvSpPr>
          <p:nvPr/>
        </p:nvSpPr>
        <p:spPr bwMode="auto">
          <a:xfrm>
            <a:off x="6136415" y="220197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83" name="Oval 17"/>
          <p:cNvSpPr>
            <a:spLocks noChangeArrowheads="1"/>
          </p:cNvSpPr>
          <p:nvPr/>
        </p:nvSpPr>
        <p:spPr bwMode="auto">
          <a:xfrm>
            <a:off x="6149755" y="2208434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84" name="Oval 18"/>
          <p:cNvSpPr>
            <a:spLocks noChangeArrowheads="1"/>
          </p:cNvSpPr>
          <p:nvPr/>
        </p:nvSpPr>
        <p:spPr bwMode="auto">
          <a:xfrm>
            <a:off x="6155718" y="2208434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85" name="Oval 19"/>
          <p:cNvSpPr>
            <a:spLocks noChangeArrowheads="1"/>
          </p:cNvSpPr>
          <p:nvPr/>
        </p:nvSpPr>
        <p:spPr bwMode="auto">
          <a:xfrm>
            <a:off x="6152792" y="221467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86" name="Oval 20"/>
          <p:cNvSpPr>
            <a:spLocks noChangeArrowheads="1"/>
          </p:cNvSpPr>
          <p:nvPr/>
        </p:nvSpPr>
        <p:spPr bwMode="auto">
          <a:xfrm>
            <a:off x="6155718" y="220197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87" name="Oval 21"/>
          <p:cNvSpPr>
            <a:spLocks noChangeArrowheads="1"/>
          </p:cNvSpPr>
          <p:nvPr/>
        </p:nvSpPr>
        <p:spPr bwMode="auto">
          <a:xfrm>
            <a:off x="6149755" y="2220813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88" name="Oval 22"/>
          <p:cNvSpPr>
            <a:spLocks noChangeArrowheads="1"/>
          </p:cNvSpPr>
          <p:nvPr/>
        </p:nvSpPr>
        <p:spPr bwMode="auto">
          <a:xfrm>
            <a:off x="6136415" y="2220813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89" name="Oval 23"/>
          <p:cNvSpPr>
            <a:spLocks noChangeArrowheads="1"/>
          </p:cNvSpPr>
          <p:nvPr/>
        </p:nvSpPr>
        <p:spPr bwMode="auto">
          <a:xfrm>
            <a:off x="6155718" y="2220813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90" name="Oval 24"/>
          <p:cNvSpPr>
            <a:spLocks noChangeArrowheads="1"/>
          </p:cNvSpPr>
          <p:nvPr/>
        </p:nvSpPr>
        <p:spPr bwMode="auto">
          <a:xfrm>
            <a:off x="6152792" y="2220813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91" name="Oval 25"/>
          <p:cNvSpPr>
            <a:spLocks noChangeArrowheads="1"/>
          </p:cNvSpPr>
          <p:nvPr/>
        </p:nvSpPr>
        <p:spPr bwMode="auto">
          <a:xfrm>
            <a:off x="6149755" y="221467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92" name="Oval 26"/>
          <p:cNvSpPr>
            <a:spLocks noChangeArrowheads="1"/>
          </p:cNvSpPr>
          <p:nvPr/>
        </p:nvSpPr>
        <p:spPr bwMode="auto">
          <a:xfrm>
            <a:off x="6136415" y="221467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51" name="Freeform 6"/>
          <p:cNvSpPr>
            <a:spLocks noEditPoints="1"/>
          </p:cNvSpPr>
          <p:nvPr/>
        </p:nvSpPr>
        <p:spPr bwMode="auto">
          <a:xfrm>
            <a:off x="6160534" y="2202254"/>
            <a:ext cx="22989" cy="37422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52" name="Oval 7"/>
          <p:cNvSpPr>
            <a:spLocks noChangeArrowheads="1"/>
          </p:cNvSpPr>
          <p:nvPr/>
        </p:nvSpPr>
        <p:spPr bwMode="auto">
          <a:xfrm>
            <a:off x="6177665" y="222638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53" name="Oval 8"/>
          <p:cNvSpPr>
            <a:spLocks noChangeArrowheads="1"/>
          </p:cNvSpPr>
          <p:nvPr/>
        </p:nvSpPr>
        <p:spPr bwMode="auto">
          <a:xfrm>
            <a:off x="6172708" y="222638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54" name="Oval 9"/>
          <p:cNvSpPr>
            <a:spLocks noChangeArrowheads="1"/>
          </p:cNvSpPr>
          <p:nvPr/>
        </p:nvSpPr>
        <p:spPr bwMode="auto">
          <a:xfrm>
            <a:off x="6161620" y="222638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55" name="Oval 10"/>
          <p:cNvSpPr>
            <a:spLocks noChangeArrowheads="1"/>
          </p:cNvSpPr>
          <p:nvPr/>
        </p:nvSpPr>
        <p:spPr bwMode="auto">
          <a:xfrm>
            <a:off x="6175233" y="222638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56" name="Oval 11"/>
          <p:cNvSpPr>
            <a:spLocks noChangeArrowheads="1"/>
          </p:cNvSpPr>
          <p:nvPr/>
        </p:nvSpPr>
        <p:spPr bwMode="auto">
          <a:xfrm>
            <a:off x="6172708" y="220553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57" name="Oval 12"/>
          <p:cNvSpPr>
            <a:spLocks noChangeArrowheads="1"/>
          </p:cNvSpPr>
          <p:nvPr/>
        </p:nvSpPr>
        <p:spPr bwMode="auto">
          <a:xfrm>
            <a:off x="6175233" y="220553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58" name="Oval 13"/>
          <p:cNvSpPr>
            <a:spLocks noChangeArrowheads="1"/>
          </p:cNvSpPr>
          <p:nvPr/>
        </p:nvSpPr>
        <p:spPr bwMode="auto">
          <a:xfrm>
            <a:off x="6161620" y="221090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59" name="Oval 14"/>
          <p:cNvSpPr>
            <a:spLocks noChangeArrowheads="1"/>
          </p:cNvSpPr>
          <p:nvPr/>
        </p:nvSpPr>
        <p:spPr bwMode="auto">
          <a:xfrm>
            <a:off x="6177665" y="221609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60" name="Oval 15"/>
          <p:cNvSpPr>
            <a:spLocks noChangeArrowheads="1"/>
          </p:cNvSpPr>
          <p:nvPr/>
        </p:nvSpPr>
        <p:spPr bwMode="auto">
          <a:xfrm>
            <a:off x="6175233" y="221090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61" name="Oval 16"/>
          <p:cNvSpPr>
            <a:spLocks noChangeArrowheads="1"/>
          </p:cNvSpPr>
          <p:nvPr/>
        </p:nvSpPr>
        <p:spPr bwMode="auto">
          <a:xfrm>
            <a:off x="6161620" y="220553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62" name="Oval 17"/>
          <p:cNvSpPr>
            <a:spLocks noChangeArrowheads="1"/>
          </p:cNvSpPr>
          <p:nvPr/>
        </p:nvSpPr>
        <p:spPr bwMode="auto">
          <a:xfrm>
            <a:off x="6172708" y="221090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63" name="Oval 18"/>
          <p:cNvSpPr>
            <a:spLocks noChangeArrowheads="1"/>
          </p:cNvSpPr>
          <p:nvPr/>
        </p:nvSpPr>
        <p:spPr bwMode="auto">
          <a:xfrm>
            <a:off x="6177665" y="221090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64" name="Oval 19"/>
          <p:cNvSpPr>
            <a:spLocks noChangeArrowheads="1"/>
          </p:cNvSpPr>
          <p:nvPr/>
        </p:nvSpPr>
        <p:spPr bwMode="auto">
          <a:xfrm>
            <a:off x="6175233" y="221609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65" name="Oval 20"/>
          <p:cNvSpPr>
            <a:spLocks noChangeArrowheads="1"/>
          </p:cNvSpPr>
          <p:nvPr/>
        </p:nvSpPr>
        <p:spPr bwMode="auto">
          <a:xfrm>
            <a:off x="6177665" y="220553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66" name="Oval 21"/>
          <p:cNvSpPr>
            <a:spLocks noChangeArrowheads="1"/>
          </p:cNvSpPr>
          <p:nvPr/>
        </p:nvSpPr>
        <p:spPr bwMode="auto">
          <a:xfrm>
            <a:off x="6172708" y="222119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67" name="Oval 22"/>
          <p:cNvSpPr>
            <a:spLocks noChangeArrowheads="1"/>
          </p:cNvSpPr>
          <p:nvPr/>
        </p:nvSpPr>
        <p:spPr bwMode="auto">
          <a:xfrm>
            <a:off x="6161620" y="222119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68" name="Oval 23"/>
          <p:cNvSpPr>
            <a:spLocks noChangeArrowheads="1"/>
          </p:cNvSpPr>
          <p:nvPr/>
        </p:nvSpPr>
        <p:spPr bwMode="auto">
          <a:xfrm>
            <a:off x="6177665" y="222119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69" name="Oval 24"/>
          <p:cNvSpPr>
            <a:spLocks noChangeArrowheads="1"/>
          </p:cNvSpPr>
          <p:nvPr/>
        </p:nvSpPr>
        <p:spPr bwMode="auto">
          <a:xfrm>
            <a:off x="6175233" y="222119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70" name="Oval 25"/>
          <p:cNvSpPr>
            <a:spLocks noChangeArrowheads="1"/>
          </p:cNvSpPr>
          <p:nvPr/>
        </p:nvSpPr>
        <p:spPr bwMode="auto">
          <a:xfrm>
            <a:off x="6172708" y="221609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71" name="Oval 26"/>
          <p:cNvSpPr>
            <a:spLocks noChangeArrowheads="1"/>
          </p:cNvSpPr>
          <p:nvPr/>
        </p:nvSpPr>
        <p:spPr bwMode="auto">
          <a:xfrm>
            <a:off x="6161620" y="221609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30" name="Freeform 6"/>
          <p:cNvSpPr>
            <a:spLocks noEditPoints="1"/>
          </p:cNvSpPr>
          <p:nvPr/>
        </p:nvSpPr>
        <p:spPr bwMode="auto">
          <a:xfrm>
            <a:off x="6110524" y="2202254"/>
            <a:ext cx="22988" cy="37422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31" name="Oval 7"/>
          <p:cNvSpPr>
            <a:spLocks noChangeArrowheads="1"/>
          </p:cNvSpPr>
          <p:nvPr/>
        </p:nvSpPr>
        <p:spPr bwMode="auto">
          <a:xfrm>
            <a:off x="6129363" y="222638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32" name="Oval 8"/>
          <p:cNvSpPr>
            <a:spLocks noChangeArrowheads="1"/>
          </p:cNvSpPr>
          <p:nvPr/>
        </p:nvSpPr>
        <p:spPr bwMode="auto">
          <a:xfrm>
            <a:off x="6124406" y="222638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33" name="Oval 9"/>
          <p:cNvSpPr>
            <a:spLocks noChangeArrowheads="1"/>
          </p:cNvSpPr>
          <p:nvPr/>
        </p:nvSpPr>
        <p:spPr bwMode="auto">
          <a:xfrm>
            <a:off x="6113318" y="222638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34" name="Oval 10"/>
          <p:cNvSpPr>
            <a:spLocks noChangeArrowheads="1"/>
          </p:cNvSpPr>
          <p:nvPr/>
        </p:nvSpPr>
        <p:spPr bwMode="auto">
          <a:xfrm>
            <a:off x="6126930" y="222638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35" name="Oval 11"/>
          <p:cNvSpPr>
            <a:spLocks noChangeArrowheads="1"/>
          </p:cNvSpPr>
          <p:nvPr/>
        </p:nvSpPr>
        <p:spPr bwMode="auto">
          <a:xfrm>
            <a:off x="6124406" y="220553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36" name="Oval 12"/>
          <p:cNvSpPr>
            <a:spLocks noChangeArrowheads="1"/>
          </p:cNvSpPr>
          <p:nvPr/>
        </p:nvSpPr>
        <p:spPr bwMode="auto">
          <a:xfrm>
            <a:off x="6126930" y="220553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37" name="Oval 13"/>
          <p:cNvSpPr>
            <a:spLocks noChangeArrowheads="1"/>
          </p:cNvSpPr>
          <p:nvPr/>
        </p:nvSpPr>
        <p:spPr bwMode="auto">
          <a:xfrm>
            <a:off x="6113318" y="221090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38" name="Oval 14"/>
          <p:cNvSpPr>
            <a:spLocks noChangeArrowheads="1"/>
          </p:cNvSpPr>
          <p:nvPr/>
        </p:nvSpPr>
        <p:spPr bwMode="auto">
          <a:xfrm>
            <a:off x="6129363" y="221609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39" name="Oval 15"/>
          <p:cNvSpPr>
            <a:spLocks noChangeArrowheads="1"/>
          </p:cNvSpPr>
          <p:nvPr/>
        </p:nvSpPr>
        <p:spPr bwMode="auto">
          <a:xfrm>
            <a:off x="6126930" y="221090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40" name="Oval 16"/>
          <p:cNvSpPr>
            <a:spLocks noChangeArrowheads="1"/>
          </p:cNvSpPr>
          <p:nvPr/>
        </p:nvSpPr>
        <p:spPr bwMode="auto">
          <a:xfrm>
            <a:off x="6113318" y="220553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41" name="Oval 17"/>
          <p:cNvSpPr>
            <a:spLocks noChangeArrowheads="1"/>
          </p:cNvSpPr>
          <p:nvPr/>
        </p:nvSpPr>
        <p:spPr bwMode="auto">
          <a:xfrm>
            <a:off x="6124406" y="221090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42" name="Oval 18"/>
          <p:cNvSpPr>
            <a:spLocks noChangeArrowheads="1"/>
          </p:cNvSpPr>
          <p:nvPr/>
        </p:nvSpPr>
        <p:spPr bwMode="auto">
          <a:xfrm>
            <a:off x="6129363" y="221090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43" name="Oval 19"/>
          <p:cNvSpPr>
            <a:spLocks noChangeArrowheads="1"/>
          </p:cNvSpPr>
          <p:nvPr/>
        </p:nvSpPr>
        <p:spPr bwMode="auto">
          <a:xfrm>
            <a:off x="6126930" y="221609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44" name="Oval 20"/>
          <p:cNvSpPr>
            <a:spLocks noChangeArrowheads="1"/>
          </p:cNvSpPr>
          <p:nvPr/>
        </p:nvSpPr>
        <p:spPr bwMode="auto">
          <a:xfrm>
            <a:off x="6129363" y="220553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45" name="Oval 21"/>
          <p:cNvSpPr>
            <a:spLocks noChangeArrowheads="1"/>
          </p:cNvSpPr>
          <p:nvPr/>
        </p:nvSpPr>
        <p:spPr bwMode="auto">
          <a:xfrm>
            <a:off x="6124406" y="222119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46" name="Oval 22"/>
          <p:cNvSpPr>
            <a:spLocks noChangeArrowheads="1"/>
          </p:cNvSpPr>
          <p:nvPr/>
        </p:nvSpPr>
        <p:spPr bwMode="auto">
          <a:xfrm>
            <a:off x="6113318" y="222119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47" name="Oval 23"/>
          <p:cNvSpPr>
            <a:spLocks noChangeArrowheads="1"/>
          </p:cNvSpPr>
          <p:nvPr/>
        </p:nvSpPr>
        <p:spPr bwMode="auto">
          <a:xfrm>
            <a:off x="6129363" y="222119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48" name="Oval 24"/>
          <p:cNvSpPr>
            <a:spLocks noChangeArrowheads="1"/>
          </p:cNvSpPr>
          <p:nvPr/>
        </p:nvSpPr>
        <p:spPr bwMode="auto">
          <a:xfrm>
            <a:off x="6126930" y="222119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49" name="Oval 25"/>
          <p:cNvSpPr>
            <a:spLocks noChangeArrowheads="1"/>
          </p:cNvSpPr>
          <p:nvPr/>
        </p:nvSpPr>
        <p:spPr bwMode="auto">
          <a:xfrm>
            <a:off x="6124406" y="221609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3950" name="Oval 26"/>
          <p:cNvSpPr>
            <a:spLocks noChangeArrowheads="1"/>
          </p:cNvSpPr>
          <p:nvPr/>
        </p:nvSpPr>
        <p:spPr bwMode="auto">
          <a:xfrm>
            <a:off x="6113318" y="221609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63" name="Oval 4062"/>
          <p:cNvSpPr/>
          <p:nvPr/>
        </p:nvSpPr>
        <p:spPr>
          <a:xfrm>
            <a:off x="5957505" y="1638833"/>
            <a:ext cx="109997" cy="111125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3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86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29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72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14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58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999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43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50" dirty="0" smtClean="0">
              <a:solidFill>
                <a:srgbClr val="FFFFFF"/>
              </a:solidFill>
            </a:endParaRPr>
          </a:p>
        </p:txBody>
      </p:sp>
      <p:sp>
        <p:nvSpPr>
          <p:cNvPr id="4064" name="Oval 4063"/>
          <p:cNvSpPr/>
          <p:nvPr/>
        </p:nvSpPr>
        <p:spPr>
          <a:xfrm>
            <a:off x="5961522" y="1643301"/>
            <a:ext cx="101921" cy="102966"/>
          </a:xfrm>
          <a:prstGeom prst="ellipse">
            <a:avLst/>
          </a:prstGeom>
          <a:solidFill>
            <a:srgbClr val="57B84D"/>
          </a:soli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07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3DA649"/>
              </a:solidFill>
            </a:endParaRPr>
          </a:p>
        </p:txBody>
      </p:sp>
      <p:sp>
        <p:nvSpPr>
          <p:cNvPr id="4042" name="Freeform 6"/>
          <p:cNvSpPr>
            <a:spLocks noEditPoints="1"/>
          </p:cNvSpPr>
          <p:nvPr/>
        </p:nvSpPr>
        <p:spPr bwMode="auto">
          <a:xfrm>
            <a:off x="5998315" y="1671078"/>
            <a:ext cx="27657" cy="45021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43" name="Oval 7"/>
          <p:cNvSpPr>
            <a:spLocks noChangeArrowheads="1"/>
          </p:cNvSpPr>
          <p:nvPr/>
        </p:nvSpPr>
        <p:spPr bwMode="auto">
          <a:xfrm>
            <a:off x="6020981" y="1700106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44" name="Oval 8"/>
          <p:cNvSpPr>
            <a:spLocks noChangeArrowheads="1"/>
          </p:cNvSpPr>
          <p:nvPr/>
        </p:nvSpPr>
        <p:spPr bwMode="auto">
          <a:xfrm>
            <a:off x="6015017" y="1700106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45" name="Oval 9"/>
          <p:cNvSpPr>
            <a:spLocks noChangeArrowheads="1"/>
          </p:cNvSpPr>
          <p:nvPr/>
        </p:nvSpPr>
        <p:spPr bwMode="auto">
          <a:xfrm>
            <a:off x="6001677" y="1700106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46" name="Oval 10"/>
          <p:cNvSpPr>
            <a:spLocks noChangeArrowheads="1"/>
          </p:cNvSpPr>
          <p:nvPr/>
        </p:nvSpPr>
        <p:spPr bwMode="auto">
          <a:xfrm>
            <a:off x="6018054" y="1700106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47" name="Oval 11"/>
          <p:cNvSpPr>
            <a:spLocks noChangeArrowheads="1"/>
          </p:cNvSpPr>
          <p:nvPr/>
        </p:nvSpPr>
        <p:spPr bwMode="auto">
          <a:xfrm>
            <a:off x="6015017" y="167502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48" name="Oval 12"/>
          <p:cNvSpPr>
            <a:spLocks noChangeArrowheads="1"/>
          </p:cNvSpPr>
          <p:nvPr/>
        </p:nvSpPr>
        <p:spPr bwMode="auto">
          <a:xfrm>
            <a:off x="6018054" y="167502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49" name="Oval 13"/>
          <p:cNvSpPr>
            <a:spLocks noChangeArrowheads="1"/>
          </p:cNvSpPr>
          <p:nvPr/>
        </p:nvSpPr>
        <p:spPr bwMode="auto">
          <a:xfrm>
            <a:off x="6001677" y="1681484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50" name="Oval 14"/>
          <p:cNvSpPr>
            <a:spLocks noChangeArrowheads="1"/>
          </p:cNvSpPr>
          <p:nvPr/>
        </p:nvSpPr>
        <p:spPr bwMode="auto">
          <a:xfrm>
            <a:off x="6020981" y="168772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51" name="Oval 15"/>
          <p:cNvSpPr>
            <a:spLocks noChangeArrowheads="1"/>
          </p:cNvSpPr>
          <p:nvPr/>
        </p:nvSpPr>
        <p:spPr bwMode="auto">
          <a:xfrm>
            <a:off x="6018054" y="1681484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52" name="Oval 16"/>
          <p:cNvSpPr>
            <a:spLocks noChangeArrowheads="1"/>
          </p:cNvSpPr>
          <p:nvPr/>
        </p:nvSpPr>
        <p:spPr bwMode="auto">
          <a:xfrm>
            <a:off x="6001677" y="167502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53" name="Oval 17"/>
          <p:cNvSpPr>
            <a:spLocks noChangeArrowheads="1"/>
          </p:cNvSpPr>
          <p:nvPr/>
        </p:nvSpPr>
        <p:spPr bwMode="auto">
          <a:xfrm>
            <a:off x="6015017" y="1681484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54" name="Oval 18"/>
          <p:cNvSpPr>
            <a:spLocks noChangeArrowheads="1"/>
          </p:cNvSpPr>
          <p:nvPr/>
        </p:nvSpPr>
        <p:spPr bwMode="auto">
          <a:xfrm>
            <a:off x="6020981" y="1681484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55" name="Oval 19"/>
          <p:cNvSpPr>
            <a:spLocks noChangeArrowheads="1"/>
          </p:cNvSpPr>
          <p:nvPr/>
        </p:nvSpPr>
        <p:spPr bwMode="auto">
          <a:xfrm>
            <a:off x="6018054" y="168772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56" name="Oval 20"/>
          <p:cNvSpPr>
            <a:spLocks noChangeArrowheads="1"/>
          </p:cNvSpPr>
          <p:nvPr/>
        </p:nvSpPr>
        <p:spPr bwMode="auto">
          <a:xfrm>
            <a:off x="6020981" y="167502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57" name="Oval 21"/>
          <p:cNvSpPr>
            <a:spLocks noChangeArrowheads="1"/>
          </p:cNvSpPr>
          <p:nvPr/>
        </p:nvSpPr>
        <p:spPr bwMode="auto">
          <a:xfrm>
            <a:off x="6015017" y="1693863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58" name="Oval 22"/>
          <p:cNvSpPr>
            <a:spLocks noChangeArrowheads="1"/>
          </p:cNvSpPr>
          <p:nvPr/>
        </p:nvSpPr>
        <p:spPr bwMode="auto">
          <a:xfrm>
            <a:off x="6001677" y="1693863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59" name="Oval 23"/>
          <p:cNvSpPr>
            <a:spLocks noChangeArrowheads="1"/>
          </p:cNvSpPr>
          <p:nvPr/>
        </p:nvSpPr>
        <p:spPr bwMode="auto">
          <a:xfrm>
            <a:off x="6020981" y="1693863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60" name="Oval 24"/>
          <p:cNvSpPr>
            <a:spLocks noChangeArrowheads="1"/>
          </p:cNvSpPr>
          <p:nvPr/>
        </p:nvSpPr>
        <p:spPr bwMode="auto">
          <a:xfrm>
            <a:off x="6018054" y="1693863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61" name="Oval 25"/>
          <p:cNvSpPr>
            <a:spLocks noChangeArrowheads="1"/>
          </p:cNvSpPr>
          <p:nvPr/>
        </p:nvSpPr>
        <p:spPr bwMode="auto">
          <a:xfrm>
            <a:off x="6015017" y="168772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62" name="Oval 26"/>
          <p:cNvSpPr>
            <a:spLocks noChangeArrowheads="1"/>
          </p:cNvSpPr>
          <p:nvPr/>
        </p:nvSpPr>
        <p:spPr bwMode="auto">
          <a:xfrm>
            <a:off x="6001677" y="168772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21" name="Freeform 6"/>
          <p:cNvSpPr>
            <a:spLocks noEditPoints="1"/>
          </p:cNvSpPr>
          <p:nvPr/>
        </p:nvSpPr>
        <p:spPr bwMode="auto">
          <a:xfrm>
            <a:off x="6025797" y="1675304"/>
            <a:ext cx="22989" cy="37422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22" name="Oval 7"/>
          <p:cNvSpPr>
            <a:spLocks noChangeArrowheads="1"/>
          </p:cNvSpPr>
          <p:nvPr/>
        </p:nvSpPr>
        <p:spPr bwMode="auto">
          <a:xfrm>
            <a:off x="6042928" y="169943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23" name="Oval 8"/>
          <p:cNvSpPr>
            <a:spLocks noChangeArrowheads="1"/>
          </p:cNvSpPr>
          <p:nvPr/>
        </p:nvSpPr>
        <p:spPr bwMode="auto">
          <a:xfrm>
            <a:off x="6037971" y="169943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24" name="Oval 9"/>
          <p:cNvSpPr>
            <a:spLocks noChangeArrowheads="1"/>
          </p:cNvSpPr>
          <p:nvPr/>
        </p:nvSpPr>
        <p:spPr bwMode="auto">
          <a:xfrm>
            <a:off x="6026883" y="169943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25" name="Oval 10"/>
          <p:cNvSpPr>
            <a:spLocks noChangeArrowheads="1"/>
          </p:cNvSpPr>
          <p:nvPr/>
        </p:nvSpPr>
        <p:spPr bwMode="auto">
          <a:xfrm>
            <a:off x="6040496" y="169943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26" name="Oval 11"/>
          <p:cNvSpPr>
            <a:spLocks noChangeArrowheads="1"/>
          </p:cNvSpPr>
          <p:nvPr/>
        </p:nvSpPr>
        <p:spPr bwMode="auto">
          <a:xfrm>
            <a:off x="6037971" y="167858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27" name="Oval 12"/>
          <p:cNvSpPr>
            <a:spLocks noChangeArrowheads="1"/>
          </p:cNvSpPr>
          <p:nvPr/>
        </p:nvSpPr>
        <p:spPr bwMode="auto">
          <a:xfrm>
            <a:off x="6040496" y="167858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28" name="Oval 13"/>
          <p:cNvSpPr>
            <a:spLocks noChangeArrowheads="1"/>
          </p:cNvSpPr>
          <p:nvPr/>
        </p:nvSpPr>
        <p:spPr bwMode="auto">
          <a:xfrm>
            <a:off x="6026883" y="168395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29" name="Oval 14"/>
          <p:cNvSpPr>
            <a:spLocks noChangeArrowheads="1"/>
          </p:cNvSpPr>
          <p:nvPr/>
        </p:nvSpPr>
        <p:spPr bwMode="auto">
          <a:xfrm>
            <a:off x="6042928" y="168914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30" name="Oval 15"/>
          <p:cNvSpPr>
            <a:spLocks noChangeArrowheads="1"/>
          </p:cNvSpPr>
          <p:nvPr/>
        </p:nvSpPr>
        <p:spPr bwMode="auto">
          <a:xfrm>
            <a:off x="6040496" y="168395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31" name="Oval 16"/>
          <p:cNvSpPr>
            <a:spLocks noChangeArrowheads="1"/>
          </p:cNvSpPr>
          <p:nvPr/>
        </p:nvSpPr>
        <p:spPr bwMode="auto">
          <a:xfrm>
            <a:off x="6026883" y="167858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32" name="Oval 17"/>
          <p:cNvSpPr>
            <a:spLocks noChangeArrowheads="1"/>
          </p:cNvSpPr>
          <p:nvPr/>
        </p:nvSpPr>
        <p:spPr bwMode="auto">
          <a:xfrm>
            <a:off x="6037971" y="168395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33" name="Oval 18"/>
          <p:cNvSpPr>
            <a:spLocks noChangeArrowheads="1"/>
          </p:cNvSpPr>
          <p:nvPr/>
        </p:nvSpPr>
        <p:spPr bwMode="auto">
          <a:xfrm>
            <a:off x="6042928" y="168395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34" name="Oval 19"/>
          <p:cNvSpPr>
            <a:spLocks noChangeArrowheads="1"/>
          </p:cNvSpPr>
          <p:nvPr/>
        </p:nvSpPr>
        <p:spPr bwMode="auto">
          <a:xfrm>
            <a:off x="6040496" y="168914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35" name="Oval 20"/>
          <p:cNvSpPr>
            <a:spLocks noChangeArrowheads="1"/>
          </p:cNvSpPr>
          <p:nvPr/>
        </p:nvSpPr>
        <p:spPr bwMode="auto">
          <a:xfrm>
            <a:off x="6042928" y="167858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36" name="Oval 21"/>
          <p:cNvSpPr>
            <a:spLocks noChangeArrowheads="1"/>
          </p:cNvSpPr>
          <p:nvPr/>
        </p:nvSpPr>
        <p:spPr bwMode="auto">
          <a:xfrm>
            <a:off x="6037971" y="169424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37" name="Oval 22"/>
          <p:cNvSpPr>
            <a:spLocks noChangeArrowheads="1"/>
          </p:cNvSpPr>
          <p:nvPr/>
        </p:nvSpPr>
        <p:spPr bwMode="auto">
          <a:xfrm>
            <a:off x="6026883" y="169424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38" name="Oval 23"/>
          <p:cNvSpPr>
            <a:spLocks noChangeArrowheads="1"/>
          </p:cNvSpPr>
          <p:nvPr/>
        </p:nvSpPr>
        <p:spPr bwMode="auto">
          <a:xfrm>
            <a:off x="6042928" y="169424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39" name="Oval 24"/>
          <p:cNvSpPr>
            <a:spLocks noChangeArrowheads="1"/>
          </p:cNvSpPr>
          <p:nvPr/>
        </p:nvSpPr>
        <p:spPr bwMode="auto">
          <a:xfrm>
            <a:off x="6040496" y="169424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40" name="Oval 25"/>
          <p:cNvSpPr>
            <a:spLocks noChangeArrowheads="1"/>
          </p:cNvSpPr>
          <p:nvPr/>
        </p:nvSpPr>
        <p:spPr bwMode="auto">
          <a:xfrm>
            <a:off x="6037971" y="168914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41" name="Oval 26"/>
          <p:cNvSpPr>
            <a:spLocks noChangeArrowheads="1"/>
          </p:cNvSpPr>
          <p:nvPr/>
        </p:nvSpPr>
        <p:spPr bwMode="auto">
          <a:xfrm>
            <a:off x="6026883" y="168914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00" name="Freeform 6"/>
          <p:cNvSpPr>
            <a:spLocks noEditPoints="1"/>
          </p:cNvSpPr>
          <p:nvPr/>
        </p:nvSpPr>
        <p:spPr bwMode="auto">
          <a:xfrm>
            <a:off x="5975786" y="1675304"/>
            <a:ext cx="22988" cy="37422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01" name="Oval 7"/>
          <p:cNvSpPr>
            <a:spLocks noChangeArrowheads="1"/>
          </p:cNvSpPr>
          <p:nvPr/>
        </p:nvSpPr>
        <p:spPr bwMode="auto">
          <a:xfrm>
            <a:off x="5994626" y="169943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02" name="Oval 8"/>
          <p:cNvSpPr>
            <a:spLocks noChangeArrowheads="1"/>
          </p:cNvSpPr>
          <p:nvPr/>
        </p:nvSpPr>
        <p:spPr bwMode="auto">
          <a:xfrm>
            <a:off x="5989669" y="169943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03" name="Oval 9"/>
          <p:cNvSpPr>
            <a:spLocks noChangeArrowheads="1"/>
          </p:cNvSpPr>
          <p:nvPr/>
        </p:nvSpPr>
        <p:spPr bwMode="auto">
          <a:xfrm>
            <a:off x="5978581" y="169943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04" name="Oval 10"/>
          <p:cNvSpPr>
            <a:spLocks noChangeArrowheads="1"/>
          </p:cNvSpPr>
          <p:nvPr/>
        </p:nvSpPr>
        <p:spPr bwMode="auto">
          <a:xfrm>
            <a:off x="5992193" y="169943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05" name="Oval 11"/>
          <p:cNvSpPr>
            <a:spLocks noChangeArrowheads="1"/>
          </p:cNvSpPr>
          <p:nvPr/>
        </p:nvSpPr>
        <p:spPr bwMode="auto">
          <a:xfrm>
            <a:off x="5989669" y="167858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06" name="Oval 12"/>
          <p:cNvSpPr>
            <a:spLocks noChangeArrowheads="1"/>
          </p:cNvSpPr>
          <p:nvPr/>
        </p:nvSpPr>
        <p:spPr bwMode="auto">
          <a:xfrm>
            <a:off x="5992193" y="167858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07" name="Oval 13"/>
          <p:cNvSpPr>
            <a:spLocks noChangeArrowheads="1"/>
          </p:cNvSpPr>
          <p:nvPr/>
        </p:nvSpPr>
        <p:spPr bwMode="auto">
          <a:xfrm>
            <a:off x="5978581" y="168395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08" name="Oval 14"/>
          <p:cNvSpPr>
            <a:spLocks noChangeArrowheads="1"/>
          </p:cNvSpPr>
          <p:nvPr/>
        </p:nvSpPr>
        <p:spPr bwMode="auto">
          <a:xfrm>
            <a:off x="5994626" y="168914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09" name="Oval 15"/>
          <p:cNvSpPr>
            <a:spLocks noChangeArrowheads="1"/>
          </p:cNvSpPr>
          <p:nvPr/>
        </p:nvSpPr>
        <p:spPr bwMode="auto">
          <a:xfrm>
            <a:off x="5992193" y="168395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10" name="Oval 16"/>
          <p:cNvSpPr>
            <a:spLocks noChangeArrowheads="1"/>
          </p:cNvSpPr>
          <p:nvPr/>
        </p:nvSpPr>
        <p:spPr bwMode="auto">
          <a:xfrm>
            <a:off x="5978581" y="167858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11" name="Oval 17"/>
          <p:cNvSpPr>
            <a:spLocks noChangeArrowheads="1"/>
          </p:cNvSpPr>
          <p:nvPr/>
        </p:nvSpPr>
        <p:spPr bwMode="auto">
          <a:xfrm>
            <a:off x="5989669" y="168395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12" name="Oval 18"/>
          <p:cNvSpPr>
            <a:spLocks noChangeArrowheads="1"/>
          </p:cNvSpPr>
          <p:nvPr/>
        </p:nvSpPr>
        <p:spPr bwMode="auto">
          <a:xfrm>
            <a:off x="5994626" y="168395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13" name="Oval 19"/>
          <p:cNvSpPr>
            <a:spLocks noChangeArrowheads="1"/>
          </p:cNvSpPr>
          <p:nvPr/>
        </p:nvSpPr>
        <p:spPr bwMode="auto">
          <a:xfrm>
            <a:off x="5992193" y="168914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14" name="Oval 20"/>
          <p:cNvSpPr>
            <a:spLocks noChangeArrowheads="1"/>
          </p:cNvSpPr>
          <p:nvPr/>
        </p:nvSpPr>
        <p:spPr bwMode="auto">
          <a:xfrm>
            <a:off x="5994626" y="167858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15" name="Oval 21"/>
          <p:cNvSpPr>
            <a:spLocks noChangeArrowheads="1"/>
          </p:cNvSpPr>
          <p:nvPr/>
        </p:nvSpPr>
        <p:spPr bwMode="auto">
          <a:xfrm>
            <a:off x="5989669" y="169424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16" name="Oval 22"/>
          <p:cNvSpPr>
            <a:spLocks noChangeArrowheads="1"/>
          </p:cNvSpPr>
          <p:nvPr/>
        </p:nvSpPr>
        <p:spPr bwMode="auto">
          <a:xfrm>
            <a:off x="5978581" y="169424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17" name="Oval 23"/>
          <p:cNvSpPr>
            <a:spLocks noChangeArrowheads="1"/>
          </p:cNvSpPr>
          <p:nvPr/>
        </p:nvSpPr>
        <p:spPr bwMode="auto">
          <a:xfrm>
            <a:off x="5994626" y="169424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18" name="Oval 24"/>
          <p:cNvSpPr>
            <a:spLocks noChangeArrowheads="1"/>
          </p:cNvSpPr>
          <p:nvPr/>
        </p:nvSpPr>
        <p:spPr bwMode="auto">
          <a:xfrm>
            <a:off x="5992193" y="1694242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19" name="Oval 25"/>
          <p:cNvSpPr>
            <a:spLocks noChangeArrowheads="1"/>
          </p:cNvSpPr>
          <p:nvPr/>
        </p:nvSpPr>
        <p:spPr bwMode="auto">
          <a:xfrm>
            <a:off x="5989669" y="168914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20" name="Oval 26"/>
          <p:cNvSpPr>
            <a:spLocks noChangeArrowheads="1"/>
          </p:cNvSpPr>
          <p:nvPr/>
        </p:nvSpPr>
        <p:spPr bwMode="auto">
          <a:xfrm>
            <a:off x="5978581" y="1689144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33" name="Oval 4132"/>
          <p:cNvSpPr/>
          <p:nvPr/>
        </p:nvSpPr>
        <p:spPr>
          <a:xfrm>
            <a:off x="5834745" y="2294218"/>
            <a:ext cx="109997" cy="111125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3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86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29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72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14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58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999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43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50" dirty="0" smtClean="0">
              <a:solidFill>
                <a:srgbClr val="FFFFFF"/>
              </a:solidFill>
            </a:endParaRPr>
          </a:p>
        </p:txBody>
      </p:sp>
      <p:sp>
        <p:nvSpPr>
          <p:cNvPr id="4134" name="Oval 4133"/>
          <p:cNvSpPr/>
          <p:nvPr/>
        </p:nvSpPr>
        <p:spPr>
          <a:xfrm>
            <a:off x="5838762" y="2298687"/>
            <a:ext cx="101921" cy="102966"/>
          </a:xfrm>
          <a:prstGeom prst="ellipse">
            <a:avLst/>
          </a:prstGeom>
          <a:solidFill>
            <a:srgbClr val="57B84D"/>
          </a:soli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07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3DA649"/>
              </a:solidFill>
            </a:endParaRPr>
          </a:p>
        </p:txBody>
      </p:sp>
      <p:sp>
        <p:nvSpPr>
          <p:cNvPr id="4112" name="Freeform 6"/>
          <p:cNvSpPr>
            <a:spLocks noEditPoints="1"/>
          </p:cNvSpPr>
          <p:nvPr/>
        </p:nvSpPr>
        <p:spPr bwMode="auto">
          <a:xfrm>
            <a:off x="5875555" y="2326464"/>
            <a:ext cx="27657" cy="45021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13" name="Oval 7"/>
          <p:cNvSpPr>
            <a:spLocks noChangeArrowheads="1"/>
          </p:cNvSpPr>
          <p:nvPr/>
        </p:nvSpPr>
        <p:spPr bwMode="auto">
          <a:xfrm>
            <a:off x="5898221" y="235549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14" name="Oval 8"/>
          <p:cNvSpPr>
            <a:spLocks noChangeArrowheads="1"/>
          </p:cNvSpPr>
          <p:nvPr/>
        </p:nvSpPr>
        <p:spPr bwMode="auto">
          <a:xfrm>
            <a:off x="5892257" y="235549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15" name="Oval 9"/>
          <p:cNvSpPr>
            <a:spLocks noChangeArrowheads="1"/>
          </p:cNvSpPr>
          <p:nvPr/>
        </p:nvSpPr>
        <p:spPr bwMode="auto">
          <a:xfrm>
            <a:off x="5878917" y="235549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16" name="Oval 10"/>
          <p:cNvSpPr>
            <a:spLocks noChangeArrowheads="1"/>
          </p:cNvSpPr>
          <p:nvPr/>
        </p:nvSpPr>
        <p:spPr bwMode="auto">
          <a:xfrm>
            <a:off x="5895294" y="235549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17" name="Oval 11"/>
          <p:cNvSpPr>
            <a:spLocks noChangeArrowheads="1"/>
          </p:cNvSpPr>
          <p:nvPr/>
        </p:nvSpPr>
        <p:spPr bwMode="auto">
          <a:xfrm>
            <a:off x="5892257" y="2330407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18" name="Oval 12"/>
          <p:cNvSpPr>
            <a:spLocks noChangeArrowheads="1"/>
          </p:cNvSpPr>
          <p:nvPr/>
        </p:nvSpPr>
        <p:spPr bwMode="auto">
          <a:xfrm>
            <a:off x="5895294" y="2330407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19" name="Oval 13"/>
          <p:cNvSpPr>
            <a:spLocks noChangeArrowheads="1"/>
          </p:cNvSpPr>
          <p:nvPr/>
        </p:nvSpPr>
        <p:spPr bwMode="auto">
          <a:xfrm>
            <a:off x="5878917" y="2336870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20" name="Oval 14"/>
          <p:cNvSpPr>
            <a:spLocks noChangeArrowheads="1"/>
          </p:cNvSpPr>
          <p:nvPr/>
        </p:nvSpPr>
        <p:spPr bwMode="auto">
          <a:xfrm>
            <a:off x="5898221" y="2343114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21" name="Oval 15"/>
          <p:cNvSpPr>
            <a:spLocks noChangeArrowheads="1"/>
          </p:cNvSpPr>
          <p:nvPr/>
        </p:nvSpPr>
        <p:spPr bwMode="auto">
          <a:xfrm>
            <a:off x="5895294" y="2336870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22" name="Oval 16"/>
          <p:cNvSpPr>
            <a:spLocks noChangeArrowheads="1"/>
          </p:cNvSpPr>
          <p:nvPr/>
        </p:nvSpPr>
        <p:spPr bwMode="auto">
          <a:xfrm>
            <a:off x="5878917" y="2330407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23" name="Oval 17"/>
          <p:cNvSpPr>
            <a:spLocks noChangeArrowheads="1"/>
          </p:cNvSpPr>
          <p:nvPr/>
        </p:nvSpPr>
        <p:spPr bwMode="auto">
          <a:xfrm>
            <a:off x="5892257" y="2336870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24" name="Oval 18"/>
          <p:cNvSpPr>
            <a:spLocks noChangeArrowheads="1"/>
          </p:cNvSpPr>
          <p:nvPr/>
        </p:nvSpPr>
        <p:spPr bwMode="auto">
          <a:xfrm>
            <a:off x="5898221" y="2336870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25" name="Oval 19"/>
          <p:cNvSpPr>
            <a:spLocks noChangeArrowheads="1"/>
          </p:cNvSpPr>
          <p:nvPr/>
        </p:nvSpPr>
        <p:spPr bwMode="auto">
          <a:xfrm>
            <a:off x="5895294" y="2343114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26" name="Oval 20"/>
          <p:cNvSpPr>
            <a:spLocks noChangeArrowheads="1"/>
          </p:cNvSpPr>
          <p:nvPr/>
        </p:nvSpPr>
        <p:spPr bwMode="auto">
          <a:xfrm>
            <a:off x="5898221" y="2330407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27" name="Oval 21"/>
          <p:cNvSpPr>
            <a:spLocks noChangeArrowheads="1"/>
          </p:cNvSpPr>
          <p:nvPr/>
        </p:nvSpPr>
        <p:spPr bwMode="auto">
          <a:xfrm>
            <a:off x="5892257" y="234924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28" name="Oval 22"/>
          <p:cNvSpPr>
            <a:spLocks noChangeArrowheads="1"/>
          </p:cNvSpPr>
          <p:nvPr/>
        </p:nvSpPr>
        <p:spPr bwMode="auto">
          <a:xfrm>
            <a:off x="5878917" y="234924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29" name="Oval 23"/>
          <p:cNvSpPr>
            <a:spLocks noChangeArrowheads="1"/>
          </p:cNvSpPr>
          <p:nvPr/>
        </p:nvSpPr>
        <p:spPr bwMode="auto">
          <a:xfrm>
            <a:off x="5898221" y="234924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30" name="Oval 24"/>
          <p:cNvSpPr>
            <a:spLocks noChangeArrowheads="1"/>
          </p:cNvSpPr>
          <p:nvPr/>
        </p:nvSpPr>
        <p:spPr bwMode="auto">
          <a:xfrm>
            <a:off x="5895294" y="234924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31" name="Oval 25"/>
          <p:cNvSpPr>
            <a:spLocks noChangeArrowheads="1"/>
          </p:cNvSpPr>
          <p:nvPr/>
        </p:nvSpPr>
        <p:spPr bwMode="auto">
          <a:xfrm>
            <a:off x="5892257" y="2343114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32" name="Oval 26"/>
          <p:cNvSpPr>
            <a:spLocks noChangeArrowheads="1"/>
          </p:cNvSpPr>
          <p:nvPr/>
        </p:nvSpPr>
        <p:spPr bwMode="auto">
          <a:xfrm>
            <a:off x="5878917" y="2343114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91" name="Freeform 6"/>
          <p:cNvSpPr>
            <a:spLocks noEditPoints="1"/>
          </p:cNvSpPr>
          <p:nvPr/>
        </p:nvSpPr>
        <p:spPr bwMode="auto">
          <a:xfrm>
            <a:off x="5903036" y="2330689"/>
            <a:ext cx="22989" cy="37422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92" name="Oval 7"/>
          <p:cNvSpPr>
            <a:spLocks noChangeArrowheads="1"/>
          </p:cNvSpPr>
          <p:nvPr/>
        </p:nvSpPr>
        <p:spPr bwMode="auto">
          <a:xfrm>
            <a:off x="5920167" y="235481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93" name="Oval 8"/>
          <p:cNvSpPr>
            <a:spLocks noChangeArrowheads="1"/>
          </p:cNvSpPr>
          <p:nvPr/>
        </p:nvSpPr>
        <p:spPr bwMode="auto">
          <a:xfrm>
            <a:off x="5915210" y="235481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94" name="Oval 9"/>
          <p:cNvSpPr>
            <a:spLocks noChangeArrowheads="1"/>
          </p:cNvSpPr>
          <p:nvPr/>
        </p:nvSpPr>
        <p:spPr bwMode="auto">
          <a:xfrm>
            <a:off x="5904122" y="235481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95" name="Oval 10"/>
          <p:cNvSpPr>
            <a:spLocks noChangeArrowheads="1"/>
          </p:cNvSpPr>
          <p:nvPr/>
        </p:nvSpPr>
        <p:spPr bwMode="auto">
          <a:xfrm>
            <a:off x="5917735" y="235481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96" name="Oval 11"/>
          <p:cNvSpPr>
            <a:spLocks noChangeArrowheads="1"/>
          </p:cNvSpPr>
          <p:nvPr/>
        </p:nvSpPr>
        <p:spPr bwMode="auto">
          <a:xfrm>
            <a:off x="5915210" y="233396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97" name="Oval 12"/>
          <p:cNvSpPr>
            <a:spLocks noChangeArrowheads="1"/>
          </p:cNvSpPr>
          <p:nvPr/>
        </p:nvSpPr>
        <p:spPr bwMode="auto">
          <a:xfrm>
            <a:off x="5917735" y="233396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98" name="Oval 13"/>
          <p:cNvSpPr>
            <a:spLocks noChangeArrowheads="1"/>
          </p:cNvSpPr>
          <p:nvPr/>
        </p:nvSpPr>
        <p:spPr bwMode="auto">
          <a:xfrm>
            <a:off x="5904122" y="233934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99" name="Oval 14"/>
          <p:cNvSpPr>
            <a:spLocks noChangeArrowheads="1"/>
          </p:cNvSpPr>
          <p:nvPr/>
        </p:nvSpPr>
        <p:spPr bwMode="auto">
          <a:xfrm>
            <a:off x="5920167" y="2344529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00" name="Oval 15"/>
          <p:cNvSpPr>
            <a:spLocks noChangeArrowheads="1"/>
          </p:cNvSpPr>
          <p:nvPr/>
        </p:nvSpPr>
        <p:spPr bwMode="auto">
          <a:xfrm>
            <a:off x="5917735" y="233934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01" name="Oval 16"/>
          <p:cNvSpPr>
            <a:spLocks noChangeArrowheads="1"/>
          </p:cNvSpPr>
          <p:nvPr/>
        </p:nvSpPr>
        <p:spPr bwMode="auto">
          <a:xfrm>
            <a:off x="5904122" y="233396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02" name="Oval 17"/>
          <p:cNvSpPr>
            <a:spLocks noChangeArrowheads="1"/>
          </p:cNvSpPr>
          <p:nvPr/>
        </p:nvSpPr>
        <p:spPr bwMode="auto">
          <a:xfrm>
            <a:off x="5915210" y="233934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03" name="Oval 18"/>
          <p:cNvSpPr>
            <a:spLocks noChangeArrowheads="1"/>
          </p:cNvSpPr>
          <p:nvPr/>
        </p:nvSpPr>
        <p:spPr bwMode="auto">
          <a:xfrm>
            <a:off x="5920167" y="233934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04" name="Oval 19"/>
          <p:cNvSpPr>
            <a:spLocks noChangeArrowheads="1"/>
          </p:cNvSpPr>
          <p:nvPr/>
        </p:nvSpPr>
        <p:spPr bwMode="auto">
          <a:xfrm>
            <a:off x="5917735" y="2344529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05" name="Oval 20"/>
          <p:cNvSpPr>
            <a:spLocks noChangeArrowheads="1"/>
          </p:cNvSpPr>
          <p:nvPr/>
        </p:nvSpPr>
        <p:spPr bwMode="auto">
          <a:xfrm>
            <a:off x="5920167" y="233396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06" name="Oval 21"/>
          <p:cNvSpPr>
            <a:spLocks noChangeArrowheads="1"/>
          </p:cNvSpPr>
          <p:nvPr/>
        </p:nvSpPr>
        <p:spPr bwMode="auto">
          <a:xfrm>
            <a:off x="5915210" y="234962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07" name="Oval 22"/>
          <p:cNvSpPr>
            <a:spLocks noChangeArrowheads="1"/>
          </p:cNvSpPr>
          <p:nvPr/>
        </p:nvSpPr>
        <p:spPr bwMode="auto">
          <a:xfrm>
            <a:off x="5904122" y="234962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08" name="Oval 23"/>
          <p:cNvSpPr>
            <a:spLocks noChangeArrowheads="1"/>
          </p:cNvSpPr>
          <p:nvPr/>
        </p:nvSpPr>
        <p:spPr bwMode="auto">
          <a:xfrm>
            <a:off x="5920167" y="234962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09" name="Oval 24"/>
          <p:cNvSpPr>
            <a:spLocks noChangeArrowheads="1"/>
          </p:cNvSpPr>
          <p:nvPr/>
        </p:nvSpPr>
        <p:spPr bwMode="auto">
          <a:xfrm>
            <a:off x="5917735" y="234962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10" name="Oval 25"/>
          <p:cNvSpPr>
            <a:spLocks noChangeArrowheads="1"/>
          </p:cNvSpPr>
          <p:nvPr/>
        </p:nvSpPr>
        <p:spPr bwMode="auto">
          <a:xfrm>
            <a:off x="5915210" y="2344529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11" name="Oval 26"/>
          <p:cNvSpPr>
            <a:spLocks noChangeArrowheads="1"/>
          </p:cNvSpPr>
          <p:nvPr/>
        </p:nvSpPr>
        <p:spPr bwMode="auto">
          <a:xfrm>
            <a:off x="5904122" y="2344529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70" name="Freeform 6"/>
          <p:cNvSpPr>
            <a:spLocks noEditPoints="1"/>
          </p:cNvSpPr>
          <p:nvPr/>
        </p:nvSpPr>
        <p:spPr bwMode="auto">
          <a:xfrm>
            <a:off x="5853026" y="2330689"/>
            <a:ext cx="22988" cy="37422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71" name="Oval 7"/>
          <p:cNvSpPr>
            <a:spLocks noChangeArrowheads="1"/>
          </p:cNvSpPr>
          <p:nvPr/>
        </p:nvSpPr>
        <p:spPr bwMode="auto">
          <a:xfrm>
            <a:off x="5871865" y="235481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72" name="Oval 8"/>
          <p:cNvSpPr>
            <a:spLocks noChangeArrowheads="1"/>
          </p:cNvSpPr>
          <p:nvPr/>
        </p:nvSpPr>
        <p:spPr bwMode="auto">
          <a:xfrm>
            <a:off x="5866908" y="235481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73" name="Oval 9"/>
          <p:cNvSpPr>
            <a:spLocks noChangeArrowheads="1"/>
          </p:cNvSpPr>
          <p:nvPr/>
        </p:nvSpPr>
        <p:spPr bwMode="auto">
          <a:xfrm>
            <a:off x="5855820" y="235481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74" name="Oval 10"/>
          <p:cNvSpPr>
            <a:spLocks noChangeArrowheads="1"/>
          </p:cNvSpPr>
          <p:nvPr/>
        </p:nvSpPr>
        <p:spPr bwMode="auto">
          <a:xfrm>
            <a:off x="5869432" y="235481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75" name="Oval 11"/>
          <p:cNvSpPr>
            <a:spLocks noChangeArrowheads="1"/>
          </p:cNvSpPr>
          <p:nvPr/>
        </p:nvSpPr>
        <p:spPr bwMode="auto">
          <a:xfrm>
            <a:off x="5866908" y="233396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76" name="Oval 12"/>
          <p:cNvSpPr>
            <a:spLocks noChangeArrowheads="1"/>
          </p:cNvSpPr>
          <p:nvPr/>
        </p:nvSpPr>
        <p:spPr bwMode="auto">
          <a:xfrm>
            <a:off x="5869432" y="233396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77" name="Oval 13"/>
          <p:cNvSpPr>
            <a:spLocks noChangeArrowheads="1"/>
          </p:cNvSpPr>
          <p:nvPr/>
        </p:nvSpPr>
        <p:spPr bwMode="auto">
          <a:xfrm>
            <a:off x="5855820" y="233934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78" name="Oval 14"/>
          <p:cNvSpPr>
            <a:spLocks noChangeArrowheads="1"/>
          </p:cNvSpPr>
          <p:nvPr/>
        </p:nvSpPr>
        <p:spPr bwMode="auto">
          <a:xfrm>
            <a:off x="5871865" y="2344529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79" name="Oval 15"/>
          <p:cNvSpPr>
            <a:spLocks noChangeArrowheads="1"/>
          </p:cNvSpPr>
          <p:nvPr/>
        </p:nvSpPr>
        <p:spPr bwMode="auto">
          <a:xfrm>
            <a:off x="5869432" y="233934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80" name="Oval 16"/>
          <p:cNvSpPr>
            <a:spLocks noChangeArrowheads="1"/>
          </p:cNvSpPr>
          <p:nvPr/>
        </p:nvSpPr>
        <p:spPr bwMode="auto">
          <a:xfrm>
            <a:off x="5855820" y="233396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81" name="Oval 17"/>
          <p:cNvSpPr>
            <a:spLocks noChangeArrowheads="1"/>
          </p:cNvSpPr>
          <p:nvPr/>
        </p:nvSpPr>
        <p:spPr bwMode="auto">
          <a:xfrm>
            <a:off x="5866908" y="233934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82" name="Oval 18"/>
          <p:cNvSpPr>
            <a:spLocks noChangeArrowheads="1"/>
          </p:cNvSpPr>
          <p:nvPr/>
        </p:nvSpPr>
        <p:spPr bwMode="auto">
          <a:xfrm>
            <a:off x="5871865" y="2339340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83" name="Oval 19"/>
          <p:cNvSpPr>
            <a:spLocks noChangeArrowheads="1"/>
          </p:cNvSpPr>
          <p:nvPr/>
        </p:nvSpPr>
        <p:spPr bwMode="auto">
          <a:xfrm>
            <a:off x="5869432" y="2344529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84" name="Oval 20"/>
          <p:cNvSpPr>
            <a:spLocks noChangeArrowheads="1"/>
          </p:cNvSpPr>
          <p:nvPr/>
        </p:nvSpPr>
        <p:spPr bwMode="auto">
          <a:xfrm>
            <a:off x="5871865" y="233396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85" name="Oval 21"/>
          <p:cNvSpPr>
            <a:spLocks noChangeArrowheads="1"/>
          </p:cNvSpPr>
          <p:nvPr/>
        </p:nvSpPr>
        <p:spPr bwMode="auto">
          <a:xfrm>
            <a:off x="5866908" y="234962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86" name="Oval 22"/>
          <p:cNvSpPr>
            <a:spLocks noChangeArrowheads="1"/>
          </p:cNvSpPr>
          <p:nvPr/>
        </p:nvSpPr>
        <p:spPr bwMode="auto">
          <a:xfrm>
            <a:off x="5855820" y="234962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87" name="Oval 23"/>
          <p:cNvSpPr>
            <a:spLocks noChangeArrowheads="1"/>
          </p:cNvSpPr>
          <p:nvPr/>
        </p:nvSpPr>
        <p:spPr bwMode="auto">
          <a:xfrm>
            <a:off x="5871865" y="234962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88" name="Oval 24"/>
          <p:cNvSpPr>
            <a:spLocks noChangeArrowheads="1"/>
          </p:cNvSpPr>
          <p:nvPr/>
        </p:nvSpPr>
        <p:spPr bwMode="auto">
          <a:xfrm>
            <a:off x="5869432" y="234962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89" name="Oval 25"/>
          <p:cNvSpPr>
            <a:spLocks noChangeArrowheads="1"/>
          </p:cNvSpPr>
          <p:nvPr/>
        </p:nvSpPr>
        <p:spPr bwMode="auto">
          <a:xfrm>
            <a:off x="5866908" y="2344529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090" name="Oval 26"/>
          <p:cNvSpPr>
            <a:spLocks noChangeArrowheads="1"/>
          </p:cNvSpPr>
          <p:nvPr/>
        </p:nvSpPr>
        <p:spPr bwMode="auto">
          <a:xfrm>
            <a:off x="5855820" y="2344529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203" name="Oval 4202"/>
          <p:cNvSpPr/>
          <p:nvPr/>
        </p:nvSpPr>
        <p:spPr>
          <a:xfrm>
            <a:off x="6270132" y="2276427"/>
            <a:ext cx="109997" cy="111125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43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86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29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72" algn="l" defTabSz="45714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14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58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999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143" algn="l" defTabSz="457143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50" dirty="0" smtClean="0">
              <a:solidFill>
                <a:srgbClr val="FFFFFF"/>
              </a:solidFill>
            </a:endParaRPr>
          </a:p>
        </p:txBody>
      </p:sp>
      <p:sp>
        <p:nvSpPr>
          <p:cNvPr id="4204" name="Oval 4203"/>
          <p:cNvSpPr/>
          <p:nvPr/>
        </p:nvSpPr>
        <p:spPr>
          <a:xfrm>
            <a:off x="6274149" y="2280895"/>
            <a:ext cx="101921" cy="102966"/>
          </a:xfrm>
          <a:prstGeom prst="ellipse">
            <a:avLst/>
          </a:prstGeom>
          <a:solidFill>
            <a:srgbClr val="57B84D"/>
          </a:soli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07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3DA649"/>
              </a:solidFill>
            </a:endParaRPr>
          </a:p>
        </p:txBody>
      </p:sp>
      <p:sp>
        <p:nvSpPr>
          <p:cNvPr id="4182" name="Freeform 6"/>
          <p:cNvSpPr>
            <a:spLocks noEditPoints="1"/>
          </p:cNvSpPr>
          <p:nvPr/>
        </p:nvSpPr>
        <p:spPr bwMode="auto">
          <a:xfrm>
            <a:off x="6310942" y="2308672"/>
            <a:ext cx="27657" cy="45021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83" name="Oval 7"/>
          <p:cNvSpPr>
            <a:spLocks noChangeArrowheads="1"/>
          </p:cNvSpPr>
          <p:nvPr/>
        </p:nvSpPr>
        <p:spPr bwMode="auto">
          <a:xfrm>
            <a:off x="6333608" y="2337700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84" name="Oval 8"/>
          <p:cNvSpPr>
            <a:spLocks noChangeArrowheads="1"/>
          </p:cNvSpPr>
          <p:nvPr/>
        </p:nvSpPr>
        <p:spPr bwMode="auto">
          <a:xfrm>
            <a:off x="6327644" y="2337700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85" name="Oval 9"/>
          <p:cNvSpPr>
            <a:spLocks noChangeArrowheads="1"/>
          </p:cNvSpPr>
          <p:nvPr/>
        </p:nvSpPr>
        <p:spPr bwMode="auto">
          <a:xfrm>
            <a:off x="6314304" y="2337700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86" name="Oval 10"/>
          <p:cNvSpPr>
            <a:spLocks noChangeArrowheads="1"/>
          </p:cNvSpPr>
          <p:nvPr/>
        </p:nvSpPr>
        <p:spPr bwMode="auto">
          <a:xfrm>
            <a:off x="6330681" y="2337700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87" name="Oval 11"/>
          <p:cNvSpPr>
            <a:spLocks noChangeArrowheads="1"/>
          </p:cNvSpPr>
          <p:nvPr/>
        </p:nvSpPr>
        <p:spPr bwMode="auto">
          <a:xfrm>
            <a:off x="6327644" y="2312616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88" name="Oval 12"/>
          <p:cNvSpPr>
            <a:spLocks noChangeArrowheads="1"/>
          </p:cNvSpPr>
          <p:nvPr/>
        </p:nvSpPr>
        <p:spPr bwMode="auto">
          <a:xfrm>
            <a:off x="6330681" y="2312616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89" name="Oval 13"/>
          <p:cNvSpPr>
            <a:spLocks noChangeArrowheads="1"/>
          </p:cNvSpPr>
          <p:nvPr/>
        </p:nvSpPr>
        <p:spPr bwMode="auto">
          <a:xfrm>
            <a:off x="6314304" y="231907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90" name="Oval 14"/>
          <p:cNvSpPr>
            <a:spLocks noChangeArrowheads="1"/>
          </p:cNvSpPr>
          <p:nvPr/>
        </p:nvSpPr>
        <p:spPr bwMode="auto">
          <a:xfrm>
            <a:off x="6333608" y="232532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91" name="Oval 15"/>
          <p:cNvSpPr>
            <a:spLocks noChangeArrowheads="1"/>
          </p:cNvSpPr>
          <p:nvPr/>
        </p:nvSpPr>
        <p:spPr bwMode="auto">
          <a:xfrm>
            <a:off x="6330681" y="231907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92" name="Oval 16"/>
          <p:cNvSpPr>
            <a:spLocks noChangeArrowheads="1"/>
          </p:cNvSpPr>
          <p:nvPr/>
        </p:nvSpPr>
        <p:spPr bwMode="auto">
          <a:xfrm>
            <a:off x="6314304" y="2312616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93" name="Oval 17"/>
          <p:cNvSpPr>
            <a:spLocks noChangeArrowheads="1"/>
          </p:cNvSpPr>
          <p:nvPr/>
        </p:nvSpPr>
        <p:spPr bwMode="auto">
          <a:xfrm>
            <a:off x="6327644" y="231907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94" name="Oval 18"/>
          <p:cNvSpPr>
            <a:spLocks noChangeArrowheads="1"/>
          </p:cNvSpPr>
          <p:nvPr/>
        </p:nvSpPr>
        <p:spPr bwMode="auto">
          <a:xfrm>
            <a:off x="6333608" y="2319078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95" name="Oval 19"/>
          <p:cNvSpPr>
            <a:spLocks noChangeArrowheads="1"/>
          </p:cNvSpPr>
          <p:nvPr/>
        </p:nvSpPr>
        <p:spPr bwMode="auto">
          <a:xfrm>
            <a:off x="6330681" y="232532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96" name="Oval 20"/>
          <p:cNvSpPr>
            <a:spLocks noChangeArrowheads="1"/>
          </p:cNvSpPr>
          <p:nvPr/>
        </p:nvSpPr>
        <p:spPr bwMode="auto">
          <a:xfrm>
            <a:off x="6333608" y="2312616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97" name="Oval 21"/>
          <p:cNvSpPr>
            <a:spLocks noChangeArrowheads="1"/>
          </p:cNvSpPr>
          <p:nvPr/>
        </p:nvSpPr>
        <p:spPr bwMode="auto">
          <a:xfrm>
            <a:off x="6327644" y="2331457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98" name="Oval 22"/>
          <p:cNvSpPr>
            <a:spLocks noChangeArrowheads="1"/>
          </p:cNvSpPr>
          <p:nvPr/>
        </p:nvSpPr>
        <p:spPr bwMode="auto">
          <a:xfrm>
            <a:off x="6314304" y="2331457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99" name="Oval 23"/>
          <p:cNvSpPr>
            <a:spLocks noChangeArrowheads="1"/>
          </p:cNvSpPr>
          <p:nvPr/>
        </p:nvSpPr>
        <p:spPr bwMode="auto">
          <a:xfrm>
            <a:off x="6333608" y="2331457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200" name="Oval 24"/>
          <p:cNvSpPr>
            <a:spLocks noChangeArrowheads="1"/>
          </p:cNvSpPr>
          <p:nvPr/>
        </p:nvSpPr>
        <p:spPr bwMode="auto">
          <a:xfrm>
            <a:off x="6330681" y="2331457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201" name="Oval 25"/>
          <p:cNvSpPr>
            <a:spLocks noChangeArrowheads="1"/>
          </p:cNvSpPr>
          <p:nvPr/>
        </p:nvSpPr>
        <p:spPr bwMode="auto">
          <a:xfrm>
            <a:off x="6327644" y="232532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202" name="Oval 26"/>
          <p:cNvSpPr>
            <a:spLocks noChangeArrowheads="1"/>
          </p:cNvSpPr>
          <p:nvPr/>
        </p:nvSpPr>
        <p:spPr bwMode="auto">
          <a:xfrm>
            <a:off x="6314304" y="2325322"/>
            <a:ext cx="2076" cy="2098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61" name="Freeform 6"/>
          <p:cNvSpPr>
            <a:spLocks noEditPoints="1"/>
          </p:cNvSpPr>
          <p:nvPr/>
        </p:nvSpPr>
        <p:spPr bwMode="auto">
          <a:xfrm>
            <a:off x="6338423" y="2312898"/>
            <a:ext cx="22989" cy="37422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62" name="Oval 7"/>
          <p:cNvSpPr>
            <a:spLocks noChangeArrowheads="1"/>
          </p:cNvSpPr>
          <p:nvPr/>
        </p:nvSpPr>
        <p:spPr bwMode="auto">
          <a:xfrm>
            <a:off x="6355554" y="233702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63" name="Oval 8"/>
          <p:cNvSpPr>
            <a:spLocks noChangeArrowheads="1"/>
          </p:cNvSpPr>
          <p:nvPr/>
        </p:nvSpPr>
        <p:spPr bwMode="auto">
          <a:xfrm>
            <a:off x="6350597" y="233702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64" name="Oval 9"/>
          <p:cNvSpPr>
            <a:spLocks noChangeArrowheads="1"/>
          </p:cNvSpPr>
          <p:nvPr/>
        </p:nvSpPr>
        <p:spPr bwMode="auto">
          <a:xfrm>
            <a:off x="6339509" y="233702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65" name="Oval 10"/>
          <p:cNvSpPr>
            <a:spLocks noChangeArrowheads="1"/>
          </p:cNvSpPr>
          <p:nvPr/>
        </p:nvSpPr>
        <p:spPr bwMode="auto">
          <a:xfrm>
            <a:off x="6353122" y="233702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66" name="Oval 11"/>
          <p:cNvSpPr>
            <a:spLocks noChangeArrowheads="1"/>
          </p:cNvSpPr>
          <p:nvPr/>
        </p:nvSpPr>
        <p:spPr bwMode="auto">
          <a:xfrm>
            <a:off x="6350597" y="231617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67" name="Oval 12"/>
          <p:cNvSpPr>
            <a:spLocks noChangeArrowheads="1"/>
          </p:cNvSpPr>
          <p:nvPr/>
        </p:nvSpPr>
        <p:spPr bwMode="auto">
          <a:xfrm>
            <a:off x="6353122" y="231617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68" name="Oval 13"/>
          <p:cNvSpPr>
            <a:spLocks noChangeArrowheads="1"/>
          </p:cNvSpPr>
          <p:nvPr/>
        </p:nvSpPr>
        <p:spPr bwMode="auto">
          <a:xfrm>
            <a:off x="6339509" y="232154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69" name="Oval 14"/>
          <p:cNvSpPr>
            <a:spLocks noChangeArrowheads="1"/>
          </p:cNvSpPr>
          <p:nvPr/>
        </p:nvSpPr>
        <p:spPr bwMode="auto">
          <a:xfrm>
            <a:off x="6355554" y="232673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70" name="Oval 15"/>
          <p:cNvSpPr>
            <a:spLocks noChangeArrowheads="1"/>
          </p:cNvSpPr>
          <p:nvPr/>
        </p:nvSpPr>
        <p:spPr bwMode="auto">
          <a:xfrm>
            <a:off x="6353122" y="232154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71" name="Oval 16"/>
          <p:cNvSpPr>
            <a:spLocks noChangeArrowheads="1"/>
          </p:cNvSpPr>
          <p:nvPr/>
        </p:nvSpPr>
        <p:spPr bwMode="auto">
          <a:xfrm>
            <a:off x="6339509" y="231617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72" name="Oval 17"/>
          <p:cNvSpPr>
            <a:spLocks noChangeArrowheads="1"/>
          </p:cNvSpPr>
          <p:nvPr/>
        </p:nvSpPr>
        <p:spPr bwMode="auto">
          <a:xfrm>
            <a:off x="6350597" y="232154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73" name="Oval 18"/>
          <p:cNvSpPr>
            <a:spLocks noChangeArrowheads="1"/>
          </p:cNvSpPr>
          <p:nvPr/>
        </p:nvSpPr>
        <p:spPr bwMode="auto">
          <a:xfrm>
            <a:off x="6355554" y="232154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74" name="Oval 19"/>
          <p:cNvSpPr>
            <a:spLocks noChangeArrowheads="1"/>
          </p:cNvSpPr>
          <p:nvPr/>
        </p:nvSpPr>
        <p:spPr bwMode="auto">
          <a:xfrm>
            <a:off x="6353122" y="232673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75" name="Oval 20"/>
          <p:cNvSpPr>
            <a:spLocks noChangeArrowheads="1"/>
          </p:cNvSpPr>
          <p:nvPr/>
        </p:nvSpPr>
        <p:spPr bwMode="auto">
          <a:xfrm>
            <a:off x="6355554" y="231617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76" name="Oval 21"/>
          <p:cNvSpPr>
            <a:spLocks noChangeArrowheads="1"/>
          </p:cNvSpPr>
          <p:nvPr/>
        </p:nvSpPr>
        <p:spPr bwMode="auto">
          <a:xfrm>
            <a:off x="6350597" y="233183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77" name="Oval 22"/>
          <p:cNvSpPr>
            <a:spLocks noChangeArrowheads="1"/>
          </p:cNvSpPr>
          <p:nvPr/>
        </p:nvSpPr>
        <p:spPr bwMode="auto">
          <a:xfrm>
            <a:off x="6339509" y="233183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78" name="Oval 23"/>
          <p:cNvSpPr>
            <a:spLocks noChangeArrowheads="1"/>
          </p:cNvSpPr>
          <p:nvPr/>
        </p:nvSpPr>
        <p:spPr bwMode="auto">
          <a:xfrm>
            <a:off x="6355554" y="233183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79" name="Oval 24"/>
          <p:cNvSpPr>
            <a:spLocks noChangeArrowheads="1"/>
          </p:cNvSpPr>
          <p:nvPr/>
        </p:nvSpPr>
        <p:spPr bwMode="auto">
          <a:xfrm>
            <a:off x="6353122" y="233183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80" name="Oval 25"/>
          <p:cNvSpPr>
            <a:spLocks noChangeArrowheads="1"/>
          </p:cNvSpPr>
          <p:nvPr/>
        </p:nvSpPr>
        <p:spPr bwMode="auto">
          <a:xfrm>
            <a:off x="6350597" y="232673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81" name="Oval 26"/>
          <p:cNvSpPr>
            <a:spLocks noChangeArrowheads="1"/>
          </p:cNvSpPr>
          <p:nvPr/>
        </p:nvSpPr>
        <p:spPr bwMode="auto">
          <a:xfrm>
            <a:off x="6339509" y="232673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40" name="Freeform 6"/>
          <p:cNvSpPr>
            <a:spLocks noEditPoints="1"/>
          </p:cNvSpPr>
          <p:nvPr/>
        </p:nvSpPr>
        <p:spPr bwMode="auto">
          <a:xfrm>
            <a:off x="6288413" y="2312898"/>
            <a:ext cx="22988" cy="37422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41" name="Oval 7"/>
          <p:cNvSpPr>
            <a:spLocks noChangeArrowheads="1"/>
          </p:cNvSpPr>
          <p:nvPr/>
        </p:nvSpPr>
        <p:spPr bwMode="auto">
          <a:xfrm>
            <a:off x="6307252" y="233702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42" name="Oval 8"/>
          <p:cNvSpPr>
            <a:spLocks noChangeArrowheads="1"/>
          </p:cNvSpPr>
          <p:nvPr/>
        </p:nvSpPr>
        <p:spPr bwMode="auto">
          <a:xfrm>
            <a:off x="6302295" y="233702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43" name="Oval 9"/>
          <p:cNvSpPr>
            <a:spLocks noChangeArrowheads="1"/>
          </p:cNvSpPr>
          <p:nvPr/>
        </p:nvSpPr>
        <p:spPr bwMode="auto">
          <a:xfrm>
            <a:off x="6291207" y="233702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44" name="Oval 10"/>
          <p:cNvSpPr>
            <a:spLocks noChangeArrowheads="1"/>
          </p:cNvSpPr>
          <p:nvPr/>
        </p:nvSpPr>
        <p:spPr bwMode="auto">
          <a:xfrm>
            <a:off x="6304819" y="233702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45" name="Oval 11"/>
          <p:cNvSpPr>
            <a:spLocks noChangeArrowheads="1"/>
          </p:cNvSpPr>
          <p:nvPr/>
        </p:nvSpPr>
        <p:spPr bwMode="auto">
          <a:xfrm>
            <a:off x="6302295" y="231617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46" name="Oval 12"/>
          <p:cNvSpPr>
            <a:spLocks noChangeArrowheads="1"/>
          </p:cNvSpPr>
          <p:nvPr/>
        </p:nvSpPr>
        <p:spPr bwMode="auto">
          <a:xfrm>
            <a:off x="6304819" y="231617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47" name="Oval 13"/>
          <p:cNvSpPr>
            <a:spLocks noChangeArrowheads="1"/>
          </p:cNvSpPr>
          <p:nvPr/>
        </p:nvSpPr>
        <p:spPr bwMode="auto">
          <a:xfrm>
            <a:off x="6291207" y="232154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48" name="Oval 14"/>
          <p:cNvSpPr>
            <a:spLocks noChangeArrowheads="1"/>
          </p:cNvSpPr>
          <p:nvPr/>
        </p:nvSpPr>
        <p:spPr bwMode="auto">
          <a:xfrm>
            <a:off x="6307252" y="232673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49" name="Oval 15"/>
          <p:cNvSpPr>
            <a:spLocks noChangeArrowheads="1"/>
          </p:cNvSpPr>
          <p:nvPr/>
        </p:nvSpPr>
        <p:spPr bwMode="auto">
          <a:xfrm>
            <a:off x="6304819" y="232154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50" name="Oval 16"/>
          <p:cNvSpPr>
            <a:spLocks noChangeArrowheads="1"/>
          </p:cNvSpPr>
          <p:nvPr/>
        </p:nvSpPr>
        <p:spPr bwMode="auto">
          <a:xfrm>
            <a:off x="6291207" y="231617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51" name="Oval 17"/>
          <p:cNvSpPr>
            <a:spLocks noChangeArrowheads="1"/>
          </p:cNvSpPr>
          <p:nvPr/>
        </p:nvSpPr>
        <p:spPr bwMode="auto">
          <a:xfrm>
            <a:off x="6302295" y="232154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52" name="Oval 18"/>
          <p:cNvSpPr>
            <a:spLocks noChangeArrowheads="1"/>
          </p:cNvSpPr>
          <p:nvPr/>
        </p:nvSpPr>
        <p:spPr bwMode="auto">
          <a:xfrm>
            <a:off x="6307252" y="232154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53" name="Oval 19"/>
          <p:cNvSpPr>
            <a:spLocks noChangeArrowheads="1"/>
          </p:cNvSpPr>
          <p:nvPr/>
        </p:nvSpPr>
        <p:spPr bwMode="auto">
          <a:xfrm>
            <a:off x="6304819" y="232673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54" name="Oval 20"/>
          <p:cNvSpPr>
            <a:spLocks noChangeArrowheads="1"/>
          </p:cNvSpPr>
          <p:nvPr/>
        </p:nvSpPr>
        <p:spPr bwMode="auto">
          <a:xfrm>
            <a:off x="6307252" y="231617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55" name="Oval 21"/>
          <p:cNvSpPr>
            <a:spLocks noChangeArrowheads="1"/>
          </p:cNvSpPr>
          <p:nvPr/>
        </p:nvSpPr>
        <p:spPr bwMode="auto">
          <a:xfrm>
            <a:off x="6302295" y="233183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56" name="Oval 22"/>
          <p:cNvSpPr>
            <a:spLocks noChangeArrowheads="1"/>
          </p:cNvSpPr>
          <p:nvPr/>
        </p:nvSpPr>
        <p:spPr bwMode="auto">
          <a:xfrm>
            <a:off x="6291207" y="233183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57" name="Oval 23"/>
          <p:cNvSpPr>
            <a:spLocks noChangeArrowheads="1"/>
          </p:cNvSpPr>
          <p:nvPr/>
        </p:nvSpPr>
        <p:spPr bwMode="auto">
          <a:xfrm>
            <a:off x="6307252" y="233183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58" name="Oval 24"/>
          <p:cNvSpPr>
            <a:spLocks noChangeArrowheads="1"/>
          </p:cNvSpPr>
          <p:nvPr/>
        </p:nvSpPr>
        <p:spPr bwMode="auto">
          <a:xfrm>
            <a:off x="6304819" y="2331836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59" name="Oval 25"/>
          <p:cNvSpPr>
            <a:spLocks noChangeArrowheads="1"/>
          </p:cNvSpPr>
          <p:nvPr/>
        </p:nvSpPr>
        <p:spPr bwMode="auto">
          <a:xfrm>
            <a:off x="6302295" y="232673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160" name="Oval 26"/>
          <p:cNvSpPr>
            <a:spLocks noChangeArrowheads="1"/>
          </p:cNvSpPr>
          <p:nvPr/>
        </p:nvSpPr>
        <p:spPr bwMode="auto">
          <a:xfrm>
            <a:off x="6291207" y="2326738"/>
            <a:ext cx="1726" cy="174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sp>
        <p:nvSpPr>
          <p:cNvPr id="4205" name="Freeform 6"/>
          <p:cNvSpPr>
            <a:spLocks noEditPoints="1"/>
          </p:cNvSpPr>
          <p:nvPr/>
        </p:nvSpPr>
        <p:spPr bwMode="auto">
          <a:xfrm>
            <a:off x="6463728" y="2455777"/>
            <a:ext cx="31506" cy="45021"/>
          </a:xfrm>
          <a:custGeom>
            <a:avLst/>
            <a:gdLst>
              <a:gd name="T0" fmla="*/ 102 w 108"/>
              <a:gd name="T1" fmla="*/ 0 h 174"/>
              <a:gd name="T2" fmla="*/ 7 w 108"/>
              <a:gd name="T3" fmla="*/ 0 h 174"/>
              <a:gd name="T4" fmla="*/ 0 w 108"/>
              <a:gd name="T5" fmla="*/ 7 h 174"/>
              <a:gd name="T6" fmla="*/ 0 w 108"/>
              <a:gd name="T7" fmla="*/ 167 h 174"/>
              <a:gd name="T8" fmla="*/ 7 w 108"/>
              <a:gd name="T9" fmla="*/ 174 h 174"/>
              <a:gd name="T10" fmla="*/ 102 w 108"/>
              <a:gd name="T11" fmla="*/ 174 h 174"/>
              <a:gd name="T12" fmla="*/ 107 w 108"/>
              <a:gd name="T13" fmla="*/ 171 h 174"/>
              <a:gd name="T14" fmla="*/ 107 w 108"/>
              <a:gd name="T15" fmla="*/ 171 h 174"/>
              <a:gd name="T16" fmla="*/ 107 w 108"/>
              <a:gd name="T17" fmla="*/ 171 h 174"/>
              <a:gd name="T18" fmla="*/ 108 w 108"/>
              <a:gd name="T19" fmla="*/ 168 h 174"/>
              <a:gd name="T20" fmla="*/ 108 w 108"/>
              <a:gd name="T21" fmla="*/ 6 h 174"/>
              <a:gd name="T22" fmla="*/ 102 w 108"/>
              <a:gd name="T23" fmla="*/ 0 h 174"/>
              <a:gd name="T24" fmla="*/ 103 w 108"/>
              <a:gd name="T25" fmla="*/ 122 h 174"/>
              <a:gd name="T26" fmla="*/ 99 w 108"/>
              <a:gd name="T27" fmla="*/ 126 h 174"/>
              <a:gd name="T28" fmla="*/ 10 w 108"/>
              <a:gd name="T29" fmla="*/ 126 h 174"/>
              <a:gd name="T30" fmla="*/ 6 w 108"/>
              <a:gd name="T31" fmla="*/ 122 h 174"/>
              <a:gd name="T32" fmla="*/ 6 w 108"/>
              <a:gd name="T33" fmla="*/ 110 h 174"/>
              <a:gd name="T34" fmla="*/ 10 w 108"/>
              <a:gd name="T35" fmla="*/ 106 h 174"/>
              <a:gd name="T36" fmla="*/ 99 w 108"/>
              <a:gd name="T37" fmla="*/ 106 h 174"/>
              <a:gd name="T38" fmla="*/ 103 w 108"/>
              <a:gd name="T39" fmla="*/ 110 h 174"/>
              <a:gd name="T40" fmla="*/ 103 w 108"/>
              <a:gd name="T41" fmla="*/ 122 h 174"/>
              <a:gd name="T42" fmla="*/ 103 w 108"/>
              <a:gd name="T43" fmla="*/ 98 h 174"/>
              <a:gd name="T44" fmla="*/ 99 w 108"/>
              <a:gd name="T45" fmla="*/ 102 h 174"/>
              <a:gd name="T46" fmla="*/ 10 w 108"/>
              <a:gd name="T47" fmla="*/ 102 h 174"/>
              <a:gd name="T48" fmla="*/ 6 w 108"/>
              <a:gd name="T49" fmla="*/ 98 h 174"/>
              <a:gd name="T50" fmla="*/ 6 w 108"/>
              <a:gd name="T51" fmla="*/ 85 h 174"/>
              <a:gd name="T52" fmla="*/ 10 w 108"/>
              <a:gd name="T53" fmla="*/ 82 h 174"/>
              <a:gd name="T54" fmla="*/ 99 w 108"/>
              <a:gd name="T55" fmla="*/ 82 h 174"/>
              <a:gd name="T56" fmla="*/ 103 w 108"/>
              <a:gd name="T57" fmla="*/ 85 h 174"/>
              <a:gd name="T58" fmla="*/ 103 w 108"/>
              <a:gd name="T59" fmla="*/ 98 h 174"/>
              <a:gd name="T60" fmla="*/ 103 w 108"/>
              <a:gd name="T61" fmla="*/ 74 h 174"/>
              <a:gd name="T62" fmla="*/ 99 w 108"/>
              <a:gd name="T63" fmla="*/ 77 h 174"/>
              <a:gd name="T64" fmla="*/ 10 w 108"/>
              <a:gd name="T65" fmla="*/ 77 h 174"/>
              <a:gd name="T66" fmla="*/ 6 w 108"/>
              <a:gd name="T67" fmla="*/ 74 h 174"/>
              <a:gd name="T68" fmla="*/ 6 w 108"/>
              <a:gd name="T69" fmla="*/ 61 h 174"/>
              <a:gd name="T70" fmla="*/ 10 w 108"/>
              <a:gd name="T71" fmla="*/ 58 h 174"/>
              <a:gd name="T72" fmla="*/ 99 w 108"/>
              <a:gd name="T73" fmla="*/ 58 h 174"/>
              <a:gd name="T74" fmla="*/ 103 w 108"/>
              <a:gd name="T75" fmla="*/ 61 h 174"/>
              <a:gd name="T76" fmla="*/ 103 w 108"/>
              <a:gd name="T77" fmla="*/ 74 h 174"/>
              <a:gd name="T78" fmla="*/ 103 w 108"/>
              <a:gd name="T79" fmla="*/ 50 h 174"/>
              <a:gd name="T80" fmla="*/ 99 w 108"/>
              <a:gd name="T81" fmla="*/ 53 h 174"/>
              <a:gd name="T82" fmla="*/ 10 w 108"/>
              <a:gd name="T83" fmla="*/ 53 h 174"/>
              <a:gd name="T84" fmla="*/ 6 w 108"/>
              <a:gd name="T85" fmla="*/ 50 h 174"/>
              <a:gd name="T86" fmla="*/ 6 w 108"/>
              <a:gd name="T87" fmla="*/ 37 h 174"/>
              <a:gd name="T88" fmla="*/ 10 w 108"/>
              <a:gd name="T89" fmla="*/ 33 h 174"/>
              <a:gd name="T90" fmla="*/ 99 w 108"/>
              <a:gd name="T91" fmla="*/ 33 h 174"/>
              <a:gd name="T92" fmla="*/ 103 w 108"/>
              <a:gd name="T93" fmla="*/ 37 h 174"/>
              <a:gd name="T94" fmla="*/ 103 w 108"/>
              <a:gd name="T95" fmla="*/ 50 h 174"/>
              <a:gd name="T96" fmla="*/ 103 w 108"/>
              <a:gd name="T97" fmla="*/ 25 h 174"/>
              <a:gd name="T98" fmla="*/ 99 w 108"/>
              <a:gd name="T99" fmla="*/ 29 h 174"/>
              <a:gd name="T100" fmla="*/ 10 w 108"/>
              <a:gd name="T101" fmla="*/ 29 h 174"/>
              <a:gd name="T102" fmla="*/ 6 w 108"/>
              <a:gd name="T103" fmla="*/ 25 h 174"/>
              <a:gd name="T104" fmla="*/ 6 w 108"/>
              <a:gd name="T105" fmla="*/ 13 h 174"/>
              <a:gd name="T106" fmla="*/ 10 w 108"/>
              <a:gd name="T107" fmla="*/ 9 h 174"/>
              <a:gd name="T108" fmla="*/ 99 w 108"/>
              <a:gd name="T109" fmla="*/ 9 h 174"/>
              <a:gd name="T110" fmla="*/ 103 w 108"/>
              <a:gd name="T111" fmla="*/ 13 h 174"/>
              <a:gd name="T112" fmla="*/ 103 w 108"/>
              <a:gd name="T113" fmla="*/ 2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" h="174">
                <a:moveTo>
                  <a:pt x="102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1" y="3"/>
                  <a:pt x="0" y="7"/>
                </a:cubicBezTo>
                <a:cubicBezTo>
                  <a:pt x="0" y="167"/>
                  <a:pt x="0" y="167"/>
                  <a:pt x="0" y="167"/>
                </a:cubicBezTo>
                <a:cubicBezTo>
                  <a:pt x="1" y="171"/>
                  <a:pt x="3" y="174"/>
                  <a:pt x="7" y="174"/>
                </a:cubicBezTo>
                <a:cubicBezTo>
                  <a:pt x="102" y="174"/>
                  <a:pt x="102" y="174"/>
                  <a:pt x="102" y="174"/>
                </a:cubicBezTo>
                <a:cubicBezTo>
                  <a:pt x="104" y="174"/>
                  <a:pt x="106" y="173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7" y="171"/>
                  <a:pt x="107" y="171"/>
                  <a:pt x="107" y="171"/>
                </a:cubicBezTo>
                <a:cubicBezTo>
                  <a:pt x="108" y="170"/>
                  <a:pt x="108" y="169"/>
                  <a:pt x="108" y="168"/>
                </a:cubicBezTo>
                <a:cubicBezTo>
                  <a:pt x="108" y="6"/>
                  <a:pt x="108" y="6"/>
                  <a:pt x="108" y="6"/>
                </a:cubicBezTo>
                <a:cubicBezTo>
                  <a:pt x="108" y="3"/>
                  <a:pt x="105" y="0"/>
                  <a:pt x="102" y="0"/>
                </a:cubicBezTo>
                <a:close/>
                <a:moveTo>
                  <a:pt x="103" y="122"/>
                </a:moveTo>
                <a:cubicBezTo>
                  <a:pt x="103" y="124"/>
                  <a:pt x="101" y="126"/>
                  <a:pt x="99" y="126"/>
                </a:cubicBezTo>
                <a:cubicBezTo>
                  <a:pt x="10" y="126"/>
                  <a:pt x="10" y="126"/>
                  <a:pt x="10" y="126"/>
                </a:cubicBezTo>
                <a:cubicBezTo>
                  <a:pt x="8" y="126"/>
                  <a:pt x="6" y="124"/>
                  <a:pt x="6" y="122"/>
                </a:cubicBezTo>
                <a:cubicBezTo>
                  <a:pt x="6" y="110"/>
                  <a:pt x="6" y="110"/>
                  <a:pt x="6" y="110"/>
                </a:cubicBezTo>
                <a:cubicBezTo>
                  <a:pt x="6" y="108"/>
                  <a:pt x="8" y="106"/>
                  <a:pt x="10" y="106"/>
                </a:cubicBezTo>
                <a:cubicBezTo>
                  <a:pt x="99" y="106"/>
                  <a:pt x="99" y="106"/>
                  <a:pt x="99" y="106"/>
                </a:cubicBezTo>
                <a:cubicBezTo>
                  <a:pt x="101" y="106"/>
                  <a:pt x="103" y="108"/>
                  <a:pt x="103" y="110"/>
                </a:cubicBezTo>
                <a:lnTo>
                  <a:pt x="103" y="122"/>
                </a:lnTo>
                <a:close/>
                <a:moveTo>
                  <a:pt x="103" y="98"/>
                </a:moveTo>
                <a:cubicBezTo>
                  <a:pt x="103" y="100"/>
                  <a:pt x="101" y="102"/>
                  <a:pt x="99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8" y="102"/>
                  <a:pt x="6" y="100"/>
                  <a:pt x="6" y="98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3"/>
                  <a:pt x="8" y="82"/>
                  <a:pt x="10" y="82"/>
                </a:cubicBezTo>
                <a:cubicBezTo>
                  <a:pt x="99" y="82"/>
                  <a:pt x="99" y="82"/>
                  <a:pt x="99" y="82"/>
                </a:cubicBezTo>
                <a:cubicBezTo>
                  <a:pt x="101" y="82"/>
                  <a:pt x="103" y="83"/>
                  <a:pt x="103" y="85"/>
                </a:cubicBezTo>
                <a:lnTo>
                  <a:pt x="103" y="98"/>
                </a:lnTo>
                <a:close/>
                <a:moveTo>
                  <a:pt x="103" y="74"/>
                </a:moveTo>
                <a:cubicBezTo>
                  <a:pt x="103" y="76"/>
                  <a:pt x="101" y="77"/>
                  <a:pt x="99" y="77"/>
                </a:cubicBezTo>
                <a:cubicBezTo>
                  <a:pt x="10" y="77"/>
                  <a:pt x="10" y="77"/>
                  <a:pt x="10" y="77"/>
                </a:cubicBezTo>
                <a:cubicBezTo>
                  <a:pt x="8" y="77"/>
                  <a:pt x="6" y="76"/>
                  <a:pt x="6" y="74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59"/>
                  <a:pt x="8" y="58"/>
                  <a:pt x="10" y="58"/>
                </a:cubicBezTo>
                <a:cubicBezTo>
                  <a:pt x="99" y="58"/>
                  <a:pt x="99" y="58"/>
                  <a:pt x="99" y="58"/>
                </a:cubicBezTo>
                <a:cubicBezTo>
                  <a:pt x="101" y="58"/>
                  <a:pt x="103" y="59"/>
                  <a:pt x="103" y="61"/>
                </a:cubicBezTo>
                <a:lnTo>
                  <a:pt x="103" y="74"/>
                </a:lnTo>
                <a:close/>
                <a:moveTo>
                  <a:pt x="103" y="50"/>
                </a:moveTo>
                <a:cubicBezTo>
                  <a:pt x="103" y="52"/>
                  <a:pt x="101" y="53"/>
                  <a:pt x="99" y="53"/>
                </a:cubicBezTo>
                <a:cubicBezTo>
                  <a:pt x="10" y="53"/>
                  <a:pt x="10" y="53"/>
                  <a:pt x="10" y="53"/>
                </a:cubicBezTo>
                <a:cubicBezTo>
                  <a:pt x="8" y="53"/>
                  <a:pt x="6" y="52"/>
                  <a:pt x="6" y="50"/>
                </a:cubicBezTo>
                <a:cubicBezTo>
                  <a:pt x="6" y="37"/>
                  <a:pt x="6" y="37"/>
                  <a:pt x="6" y="37"/>
                </a:cubicBezTo>
                <a:cubicBezTo>
                  <a:pt x="6" y="35"/>
                  <a:pt x="8" y="33"/>
                  <a:pt x="10" y="33"/>
                </a:cubicBezTo>
                <a:cubicBezTo>
                  <a:pt x="99" y="33"/>
                  <a:pt x="99" y="33"/>
                  <a:pt x="99" y="33"/>
                </a:cubicBezTo>
                <a:cubicBezTo>
                  <a:pt x="101" y="33"/>
                  <a:pt x="103" y="35"/>
                  <a:pt x="103" y="37"/>
                </a:cubicBezTo>
                <a:lnTo>
                  <a:pt x="103" y="50"/>
                </a:lnTo>
                <a:close/>
                <a:moveTo>
                  <a:pt x="103" y="25"/>
                </a:moveTo>
                <a:cubicBezTo>
                  <a:pt x="103" y="27"/>
                  <a:pt x="101" y="29"/>
                  <a:pt x="99" y="29"/>
                </a:cubicBezTo>
                <a:cubicBezTo>
                  <a:pt x="10" y="29"/>
                  <a:pt x="10" y="29"/>
                  <a:pt x="10" y="29"/>
                </a:cubicBezTo>
                <a:cubicBezTo>
                  <a:pt x="8" y="29"/>
                  <a:pt x="6" y="27"/>
                  <a:pt x="6" y="25"/>
                </a:cubicBezTo>
                <a:cubicBezTo>
                  <a:pt x="6" y="13"/>
                  <a:pt x="6" y="13"/>
                  <a:pt x="6" y="13"/>
                </a:cubicBezTo>
                <a:cubicBezTo>
                  <a:pt x="6" y="11"/>
                  <a:pt x="8" y="9"/>
                  <a:pt x="10" y="9"/>
                </a:cubicBezTo>
                <a:cubicBezTo>
                  <a:pt x="99" y="9"/>
                  <a:pt x="99" y="9"/>
                  <a:pt x="99" y="9"/>
                </a:cubicBezTo>
                <a:cubicBezTo>
                  <a:pt x="101" y="9"/>
                  <a:pt x="103" y="11"/>
                  <a:pt x="103" y="13"/>
                </a:cubicBezTo>
                <a:lnTo>
                  <a:pt x="103" y="2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096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0096D6"/>
              </a:solidFill>
              <a:latin typeface="CiscoSansTT Light"/>
              <a:ea typeface="ＭＳ Ｐゴシック" pitchFamily="34" charset="-128"/>
              <a:cs typeface="+mn-cs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5254424" y="1844943"/>
            <a:ext cx="1148609" cy="836848"/>
            <a:chOff x="5254424" y="1844943"/>
            <a:chExt cx="1148609" cy="836848"/>
          </a:xfrm>
          <a:solidFill>
            <a:srgbClr val="E9B837"/>
          </a:solidFill>
          <a:effectLst/>
        </p:grpSpPr>
        <p:sp>
          <p:nvSpPr>
            <p:cNvPr id="4318" name="Oval 4317"/>
            <p:cNvSpPr>
              <a:spLocks noChangeAspect="1"/>
            </p:cNvSpPr>
            <p:nvPr/>
          </p:nvSpPr>
          <p:spPr>
            <a:xfrm>
              <a:off x="6246168" y="2639420"/>
              <a:ext cx="42372" cy="42371"/>
            </a:xfrm>
            <a:prstGeom prst="ellipse">
              <a:avLst/>
            </a:prstGeom>
            <a:grpFill/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19" name="Oval 4318"/>
            <p:cNvSpPr>
              <a:spLocks noChangeAspect="1"/>
            </p:cNvSpPr>
            <p:nvPr/>
          </p:nvSpPr>
          <p:spPr>
            <a:xfrm>
              <a:off x="6174398" y="2525894"/>
              <a:ext cx="42372" cy="42371"/>
            </a:xfrm>
            <a:prstGeom prst="ellipse">
              <a:avLst/>
            </a:prstGeom>
            <a:grpFill/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20" name="Oval 4319"/>
            <p:cNvSpPr>
              <a:spLocks noChangeAspect="1"/>
            </p:cNvSpPr>
            <p:nvPr/>
          </p:nvSpPr>
          <p:spPr>
            <a:xfrm>
              <a:off x="6360661" y="2522947"/>
              <a:ext cx="42372" cy="42371"/>
            </a:xfrm>
            <a:prstGeom prst="ellipse">
              <a:avLst/>
            </a:prstGeom>
            <a:grpFill/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21" name="Oval 4320"/>
            <p:cNvSpPr>
              <a:spLocks noChangeAspect="1"/>
            </p:cNvSpPr>
            <p:nvPr/>
          </p:nvSpPr>
          <p:spPr>
            <a:xfrm>
              <a:off x="6261487" y="2494239"/>
              <a:ext cx="42372" cy="42371"/>
            </a:xfrm>
            <a:prstGeom prst="ellipse">
              <a:avLst/>
            </a:prstGeom>
            <a:grpFill/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23" name="Oval 4322"/>
            <p:cNvSpPr>
              <a:spLocks noChangeAspect="1"/>
            </p:cNvSpPr>
            <p:nvPr/>
          </p:nvSpPr>
          <p:spPr>
            <a:xfrm>
              <a:off x="5393914" y="1990125"/>
              <a:ext cx="42372" cy="42371"/>
            </a:xfrm>
            <a:prstGeom prst="ellipse">
              <a:avLst/>
            </a:prstGeom>
            <a:grpFill/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24" name="Oval 4323"/>
            <p:cNvSpPr>
              <a:spLocks noChangeAspect="1"/>
            </p:cNvSpPr>
            <p:nvPr/>
          </p:nvSpPr>
          <p:spPr>
            <a:xfrm>
              <a:off x="5322144" y="1876599"/>
              <a:ext cx="42372" cy="42371"/>
            </a:xfrm>
            <a:prstGeom prst="ellipse">
              <a:avLst/>
            </a:prstGeom>
            <a:grpFill/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25" name="Oval 4324"/>
            <p:cNvSpPr>
              <a:spLocks noChangeAspect="1"/>
            </p:cNvSpPr>
            <p:nvPr/>
          </p:nvSpPr>
          <p:spPr>
            <a:xfrm>
              <a:off x="5508407" y="1873651"/>
              <a:ext cx="42372" cy="42371"/>
            </a:xfrm>
            <a:prstGeom prst="ellipse">
              <a:avLst/>
            </a:prstGeom>
            <a:grpFill/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26" name="Oval 4325"/>
            <p:cNvSpPr>
              <a:spLocks noChangeAspect="1"/>
            </p:cNvSpPr>
            <p:nvPr/>
          </p:nvSpPr>
          <p:spPr>
            <a:xfrm>
              <a:off x="5409234" y="1844943"/>
              <a:ext cx="42372" cy="42371"/>
            </a:xfrm>
            <a:prstGeom prst="ellipse">
              <a:avLst/>
            </a:prstGeom>
            <a:grpFill/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28" name="Oval 4327"/>
            <p:cNvSpPr>
              <a:spLocks noChangeAspect="1"/>
            </p:cNvSpPr>
            <p:nvPr/>
          </p:nvSpPr>
          <p:spPr>
            <a:xfrm>
              <a:off x="5326195" y="2602760"/>
              <a:ext cx="42372" cy="42371"/>
            </a:xfrm>
            <a:prstGeom prst="ellipse">
              <a:avLst/>
            </a:prstGeom>
            <a:grpFill/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29" name="Oval 4328"/>
            <p:cNvSpPr>
              <a:spLocks noChangeAspect="1"/>
            </p:cNvSpPr>
            <p:nvPr/>
          </p:nvSpPr>
          <p:spPr>
            <a:xfrm>
              <a:off x="5254424" y="2489234"/>
              <a:ext cx="42372" cy="42371"/>
            </a:xfrm>
            <a:prstGeom prst="ellipse">
              <a:avLst/>
            </a:prstGeom>
            <a:grpFill/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30" name="Oval 4329"/>
            <p:cNvSpPr>
              <a:spLocks noChangeAspect="1"/>
            </p:cNvSpPr>
            <p:nvPr/>
          </p:nvSpPr>
          <p:spPr>
            <a:xfrm>
              <a:off x="5440688" y="2486286"/>
              <a:ext cx="42372" cy="42371"/>
            </a:xfrm>
            <a:prstGeom prst="ellipse">
              <a:avLst/>
            </a:prstGeom>
            <a:grpFill/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31" name="Oval 4330"/>
            <p:cNvSpPr>
              <a:spLocks noChangeAspect="1"/>
            </p:cNvSpPr>
            <p:nvPr/>
          </p:nvSpPr>
          <p:spPr>
            <a:xfrm>
              <a:off x="5341514" y="2457578"/>
              <a:ext cx="42372" cy="42371"/>
            </a:xfrm>
            <a:prstGeom prst="ellipse">
              <a:avLst/>
            </a:prstGeom>
            <a:grpFill/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33" name="Oval 4332"/>
            <p:cNvSpPr>
              <a:spLocks noChangeAspect="1"/>
            </p:cNvSpPr>
            <p:nvPr/>
          </p:nvSpPr>
          <p:spPr>
            <a:xfrm>
              <a:off x="5847442" y="2596821"/>
              <a:ext cx="42372" cy="42371"/>
            </a:xfrm>
            <a:prstGeom prst="ellipse">
              <a:avLst/>
            </a:prstGeom>
            <a:grpFill/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34" name="Oval 4333"/>
            <p:cNvSpPr>
              <a:spLocks noChangeAspect="1"/>
            </p:cNvSpPr>
            <p:nvPr/>
          </p:nvSpPr>
          <p:spPr>
            <a:xfrm>
              <a:off x="5775672" y="2483294"/>
              <a:ext cx="42372" cy="42371"/>
            </a:xfrm>
            <a:prstGeom prst="ellipse">
              <a:avLst/>
            </a:prstGeom>
            <a:grpFill/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35" name="Oval 4334"/>
            <p:cNvSpPr>
              <a:spLocks noChangeAspect="1"/>
            </p:cNvSpPr>
            <p:nvPr/>
          </p:nvSpPr>
          <p:spPr>
            <a:xfrm>
              <a:off x="5961935" y="2480347"/>
              <a:ext cx="42372" cy="42371"/>
            </a:xfrm>
            <a:prstGeom prst="ellipse">
              <a:avLst/>
            </a:prstGeom>
            <a:grpFill/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36" name="Oval 4335"/>
            <p:cNvSpPr>
              <a:spLocks noChangeAspect="1"/>
            </p:cNvSpPr>
            <p:nvPr/>
          </p:nvSpPr>
          <p:spPr>
            <a:xfrm>
              <a:off x="5862761" y="2451639"/>
              <a:ext cx="42372" cy="42371"/>
            </a:xfrm>
            <a:prstGeom prst="ellipse">
              <a:avLst/>
            </a:prstGeom>
            <a:grpFill/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38" name="Oval 4337"/>
            <p:cNvSpPr>
              <a:spLocks noChangeAspect="1"/>
            </p:cNvSpPr>
            <p:nvPr/>
          </p:nvSpPr>
          <p:spPr>
            <a:xfrm>
              <a:off x="5608188" y="2271880"/>
              <a:ext cx="42372" cy="42371"/>
            </a:xfrm>
            <a:prstGeom prst="ellipse">
              <a:avLst/>
            </a:prstGeom>
            <a:grpFill/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39" name="Oval 4338"/>
            <p:cNvSpPr>
              <a:spLocks noChangeAspect="1"/>
            </p:cNvSpPr>
            <p:nvPr/>
          </p:nvSpPr>
          <p:spPr>
            <a:xfrm>
              <a:off x="5536417" y="2158354"/>
              <a:ext cx="42372" cy="42371"/>
            </a:xfrm>
            <a:prstGeom prst="ellipse">
              <a:avLst/>
            </a:prstGeom>
            <a:grpFill/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40" name="Oval 4339"/>
            <p:cNvSpPr>
              <a:spLocks noChangeAspect="1"/>
            </p:cNvSpPr>
            <p:nvPr/>
          </p:nvSpPr>
          <p:spPr>
            <a:xfrm>
              <a:off x="5722680" y="2155406"/>
              <a:ext cx="42372" cy="42371"/>
            </a:xfrm>
            <a:prstGeom prst="ellipse">
              <a:avLst/>
            </a:prstGeom>
            <a:grpFill/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41" name="Oval 4340"/>
            <p:cNvSpPr>
              <a:spLocks noChangeAspect="1"/>
            </p:cNvSpPr>
            <p:nvPr/>
          </p:nvSpPr>
          <p:spPr>
            <a:xfrm>
              <a:off x="5623507" y="2126698"/>
              <a:ext cx="42372" cy="42371"/>
            </a:xfrm>
            <a:prstGeom prst="ellipse">
              <a:avLst/>
            </a:prstGeom>
            <a:grpFill/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43" name="Oval 4342"/>
            <p:cNvSpPr>
              <a:spLocks noChangeAspect="1"/>
            </p:cNvSpPr>
            <p:nvPr/>
          </p:nvSpPr>
          <p:spPr>
            <a:xfrm>
              <a:off x="5896532" y="2026851"/>
              <a:ext cx="42372" cy="42371"/>
            </a:xfrm>
            <a:prstGeom prst="ellipse">
              <a:avLst/>
            </a:prstGeom>
            <a:grpFill/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44" name="Oval 4343"/>
            <p:cNvSpPr>
              <a:spLocks noChangeAspect="1"/>
            </p:cNvSpPr>
            <p:nvPr/>
          </p:nvSpPr>
          <p:spPr>
            <a:xfrm>
              <a:off x="5824761" y="1913325"/>
              <a:ext cx="42372" cy="42371"/>
            </a:xfrm>
            <a:prstGeom prst="ellipse">
              <a:avLst/>
            </a:prstGeom>
            <a:grpFill/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45" name="Oval 4344"/>
            <p:cNvSpPr>
              <a:spLocks noChangeAspect="1"/>
            </p:cNvSpPr>
            <p:nvPr/>
          </p:nvSpPr>
          <p:spPr>
            <a:xfrm>
              <a:off x="6011025" y="1910377"/>
              <a:ext cx="42372" cy="42371"/>
            </a:xfrm>
            <a:prstGeom prst="ellipse">
              <a:avLst/>
            </a:prstGeom>
            <a:grpFill/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46" name="Oval 4345"/>
            <p:cNvSpPr>
              <a:spLocks noChangeAspect="1"/>
            </p:cNvSpPr>
            <p:nvPr/>
          </p:nvSpPr>
          <p:spPr>
            <a:xfrm>
              <a:off x="5911851" y="1881669"/>
              <a:ext cx="42372" cy="42371"/>
            </a:xfrm>
            <a:prstGeom prst="ellipse">
              <a:avLst/>
            </a:prstGeom>
            <a:grpFill/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48" name="Oval 4347"/>
            <p:cNvSpPr>
              <a:spLocks noChangeAspect="1"/>
            </p:cNvSpPr>
            <p:nvPr/>
          </p:nvSpPr>
          <p:spPr>
            <a:xfrm>
              <a:off x="6024997" y="2216724"/>
              <a:ext cx="42372" cy="42371"/>
            </a:xfrm>
            <a:prstGeom prst="ellipse">
              <a:avLst/>
            </a:prstGeom>
            <a:grpFill/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49" name="Oval 4348"/>
            <p:cNvSpPr>
              <a:spLocks noChangeAspect="1"/>
            </p:cNvSpPr>
            <p:nvPr/>
          </p:nvSpPr>
          <p:spPr>
            <a:xfrm>
              <a:off x="5953227" y="2103198"/>
              <a:ext cx="42372" cy="42371"/>
            </a:xfrm>
            <a:prstGeom prst="ellipse">
              <a:avLst/>
            </a:prstGeom>
            <a:grpFill/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50" name="Oval 4349"/>
            <p:cNvSpPr>
              <a:spLocks noChangeAspect="1"/>
            </p:cNvSpPr>
            <p:nvPr/>
          </p:nvSpPr>
          <p:spPr>
            <a:xfrm>
              <a:off x="6139490" y="2100250"/>
              <a:ext cx="42372" cy="42371"/>
            </a:xfrm>
            <a:prstGeom prst="ellipse">
              <a:avLst/>
            </a:prstGeom>
            <a:grpFill/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51" name="Oval 4350"/>
            <p:cNvSpPr>
              <a:spLocks noChangeAspect="1"/>
            </p:cNvSpPr>
            <p:nvPr/>
          </p:nvSpPr>
          <p:spPr>
            <a:xfrm>
              <a:off x="6040317" y="2071542"/>
              <a:ext cx="42372" cy="42371"/>
            </a:xfrm>
            <a:prstGeom prst="ellipse">
              <a:avLst/>
            </a:prstGeom>
            <a:grpFill/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53" name="Oval 4352"/>
            <p:cNvSpPr>
              <a:spLocks noChangeAspect="1"/>
            </p:cNvSpPr>
            <p:nvPr/>
          </p:nvSpPr>
          <p:spPr>
            <a:xfrm>
              <a:off x="5523142" y="2627645"/>
              <a:ext cx="42372" cy="42371"/>
            </a:xfrm>
            <a:prstGeom prst="ellipse">
              <a:avLst/>
            </a:prstGeom>
            <a:grpFill/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54" name="Oval 4353"/>
            <p:cNvSpPr>
              <a:spLocks noChangeAspect="1"/>
            </p:cNvSpPr>
            <p:nvPr/>
          </p:nvSpPr>
          <p:spPr>
            <a:xfrm>
              <a:off x="5451372" y="2514119"/>
              <a:ext cx="42372" cy="42371"/>
            </a:xfrm>
            <a:prstGeom prst="ellipse">
              <a:avLst/>
            </a:prstGeom>
            <a:grpFill/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55" name="Oval 4354"/>
            <p:cNvSpPr>
              <a:spLocks noChangeAspect="1"/>
            </p:cNvSpPr>
            <p:nvPr/>
          </p:nvSpPr>
          <p:spPr>
            <a:xfrm>
              <a:off x="5637635" y="2511171"/>
              <a:ext cx="42372" cy="42371"/>
            </a:xfrm>
            <a:prstGeom prst="ellipse">
              <a:avLst/>
            </a:prstGeom>
            <a:grpFill/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56" name="Oval 4355"/>
            <p:cNvSpPr>
              <a:spLocks noChangeAspect="1"/>
            </p:cNvSpPr>
            <p:nvPr/>
          </p:nvSpPr>
          <p:spPr>
            <a:xfrm>
              <a:off x="5538462" y="2482463"/>
              <a:ext cx="42372" cy="42371"/>
            </a:xfrm>
            <a:prstGeom prst="ellipse">
              <a:avLst/>
            </a:prstGeom>
            <a:grpFill/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63" name="Oval 4362"/>
            <p:cNvSpPr>
              <a:spLocks noChangeAspect="1"/>
            </p:cNvSpPr>
            <p:nvPr/>
          </p:nvSpPr>
          <p:spPr>
            <a:xfrm>
              <a:off x="6006708" y="2302684"/>
              <a:ext cx="42372" cy="42371"/>
            </a:xfrm>
            <a:prstGeom prst="ellipse">
              <a:avLst/>
            </a:prstGeom>
            <a:grpFill/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64" name="Oval 4363"/>
            <p:cNvSpPr>
              <a:spLocks noChangeAspect="1"/>
            </p:cNvSpPr>
            <p:nvPr/>
          </p:nvSpPr>
          <p:spPr>
            <a:xfrm>
              <a:off x="5934938" y="2189158"/>
              <a:ext cx="42372" cy="42371"/>
            </a:xfrm>
            <a:prstGeom prst="ellipse">
              <a:avLst/>
            </a:prstGeom>
            <a:grpFill/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65" name="Oval 4364"/>
            <p:cNvSpPr>
              <a:spLocks noChangeAspect="1"/>
            </p:cNvSpPr>
            <p:nvPr/>
          </p:nvSpPr>
          <p:spPr>
            <a:xfrm>
              <a:off x="6121201" y="2186211"/>
              <a:ext cx="42372" cy="42371"/>
            </a:xfrm>
            <a:prstGeom prst="ellipse">
              <a:avLst/>
            </a:prstGeom>
            <a:grpFill/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366" name="Oval 4365"/>
            <p:cNvSpPr>
              <a:spLocks noChangeAspect="1"/>
            </p:cNvSpPr>
            <p:nvPr/>
          </p:nvSpPr>
          <p:spPr>
            <a:xfrm>
              <a:off x="6022027" y="2157503"/>
              <a:ext cx="42372" cy="42371"/>
            </a:xfrm>
            <a:prstGeom prst="ellipse">
              <a:avLst/>
            </a:prstGeom>
            <a:grpFill/>
            <a:ln w="15875">
              <a:solidFill>
                <a:srgbClr val="E9B83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07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 smtClean="0">
                <a:solidFill>
                  <a:srgbClr val="FFFFFF"/>
                </a:solidFill>
              </a:endParaRPr>
            </a:p>
          </p:txBody>
        </p:sp>
      </p:grpSp>
      <p:cxnSp>
        <p:nvCxnSpPr>
          <p:cNvPr id="1942" name="Straight Connector 1941"/>
          <p:cNvCxnSpPr/>
          <p:nvPr/>
        </p:nvCxnSpPr>
        <p:spPr>
          <a:xfrm flipH="1">
            <a:off x="6580422" y="1508501"/>
            <a:ext cx="1567893" cy="454205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39" name="Straight Connector 1938"/>
          <p:cNvCxnSpPr/>
          <p:nvPr/>
        </p:nvCxnSpPr>
        <p:spPr>
          <a:xfrm flipH="1">
            <a:off x="7922802" y="2273217"/>
            <a:ext cx="52458" cy="942328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38" name="Straight Connector 1937"/>
          <p:cNvCxnSpPr/>
          <p:nvPr/>
        </p:nvCxnSpPr>
        <p:spPr>
          <a:xfrm flipV="1">
            <a:off x="7330247" y="2296543"/>
            <a:ext cx="710534" cy="200670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8592087" y="3140623"/>
            <a:ext cx="42372" cy="962258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 flipV="1">
            <a:off x="7899393" y="3033544"/>
            <a:ext cx="710534" cy="200670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61" name="Straight Connector 1860"/>
          <p:cNvCxnSpPr/>
          <p:nvPr/>
        </p:nvCxnSpPr>
        <p:spPr>
          <a:xfrm>
            <a:off x="7857893" y="3208459"/>
            <a:ext cx="710724" cy="909056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63" name="Straight Connector 1862"/>
          <p:cNvCxnSpPr/>
          <p:nvPr/>
        </p:nvCxnSpPr>
        <p:spPr>
          <a:xfrm flipV="1">
            <a:off x="7086710" y="3262211"/>
            <a:ext cx="836092" cy="265067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65" name="Straight Connector 1864"/>
          <p:cNvCxnSpPr/>
          <p:nvPr/>
        </p:nvCxnSpPr>
        <p:spPr>
          <a:xfrm flipV="1">
            <a:off x="7072576" y="2529146"/>
            <a:ext cx="242784" cy="1015365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68" name="Straight Connector 1867"/>
          <p:cNvCxnSpPr/>
          <p:nvPr/>
        </p:nvCxnSpPr>
        <p:spPr>
          <a:xfrm flipH="1" flipV="1">
            <a:off x="8423807" y="1628142"/>
            <a:ext cx="255831" cy="747892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70" name="Straight Connector 1869"/>
          <p:cNvCxnSpPr/>
          <p:nvPr/>
        </p:nvCxnSpPr>
        <p:spPr>
          <a:xfrm flipV="1">
            <a:off x="8008359" y="1716100"/>
            <a:ext cx="190286" cy="526949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72" name="Straight Connector 1871"/>
          <p:cNvCxnSpPr/>
          <p:nvPr/>
        </p:nvCxnSpPr>
        <p:spPr>
          <a:xfrm flipV="1">
            <a:off x="7250218" y="1342637"/>
            <a:ext cx="725043" cy="48651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74" name="Straight Connector 1873"/>
          <p:cNvCxnSpPr/>
          <p:nvPr/>
        </p:nvCxnSpPr>
        <p:spPr>
          <a:xfrm flipV="1">
            <a:off x="6498440" y="1379713"/>
            <a:ext cx="756483" cy="610815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76" name="Straight Connector 1875"/>
          <p:cNvCxnSpPr/>
          <p:nvPr/>
        </p:nvCxnSpPr>
        <p:spPr>
          <a:xfrm flipH="1" flipV="1">
            <a:off x="7225960" y="1431603"/>
            <a:ext cx="64515" cy="1054358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78" name="Straight Connector 1877"/>
          <p:cNvCxnSpPr/>
          <p:nvPr/>
        </p:nvCxnSpPr>
        <p:spPr>
          <a:xfrm flipH="1" flipV="1">
            <a:off x="6498911" y="2022586"/>
            <a:ext cx="706913" cy="449618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80" name="Straight Connector 1879"/>
          <p:cNvCxnSpPr/>
          <p:nvPr/>
        </p:nvCxnSpPr>
        <p:spPr>
          <a:xfrm flipH="1" flipV="1">
            <a:off x="6468710" y="1986664"/>
            <a:ext cx="1532490" cy="244865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82" name="Straight Connector 1881"/>
          <p:cNvCxnSpPr/>
          <p:nvPr/>
        </p:nvCxnSpPr>
        <p:spPr>
          <a:xfrm flipH="1" flipV="1">
            <a:off x="7315361" y="2522482"/>
            <a:ext cx="1244902" cy="412158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84" name="Straight Connector 1883"/>
          <p:cNvCxnSpPr/>
          <p:nvPr/>
        </p:nvCxnSpPr>
        <p:spPr>
          <a:xfrm flipH="1" flipV="1">
            <a:off x="7330247" y="1502163"/>
            <a:ext cx="1238370" cy="1505625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86" name="Straight Connector 1885"/>
          <p:cNvCxnSpPr/>
          <p:nvPr/>
        </p:nvCxnSpPr>
        <p:spPr>
          <a:xfrm flipH="1" flipV="1">
            <a:off x="8057103" y="2227056"/>
            <a:ext cx="582577" cy="125003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88" name="Straight Connector 1887"/>
          <p:cNvCxnSpPr/>
          <p:nvPr/>
        </p:nvCxnSpPr>
        <p:spPr>
          <a:xfrm flipV="1">
            <a:off x="8598403" y="2419572"/>
            <a:ext cx="95143" cy="526948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90" name="Straight Connector 1889"/>
          <p:cNvCxnSpPr/>
          <p:nvPr/>
        </p:nvCxnSpPr>
        <p:spPr>
          <a:xfrm>
            <a:off x="7283186" y="2489079"/>
            <a:ext cx="590690" cy="743354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37" name="Oval 2536"/>
          <p:cNvSpPr/>
          <p:nvPr/>
        </p:nvSpPr>
        <p:spPr>
          <a:xfrm>
            <a:off x="7833370" y="826523"/>
            <a:ext cx="932452" cy="932450"/>
          </a:xfrm>
          <a:prstGeom prst="ellipse">
            <a:avLst/>
          </a:prstGeom>
          <a:gradFill flip="none" rotWithShape="1">
            <a:gsLst>
              <a:gs pos="1000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</a:gsLst>
            <a:lin ang="5400000" scaled="0"/>
            <a:tileRect/>
          </a:gra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676767"/>
              </a:solidFill>
              <a:cs typeface="Arial"/>
            </a:endParaRPr>
          </a:p>
        </p:txBody>
      </p:sp>
      <p:sp>
        <p:nvSpPr>
          <p:cNvPr id="2538" name="Oval 2537"/>
          <p:cNvSpPr/>
          <p:nvPr/>
        </p:nvSpPr>
        <p:spPr>
          <a:xfrm>
            <a:off x="7883247" y="872151"/>
            <a:ext cx="832687" cy="832687"/>
          </a:xfrm>
          <a:prstGeom prst="ellipse">
            <a:avLst/>
          </a:prstGeom>
          <a:gradFill>
            <a:gsLst>
              <a:gs pos="13000">
                <a:srgbClr val="33C2CC"/>
              </a:gs>
              <a:gs pos="100000">
                <a:srgbClr val="018792"/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t" anchorCtr="0" compatLnSpc="1">
            <a:prstTxWarp prst="textNoShape">
              <a:avLst/>
            </a:prstTxWarp>
          </a:bodyPr>
          <a:lstStyle/>
          <a:p>
            <a:pPr defTabSz="514350"/>
            <a:endParaRPr lang="en-US" sz="1400" dirty="0">
              <a:solidFill>
                <a:srgbClr val="FFFFFF"/>
              </a:solidFill>
              <a:latin typeface="Arial"/>
              <a:ea typeface="ＭＳ Ｐゴシック" pitchFamily="34" charset="-128"/>
              <a:cs typeface="+mn-cs"/>
            </a:endParaRPr>
          </a:p>
        </p:txBody>
      </p:sp>
      <p:grpSp>
        <p:nvGrpSpPr>
          <p:cNvPr id="2534" name="Group 2533"/>
          <p:cNvGrpSpPr/>
          <p:nvPr/>
        </p:nvGrpSpPr>
        <p:grpSpPr>
          <a:xfrm>
            <a:off x="8035896" y="1026945"/>
            <a:ext cx="527401" cy="531606"/>
            <a:chOff x="5202238" y="4800600"/>
            <a:chExt cx="995363" cy="1003300"/>
          </a:xfrm>
          <a:effectLst/>
        </p:grpSpPr>
        <p:sp>
          <p:nvSpPr>
            <p:cNvPr id="2535" name="Freeform 31"/>
            <p:cNvSpPr>
              <a:spLocks/>
            </p:cNvSpPr>
            <p:nvPr/>
          </p:nvSpPr>
          <p:spPr bwMode="auto">
            <a:xfrm>
              <a:off x="5461000" y="5065713"/>
              <a:ext cx="471488" cy="471488"/>
            </a:xfrm>
            <a:custGeom>
              <a:avLst/>
              <a:gdLst/>
              <a:ahLst/>
              <a:cxnLst>
                <a:cxn ang="0">
                  <a:pos x="143" y="285"/>
                </a:cxn>
                <a:cxn ang="0">
                  <a:pos x="154" y="213"/>
                </a:cxn>
                <a:cxn ang="0">
                  <a:pos x="226" y="82"/>
                </a:cxn>
                <a:cxn ang="0">
                  <a:pos x="154" y="70"/>
                </a:cxn>
                <a:cxn ang="0">
                  <a:pos x="143" y="142"/>
                </a:cxn>
                <a:cxn ang="0">
                  <a:pos x="14" y="126"/>
                </a:cxn>
                <a:cxn ang="0">
                  <a:pos x="71" y="82"/>
                </a:cxn>
                <a:cxn ang="0">
                  <a:pos x="73" y="142"/>
                </a:cxn>
                <a:cxn ang="0">
                  <a:pos x="83" y="82"/>
                </a:cxn>
                <a:cxn ang="0">
                  <a:pos x="36" y="70"/>
                </a:cxn>
                <a:cxn ang="0">
                  <a:pos x="68" y="39"/>
                </a:cxn>
                <a:cxn ang="0">
                  <a:pos x="106" y="19"/>
                </a:cxn>
                <a:cxn ang="0">
                  <a:pos x="87" y="70"/>
                </a:cxn>
                <a:cxn ang="0">
                  <a:pos x="110" y="31"/>
                </a:cxn>
                <a:cxn ang="0">
                  <a:pos x="154" y="13"/>
                </a:cxn>
                <a:cxn ang="0">
                  <a:pos x="187" y="31"/>
                </a:cxn>
                <a:cxn ang="0">
                  <a:pos x="223" y="70"/>
                </a:cxn>
                <a:cxn ang="0">
                  <a:pos x="191" y="19"/>
                </a:cxn>
                <a:cxn ang="0">
                  <a:pos x="229" y="39"/>
                </a:cxn>
                <a:cxn ang="0">
                  <a:pos x="268" y="82"/>
                </a:cxn>
                <a:cxn ang="0">
                  <a:pos x="285" y="142"/>
                </a:cxn>
                <a:cxn ang="0">
                  <a:pos x="288" y="99"/>
                </a:cxn>
                <a:cxn ang="0">
                  <a:pos x="251" y="41"/>
                </a:cxn>
                <a:cxn ang="0">
                  <a:pos x="192" y="6"/>
                </a:cxn>
                <a:cxn ang="0">
                  <a:pos x="133" y="1"/>
                </a:cxn>
                <a:cxn ang="0">
                  <a:pos x="65" y="25"/>
                </a:cxn>
                <a:cxn ang="0">
                  <a:pos x="18" y="78"/>
                </a:cxn>
                <a:cxn ang="0">
                  <a:pos x="0" y="149"/>
                </a:cxn>
                <a:cxn ang="0">
                  <a:pos x="12" y="207"/>
                </a:cxn>
                <a:cxn ang="0">
                  <a:pos x="55" y="263"/>
                </a:cxn>
                <a:cxn ang="0">
                  <a:pos x="119" y="294"/>
                </a:cxn>
                <a:cxn ang="0">
                  <a:pos x="178" y="294"/>
                </a:cxn>
                <a:cxn ang="0">
                  <a:pos x="243" y="263"/>
                </a:cxn>
                <a:cxn ang="0">
                  <a:pos x="285" y="207"/>
                </a:cxn>
                <a:cxn ang="0">
                  <a:pos x="297" y="149"/>
                </a:cxn>
                <a:cxn ang="0">
                  <a:pos x="235" y="126"/>
                </a:cxn>
                <a:cxn ang="0">
                  <a:pos x="214" y="82"/>
                </a:cxn>
                <a:cxn ang="0">
                  <a:pos x="154" y="142"/>
                </a:cxn>
                <a:cxn ang="0">
                  <a:pos x="285" y="154"/>
                </a:cxn>
                <a:cxn ang="0">
                  <a:pos x="227" y="213"/>
                </a:cxn>
                <a:cxn ang="0">
                  <a:pos x="248" y="242"/>
                </a:cxn>
                <a:cxn ang="0">
                  <a:pos x="202" y="274"/>
                </a:cxn>
                <a:cxn ang="0">
                  <a:pos x="217" y="241"/>
                </a:cxn>
                <a:cxn ang="0">
                  <a:pos x="234" y="184"/>
                </a:cxn>
                <a:cxn ang="0">
                  <a:pos x="223" y="169"/>
                </a:cxn>
                <a:cxn ang="0">
                  <a:pos x="211" y="225"/>
                </a:cxn>
                <a:cxn ang="0">
                  <a:pos x="179" y="273"/>
                </a:cxn>
                <a:cxn ang="0">
                  <a:pos x="143" y="285"/>
                </a:cxn>
                <a:cxn ang="0">
                  <a:pos x="103" y="257"/>
                </a:cxn>
                <a:cxn ang="0">
                  <a:pos x="74" y="225"/>
                </a:cxn>
                <a:cxn ang="0">
                  <a:pos x="106" y="279"/>
                </a:cxn>
                <a:cxn ang="0">
                  <a:pos x="58" y="251"/>
                </a:cxn>
                <a:cxn ang="0">
                  <a:pos x="86" y="225"/>
                </a:cxn>
                <a:cxn ang="0">
                  <a:pos x="78" y="199"/>
                </a:cxn>
                <a:cxn ang="0">
                  <a:pos x="61" y="154"/>
                </a:cxn>
                <a:cxn ang="0">
                  <a:pos x="28" y="213"/>
                </a:cxn>
                <a:cxn ang="0">
                  <a:pos x="12" y="154"/>
                </a:cxn>
              </a:cxnLst>
              <a:rect l="0" t="0" r="r" b="b"/>
              <a:pathLst>
                <a:path w="297" h="297">
                  <a:moveTo>
                    <a:pt x="73" y="154"/>
                  </a:moveTo>
                  <a:lnTo>
                    <a:pt x="143" y="154"/>
                  </a:lnTo>
                  <a:lnTo>
                    <a:pt x="143" y="213"/>
                  </a:lnTo>
                  <a:lnTo>
                    <a:pt x="143" y="225"/>
                  </a:lnTo>
                  <a:lnTo>
                    <a:pt x="143" y="285"/>
                  </a:lnTo>
                  <a:lnTo>
                    <a:pt x="154" y="285"/>
                  </a:lnTo>
                  <a:lnTo>
                    <a:pt x="154" y="225"/>
                  </a:lnTo>
                  <a:lnTo>
                    <a:pt x="211" y="225"/>
                  </a:lnTo>
                  <a:lnTo>
                    <a:pt x="216" y="213"/>
                  </a:lnTo>
                  <a:lnTo>
                    <a:pt x="154" y="213"/>
                  </a:lnTo>
                  <a:lnTo>
                    <a:pt x="154" y="154"/>
                  </a:lnTo>
                  <a:lnTo>
                    <a:pt x="154" y="142"/>
                  </a:lnTo>
                  <a:lnTo>
                    <a:pt x="154" y="82"/>
                  </a:lnTo>
                  <a:lnTo>
                    <a:pt x="214" y="82"/>
                  </a:lnTo>
                  <a:lnTo>
                    <a:pt x="226" y="82"/>
                  </a:lnTo>
                  <a:lnTo>
                    <a:pt x="268" y="82"/>
                  </a:lnTo>
                  <a:lnTo>
                    <a:pt x="261" y="70"/>
                  </a:lnTo>
                  <a:lnTo>
                    <a:pt x="223" y="70"/>
                  </a:lnTo>
                  <a:lnTo>
                    <a:pt x="210" y="70"/>
                  </a:lnTo>
                  <a:lnTo>
                    <a:pt x="154" y="70"/>
                  </a:lnTo>
                  <a:lnTo>
                    <a:pt x="154" y="13"/>
                  </a:lnTo>
                  <a:lnTo>
                    <a:pt x="143" y="13"/>
                  </a:lnTo>
                  <a:lnTo>
                    <a:pt x="143" y="70"/>
                  </a:lnTo>
                  <a:lnTo>
                    <a:pt x="143" y="82"/>
                  </a:lnTo>
                  <a:lnTo>
                    <a:pt x="143" y="142"/>
                  </a:lnTo>
                  <a:lnTo>
                    <a:pt x="73" y="142"/>
                  </a:lnTo>
                  <a:lnTo>
                    <a:pt x="61" y="142"/>
                  </a:lnTo>
                  <a:lnTo>
                    <a:pt x="12" y="142"/>
                  </a:lnTo>
                  <a:lnTo>
                    <a:pt x="12" y="142"/>
                  </a:lnTo>
                  <a:lnTo>
                    <a:pt x="14" y="126"/>
                  </a:lnTo>
                  <a:lnTo>
                    <a:pt x="17" y="110"/>
                  </a:lnTo>
                  <a:lnTo>
                    <a:pt x="22" y="96"/>
                  </a:lnTo>
                  <a:lnTo>
                    <a:pt x="29" y="82"/>
                  </a:lnTo>
                  <a:lnTo>
                    <a:pt x="71" y="82"/>
                  </a:lnTo>
                  <a:lnTo>
                    <a:pt x="71" y="82"/>
                  </a:lnTo>
                  <a:lnTo>
                    <a:pt x="66" y="96"/>
                  </a:lnTo>
                  <a:lnTo>
                    <a:pt x="64" y="111"/>
                  </a:lnTo>
                  <a:lnTo>
                    <a:pt x="62" y="126"/>
                  </a:lnTo>
                  <a:lnTo>
                    <a:pt x="61" y="142"/>
                  </a:lnTo>
                  <a:lnTo>
                    <a:pt x="73" y="142"/>
                  </a:lnTo>
                  <a:lnTo>
                    <a:pt x="73" y="142"/>
                  </a:lnTo>
                  <a:lnTo>
                    <a:pt x="74" y="126"/>
                  </a:lnTo>
                  <a:lnTo>
                    <a:pt x="76" y="110"/>
                  </a:lnTo>
                  <a:lnTo>
                    <a:pt x="79" y="96"/>
                  </a:lnTo>
                  <a:lnTo>
                    <a:pt x="83" y="82"/>
                  </a:lnTo>
                  <a:lnTo>
                    <a:pt x="143" y="82"/>
                  </a:lnTo>
                  <a:lnTo>
                    <a:pt x="143" y="70"/>
                  </a:lnTo>
                  <a:lnTo>
                    <a:pt x="87" y="70"/>
                  </a:lnTo>
                  <a:lnTo>
                    <a:pt x="75" y="70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44" y="62"/>
                  </a:lnTo>
                  <a:lnTo>
                    <a:pt x="50" y="53"/>
                  </a:lnTo>
                  <a:lnTo>
                    <a:pt x="59" y="46"/>
                  </a:lnTo>
                  <a:lnTo>
                    <a:pt x="68" y="39"/>
                  </a:lnTo>
                  <a:lnTo>
                    <a:pt x="76" y="33"/>
                  </a:lnTo>
                  <a:lnTo>
                    <a:pt x="86" y="28"/>
                  </a:lnTo>
                  <a:lnTo>
                    <a:pt x="95" y="22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96" y="29"/>
                  </a:lnTo>
                  <a:lnTo>
                    <a:pt x="89" y="41"/>
                  </a:lnTo>
                  <a:lnTo>
                    <a:pt x="81" y="54"/>
                  </a:lnTo>
                  <a:lnTo>
                    <a:pt x="75" y="70"/>
                  </a:lnTo>
                  <a:lnTo>
                    <a:pt x="87" y="70"/>
                  </a:lnTo>
                  <a:lnTo>
                    <a:pt x="87" y="70"/>
                  </a:lnTo>
                  <a:lnTo>
                    <a:pt x="92" y="59"/>
                  </a:lnTo>
                  <a:lnTo>
                    <a:pt x="98" y="48"/>
                  </a:lnTo>
                  <a:lnTo>
                    <a:pt x="104" y="38"/>
                  </a:lnTo>
                  <a:lnTo>
                    <a:pt x="110" y="31"/>
                  </a:lnTo>
                  <a:lnTo>
                    <a:pt x="118" y="23"/>
                  </a:lnTo>
                  <a:lnTo>
                    <a:pt x="127" y="18"/>
                  </a:lnTo>
                  <a:lnTo>
                    <a:pt x="134" y="15"/>
                  </a:lnTo>
                  <a:lnTo>
                    <a:pt x="143" y="13"/>
                  </a:lnTo>
                  <a:lnTo>
                    <a:pt x="154" y="13"/>
                  </a:lnTo>
                  <a:lnTo>
                    <a:pt x="154" y="13"/>
                  </a:lnTo>
                  <a:lnTo>
                    <a:pt x="163" y="15"/>
                  </a:lnTo>
                  <a:lnTo>
                    <a:pt x="172" y="18"/>
                  </a:lnTo>
                  <a:lnTo>
                    <a:pt x="179" y="23"/>
                  </a:lnTo>
                  <a:lnTo>
                    <a:pt x="187" y="31"/>
                  </a:lnTo>
                  <a:lnTo>
                    <a:pt x="193" y="38"/>
                  </a:lnTo>
                  <a:lnTo>
                    <a:pt x="199" y="48"/>
                  </a:lnTo>
                  <a:lnTo>
                    <a:pt x="205" y="59"/>
                  </a:lnTo>
                  <a:lnTo>
                    <a:pt x="210" y="70"/>
                  </a:lnTo>
                  <a:lnTo>
                    <a:pt x="223" y="70"/>
                  </a:lnTo>
                  <a:lnTo>
                    <a:pt x="223" y="70"/>
                  </a:lnTo>
                  <a:lnTo>
                    <a:pt x="217" y="54"/>
                  </a:lnTo>
                  <a:lnTo>
                    <a:pt x="209" y="41"/>
                  </a:lnTo>
                  <a:lnTo>
                    <a:pt x="201" y="29"/>
                  </a:lnTo>
                  <a:lnTo>
                    <a:pt x="191" y="19"/>
                  </a:lnTo>
                  <a:lnTo>
                    <a:pt x="191" y="19"/>
                  </a:lnTo>
                  <a:lnTo>
                    <a:pt x="202" y="22"/>
                  </a:lnTo>
                  <a:lnTo>
                    <a:pt x="211" y="28"/>
                  </a:lnTo>
                  <a:lnTo>
                    <a:pt x="221" y="33"/>
                  </a:lnTo>
                  <a:lnTo>
                    <a:pt x="229" y="39"/>
                  </a:lnTo>
                  <a:lnTo>
                    <a:pt x="238" y="46"/>
                  </a:lnTo>
                  <a:lnTo>
                    <a:pt x="247" y="53"/>
                  </a:lnTo>
                  <a:lnTo>
                    <a:pt x="254" y="62"/>
                  </a:lnTo>
                  <a:lnTo>
                    <a:pt x="261" y="70"/>
                  </a:lnTo>
                  <a:lnTo>
                    <a:pt x="268" y="82"/>
                  </a:lnTo>
                  <a:lnTo>
                    <a:pt x="268" y="82"/>
                  </a:lnTo>
                  <a:lnTo>
                    <a:pt x="275" y="96"/>
                  </a:lnTo>
                  <a:lnTo>
                    <a:pt x="280" y="110"/>
                  </a:lnTo>
                  <a:lnTo>
                    <a:pt x="283" y="126"/>
                  </a:lnTo>
                  <a:lnTo>
                    <a:pt x="285" y="142"/>
                  </a:lnTo>
                  <a:lnTo>
                    <a:pt x="297" y="141"/>
                  </a:lnTo>
                  <a:lnTo>
                    <a:pt x="297" y="141"/>
                  </a:lnTo>
                  <a:lnTo>
                    <a:pt x="295" y="126"/>
                  </a:lnTo>
                  <a:lnTo>
                    <a:pt x="293" y="112"/>
                  </a:lnTo>
                  <a:lnTo>
                    <a:pt x="288" y="99"/>
                  </a:lnTo>
                  <a:lnTo>
                    <a:pt x="283" y="85"/>
                  </a:lnTo>
                  <a:lnTo>
                    <a:pt x="277" y="74"/>
                  </a:lnTo>
                  <a:lnTo>
                    <a:pt x="269" y="62"/>
                  </a:lnTo>
                  <a:lnTo>
                    <a:pt x="261" y="51"/>
                  </a:lnTo>
                  <a:lnTo>
                    <a:pt x="251" y="41"/>
                  </a:lnTo>
                  <a:lnTo>
                    <a:pt x="240" y="32"/>
                  </a:lnTo>
                  <a:lnTo>
                    <a:pt x="229" y="24"/>
                  </a:lnTo>
                  <a:lnTo>
                    <a:pt x="218" y="17"/>
                  </a:lnTo>
                  <a:lnTo>
                    <a:pt x="205" y="11"/>
                  </a:lnTo>
                  <a:lnTo>
                    <a:pt x="192" y="6"/>
                  </a:lnTo>
                  <a:lnTo>
                    <a:pt x="178" y="3"/>
                  </a:lnTo>
                  <a:lnTo>
                    <a:pt x="163" y="1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33" y="1"/>
                  </a:lnTo>
                  <a:lnTo>
                    <a:pt x="119" y="3"/>
                  </a:lnTo>
                  <a:lnTo>
                    <a:pt x="105" y="7"/>
                  </a:lnTo>
                  <a:lnTo>
                    <a:pt x="91" y="11"/>
                  </a:lnTo>
                  <a:lnTo>
                    <a:pt x="78" y="18"/>
                  </a:lnTo>
                  <a:lnTo>
                    <a:pt x="65" y="25"/>
                  </a:lnTo>
                  <a:lnTo>
                    <a:pt x="55" y="34"/>
                  </a:lnTo>
                  <a:lnTo>
                    <a:pt x="44" y="44"/>
                  </a:lnTo>
                  <a:lnTo>
                    <a:pt x="34" y="54"/>
                  </a:lnTo>
                  <a:lnTo>
                    <a:pt x="26" y="66"/>
                  </a:lnTo>
                  <a:lnTo>
                    <a:pt x="18" y="78"/>
                  </a:lnTo>
                  <a:lnTo>
                    <a:pt x="12" y="91"/>
                  </a:lnTo>
                  <a:lnTo>
                    <a:pt x="6" y="105"/>
                  </a:lnTo>
                  <a:lnTo>
                    <a:pt x="3" y="119"/>
                  </a:lnTo>
                  <a:lnTo>
                    <a:pt x="1" y="134"/>
                  </a:lnTo>
                  <a:lnTo>
                    <a:pt x="0" y="149"/>
                  </a:lnTo>
                  <a:lnTo>
                    <a:pt x="0" y="149"/>
                  </a:lnTo>
                  <a:lnTo>
                    <a:pt x="1" y="164"/>
                  </a:lnTo>
                  <a:lnTo>
                    <a:pt x="3" y="179"/>
                  </a:lnTo>
                  <a:lnTo>
                    <a:pt x="6" y="193"/>
                  </a:lnTo>
                  <a:lnTo>
                    <a:pt x="12" y="207"/>
                  </a:lnTo>
                  <a:lnTo>
                    <a:pt x="18" y="220"/>
                  </a:lnTo>
                  <a:lnTo>
                    <a:pt x="26" y="231"/>
                  </a:lnTo>
                  <a:lnTo>
                    <a:pt x="34" y="243"/>
                  </a:lnTo>
                  <a:lnTo>
                    <a:pt x="44" y="254"/>
                  </a:lnTo>
                  <a:lnTo>
                    <a:pt x="55" y="263"/>
                  </a:lnTo>
                  <a:lnTo>
                    <a:pt x="65" y="272"/>
                  </a:lnTo>
                  <a:lnTo>
                    <a:pt x="78" y="280"/>
                  </a:lnTo>
                  <a:lnTo>
                    <a:pt x="91" y="285"/>
                  </a:lnTo>
                  <a:lnTo>
                    <a:pt x="105" y="290"/>
                  </a:lnTo>
                  <a:lnTo>
                    <a:pt x="119" y="294"/>
                  </a:lnTo>
                  <a:lnTo>
                    <a:pt x="133" y="297"/>
                  </a:lnTo>
                  <a:lnTo>
                    <a:pt x="149" y="297"/>
                  </a:lnTo>
                  <a:lnTo>
                    <a:pt x="149" y="297"/>
                  </a:lnTo>
                  <a:lnTo>
                    <a:pt x="164" y="297"/>
                  </a:lnTo>
                  <a:lnTo>
                    <a:pt x="178" y="294"/>
                  </a:lnTo>
                  <a:lnTo>
                    <a:pt x="193" y="290"/>
                  </a:lnTo>
                  <a:lnTo>
                    <a:pt x="206" y="285"/>
                  </a:lnTo>
                  <a:lnTo>
                    <a:pt x="220" y="280"/>
                  </a:lnTo>
                  <a:lnTo>
                    <a:pt x="232" y="272"/>
                  </a:lnTo>
                  <a:lnTo>
                    <a:pt x="243" y="263"/>
                  </a:lnTo>
                  <a:lnTo>
                    <a:pt x="253" y="254"/>
                  </a:lnTo>
                  <a:lnTo>
                    <a:pt x="263" y="243"/>
                  </a:lnTo>
                  <a:lnTo>
                    <a:pt x="271" y="231"/>
                  </a:lnTo>
                  <a:lnTo>
                    <a:pt x="279" y="220"/>
                  </a:lnTo>
                  <a:lnTo>
                    <a:pt x="285" y="207"/>
                  </a:lnTo>
                  <a:lnTo>
                    <a:pt x="291" y="193"/>
                  </a:lnTo>
                  <a:lnTo>
                    <a:pt x="294" y="179"/>
                  </a:lnTo>
                  <a:lnTo>
                    <a:pt x="296" y="164"/>
                  </a:lnTo>
                  <a:lnTo>
                    <a:pt x="297" y="149"/>
                  </a:lnTo>
                  <a:lnTo>
                    <a:pt x="297" y="149"/>
                  </a:lnTo>
                  <a:lnTo>
                    <a:pt x="297" y="141"/>
                  </a:lnTo>
                  <a:lnTo>
                    <a:pt x="285" y="142"/>
                  </a:lnTo>
                  <a:lnTo>
                    <a:pt x="236" y="142"/>
                  </a:lnTo>
                  <a:lnTo>
                    <a:pt x="236" y="142"/>
                  </a:lnTo>
                  <a:lnTo>
                    <a:pt x="235" y="126"/>
                  </a:lnTo>
                  <a:lnTo>
                    <a:pt x="233" y="111"/>
                  </a:lnTo>
                  <a:lnTo>
                    <a:pt x="231" y="96"/>
                  </a:lnTo>
                  <a:lnTo>
                    <a:pt x="226" y="82"/>
                  </a:lnTo>
                  <a:lnTo>
                    <a:pt x="214" y="82"/>
                  </a:lnTo>
                  <a:lnTo>
                    <a:pt x="214" y="82"/>
                  </a:lnTo>
                  <a:lnTo>
                    <a:pt x="219" y="96"/>
                  </a:lnTo>
                  <a:lnTo>
                    <a:pt x="221" y="110"/>
                  </a:lnTo>
                  <a:lnTo>
                    <a:pt x="223" y="126"/>
                  </a:lnTo>
                  <a:lnTo>
                    <a:pt x="224" y="142"/>
                  </a:lnTo>
                  <a:lnTo>
                    <a:pt x="154" y="142"/>
                  </a:lnTo>
                  <a:lnTo>
                    <a:pt x="154" y="154"/>
                  </a:lnTo>
                  <a:lnTo>
                    <a:pt x="224" y="154"/>
                  </a:lnTo>
                  <a:lnTo>
                    <a:pt x="236" y="154"/>
                  </a:lnTo>
                  <a:lnTo>
                    <a:pt x="285" y="154"/>
                  </a:lnTo>
                  <a:lnTo>
                    <a:pt x="285" y="154"/>
                  </a:lnTo>
                  <a:lnTo>
                    <a:pt x="283" y="169"/>
                  </a:lnTo>
                  <a:lnTo>
                    <a:pt x="280" y="184"/>
                  </a:lnTo>
                  <a:lnTo>
                    <a:pt x="276" y="199"/>
                  </a:lnTo>
                  <a:lnTo>
                    <a:pt x="269" y="213"/>
                  </a:lnTo>
                  <a:lnTo>
                    <a:pt x="227" y="213"/>
                  </a:lnTo>
                  <a:lnTo>
                    <a:pt x="224" y="225"/>
                  </a:lnTo>
                  <a:lnTo>
                    <a:pt x="262" y="225"/>
                  </a:lnTo>
                  <a:lnTo>
                    <a:pt x="262" y="225"/>
                  </a:lnTo>
                  <a:lnTo>
                    <a:pt x="255" y="233"/>
                  </a:lnTo>
                  <a:lnTo>
                    <a:pt x="248" y="242"/>
                  </a:lnTo>
                  <a:lnTo>
                    <a:pt x="240" y="251"/>
                  </a:lnTo>
                  <a:lnTo>
                    <a:pt x="232" y="257"/>
                  </a:lnTo>
                  <a:lnTo>
                    <a:pt x="222" y="263"/>
                  </a:lnTo>
                  <a:lnTo>
                    <a:pt x="212" y="270"/>
                  </a:lnTo>
                  <a:lnTo>
                    <a:pt x="202" y="274"/>
                  </a:lnTo>
                  <a:lnTo>
                    <a:pt x="191" y="279"/>
                  </a:lnTo>
                  <a:lnTo>
                    <a:pt x="191" y="279"/>
                  </a:lnTo>
                  <a:lnTo>
                    <a:pt x="201" y="268"/>
                  </a:lnTo>
                  <a:lnTo>
                    <a:pt x="209" y="255"/>
                  </a:lnTo>
                  <a:lnTo>
                    <a:pt x="217" y="241"/>
                  </a:lnTo>
                  <a:lnTo>
                    <a:pt x="224" y="225"/>
                  </a:lnTo>
                  <a:lnTo>
                    <a:pt x="227" y="213"/>
                  </a:lnTo>
                  <a:lnTo>
                    <a:pt x="227" y="213"/>
                  </a:lnTo>
                  <a:lnTo>
                    <a:pt x="231" y="199"/>
                  </a:lnTo>
                  <a:lnTo>
                    <a:pt x="234" y="184"/>
                  </a:lnTo>
                  <a:lnTo>
                    <a:pt x="235" y="169"/>
                  </a:lnTo>
                  <a:lnTo>
                    <a:pt x="236" y="154"/>
                  </a:lnTo>
                  <a:lnTo>
                    <a:pt x="224" y="154"/>
                  </a:lnTo>
                  <a:lnTo>
                    <a:pt x="224" y="154"/>
                  </a:lnTo>
                  <a:lnTo>
                    <a:pt x="223" y="169"/>
                  </a:lnTo>
                  <a:lnTo>
                    <a:pt x="221" y="184"/>
                  </a:lnTo>
                  <a:lnTo>
                    <a:pt x="219" y="199"/>
                  </a:lnTo>
                  <a:lnTo>
                    <a:pt x="216" y="213"/>
                  </a:lnTo>
                  <a:lnTo>
                    <a:pt x="211" y="225"/>
                  </a:lnTo>
                  <a:lnTo>
                    <a:pt x="211" y="225"/>
                  </a:lnTo>
                  <a:lnTo>
                    <a:pt x="206" y="237"/>
                  </a:lnTo>
                  <a:lnTo>
                    <a:pt x="201" y="247"/>
                  </a:lnTo>
                  <a:lnTo>
                    <a:pt x="194" y="257"/>
                  </a:lnTo>
                  <a:lnTo>
                    <a:pt x="187" y="266"/>
                  </a:lnTo>
                  <a:lnTo>
                    <a:pt x="179" y="273"/>
                  </a:lnTo>
                  <a:lnTo>
                    <a:pt x="172" y="279"/>
                  </a:lnTo>
                  <a:lnTo>
                    <a:pt x="163" y="283"/>
                  </a:lnTo>
                  <a:lnTo>
                    <a:pt x="154" y="285"/>
                  </a:lnTo>
                  <a:lnTo>
                    <a:pt x="143" y="285"/>
                  </a:lnTo>
                  <a:lnTo>
                    <a:pt x="143" y="285"/>
                  </a:lnTo>
                  <a:lnTo>
                    <a:pt x="134" y="283"/>
                  </a:lnTo>
                  <a:lnTo>
                    <a:pt x="125" y="279"/>
                  </a:lnTo>
                  <a:lnTo>
                    <a:pt x="118" y="273"/>
                  </a:lnTo>
                  <a:lnTo>
                    <a:pt x="110" y="266"/>
                  </a:lnTo>
                  <a:lnTo>
                    <a:pt x="103" y="257"/>
                  </a:lnTo>
                  <a:lnTo>
                    <a:pt x="96" y="247"/>
                  </a:lnTo>
                  <a:lnTo>
                    <a:pt x="91" y="237"/>
                  </a:lnTo>
                  <a:lnTo>
                    <a:pt x="86" y="225"/>
                  </a:lnTo>
                  <a:lnTo>
                    <a:pt x="74" y="225"/>
                  </a:lnTo>
                  <a:lnTo>
                    <a:pt x="74" y="225"/>
                  </a:lnTo>
                  <a:lnTo>
                    <a:pt x="80" y="241"/>
                  </a:lnTo>
                  <a:lnTo>
                    <a:pt x="88" y="255"/>
                  </a:lnTo>
                  <a:lnTo>
                    <a:pt x="96" y="268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95" y="274"/>
                  </a:lnTo>
                  <a:lnTo>
                    <a:pt x="86" y="270"/>
                  </a:lnTo>
                  <a:lnTo>
                    <a:pt x="75" y="263"/>
                  </a:lnTo>
                  <a:lnTo>
                    <a:pt x="66" y="257"/>
                  </a:lnTo>
                  <a:lnTo>
                    <a:pt x="58" y="251"/>
                  </a:lnTo>
                  <a:lnTo>
                    <a:pt x="49" y="242"/>
                  </a:lnTo>
                  <a:lnTo>
                    <a:pt x="42" y="233"/>
                  </a:lnTo>
                  <a:lnTo>
                    <a:pt x="35" y="225"/>
                  </a:lnTo>
                  <a:lnTo>
                    <a:pt x="74" y="225"/>
                  </a:lnTo>
                  <a:lnTo>
                    <a:pt x="86" y="225"/>
                  </a:lnTo>
                  <a:lnTo>
                    <a:pt x="143" y="225"/>
                  </a:lnTo>
                  <a:lnTo>
                    <a:pt x="143" y="213"/>
                  </a:lnTo>
                  <a:lnTo>
                    <a:pt x="83" y="213"/>
                  </a:lnTo>
                  <a:lnTo>
                    <a:pt x="83" y="213"/>
                  </a:lnTo>
                  <a:lnTo>
                    <a:pt x="78" y="199"/>
                  </a:lnTo>
                  <a:lnTo>
                    <a:pt x="76" y="184"/>
                  </a:lnTo>
                  <a:lnTo>
                    <a:pt x="74" y="169"/>
                  </a:lnTo>
                  <a:lnTo>
                    <a:pt x="73" y="154"/>
                  </a:lnTo>
                  <a:lnTo>
                    <a:pt x="61" y="154"/>
                  </a:lnTo>
                  <a:lnTo>
                    <a:pt x="61" y="154"/>
                  </a:lnTo>
                  <a:lnTo>
                    <a:pt x="62" y="169"/>
                  </a:lnTo>
                  <a:lnTo>
                    <a:pt x="64" y="184"/>
                  </a:lnTo>
                  <a:lnTo>
                    <a:pt x="66" y="199"/>
                  </a:lnTo>
                  <a:lnTo>
                    <a:pt x="70" y="213"/>
                  </a:lnTo>
                  <a:lnTo>
                    <a:pt x="28" y="213"/>
                  </a:lnTo>
                  <a:lnTo>
                    <a:pt x="28" y="213"/>
                  </a:lnTo>
                  <a:lnTo>
                    <a:pt x="21" y="199"/>
                  </a:lnTo>
                  <a:lnTo>
                    <a:pt x="17" y="184"/>
                  </a:lnTo>
                  <a:lnTo>
                    <a:pt x="14" y="169"/>
                  </a:lnTo>
                  <a:lnTo>
                    <a:pt x="12" y="154"/>
                  </a:lnTo>
                  <a:lnTo>
                    <a:pt x="61" y="154"/>
                  </a:lnTo>
                  <a:lnTo>
                    <a:pt x="73" y="15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260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>
                <a:solidFill>
                  <a:srgbClr val="2B3182"/>
                </a:solidFill>
                <a:latin typeface="Arial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2536" name="Freeform 32"/>
            <p:cNvSpPr>
              <a:spLocks/>
            </p:cNvSpPr>
            <p:nvPr/>
          </p:nvSpPr>
          <p:spPr bwMode="auto">
            <a:xfrm>
              <a:off x="5202238" y="4800600"/>
              <a:ext cx="995363" cy="1003300"/>
            </a:xfrm>
            <a:custGeom>
              <a:avLst/>
              <a:gdLst/>
              <a:ahLst/>
              <a:cxnLst>
                <a:cxn ang="0">
                  <a:pos x="257" y="480"/>
                </a:cxn>
                <a:cxn ang="0">
                  <a:pos x="212" y="457"/>
                </a:cxn>
                <a:cxn ang="0">
                  <a:pos x="176" y="423"/>
                </a:cxn>
                <a:cxn ang="0">
                  <a:pos x="150" y="380"/>
                </a:cxn>
                <a:cxn ang="0">
                  <a:pos x="138" y="332"/>
                </a:cxn>
                <a:cxn ang="0">
                  <a:pos x="141" y="279"/>
                </a:cxn>
                <a:cxn ang="0">
                  <a:pos x="152" y="246"/>
                </a:cxn>
                <a:cxn ang="0">
                  <a:pos x="179" y="203"/>
                </a:cxn>
                <a:cxn ang="0">
                  <a:pos x="217" y="171"/>
                </a:cxn>
                <a:cxn ang="0">
                  <a:pos x="262" y="150"/>
                </a:cxn>
                <a:cxn ang="0">
                  <a:pos x="312" y="143"/>
                </a:cxn>
                <a:cxn ang="0">
                  <a:pos x="347" y="146"/>
                </a:cxn>
                <a:cxn ang="0">
                  <a:pos x="396" y="165"/>
                </a:cxn>
                <a:cxn ang="0">
                  <a:pos x="435" y="196"/>
                </a:cxn>
                <a:cxn ang="0">
                  <a:pos x="464" y="235"/>
                </a:cxn>
                <a:cxn ang="0">
                  <a:pos x="480" y="282"/>
                </a:cxn>
                <a:cxn ang="0">
                  <a:pos x="483" y="334"/>
                </a:cxn>
                <a:cxn ang="0">
                  <a:pos x="475" y="368"/>
                </a:cxn>
                <a:cxn ang="0">
                  <a:pos x="453" y="414"/>
                </a:cxn>
                <a:cxn ang="0">
                  <a:pos x="418" y="451"/>
                </a:cxn>
                <a:cxn ang="0">
                  <a:pos x="375" y="476"/>
                </a:cxn>
                <a:cxn ang="0">
                  <a:pos x="327" y="487"/>
                </a:cxn>
                <a:cxn ang="0">
                  <a:pos x="274" y="484"/>
                </a:cxn>
                <a:cxn ang="0">
                  <a:pos x="281" y="559"/>
                </a:cxn>
                <a:cxn ang="0">
                  <a:pos x="333" y="631"/>
                </a:cxn>
                <a:cxn ang="0">
                  <a:pos x="356" y="629"/>
                </a:cxn>
                <a:cxn ang="0">
                  <a:pos x="406" y="542"/>
                </a:cxn>
                <a:cxn ang="0">
                  <a:pos x="445" y="522"/>
                </a:cxn>
                <a:cxn ang="0">
                  <a:pos x="531" y="542"/>
                </a:cxn>
                <a:cxn ang="0">
                  <a:pos x="572" y="495"/>
                </a:cxn>
                <a:cxn ang="0">
                  <a:pos x="538" y="408"/>
                </a:cxn>
                <a:cxn ang="0">
                  <a:pos x="623" y="368"/>
                </a:cxn>
                <a:cxn ang="0">
                  <a:pos x="627" y="306"/>
                </a:cxn>
                <a:cxn ang="0">
                  <a:pos x="550" y="260"/>
                </a:cxn>
                <a:cxn ang="0">
                  <a:pos x="583" y="155"/>
                </a:cxn>
                <a:cxn ang="0">
                  <a:pos x="560" y="121"/>
                </a:cxn>
                <a:cxn ang="0">
                  <a:pos x="459" y="119"/>
                </a:cxn>
                <a:cxn ang="0">
                  <a:pos x="423" y="97"/>
                </a:cxn>
                <a:cxn ang="0">
                  <a:pos x="397" y="11"/>
                </a:cxn>
                <a:cxn ang="0">
                  <a:pos x="356" y="3"/>
                </a:cxn>
                <a:cxn ang="0">
                  <a:pos x="298" y="70"/>
                </a:cxn>
                <a:cxn ang="0">
                  <a:pos x="200" y="20"/>
                </a:cxn>
                <a:cxn ang="0">
                  <a:pos x="163" y="36"/>
                </a:cxn>
                <a:cxn ang="0">
                  <a:pos x="144" y="136"/>
                </a:cxn>
                <a:cxn ang="0">
                  <a:pos x="115" y="168"/>
                </a:cxn>
                <a:cxn ang="0">
                  <a:pos x="26" y="177"/>
                </a:cxn>
                <a:cxn ang="0">
                  <a:pos x="5" y="236"/>
                </a:cxn>
                <a:cxn ang="0">
                  <a:pos x="65" y="307"/>
                </a:cxn>
                <a:cxn ang="0">
                  <a:pos x="0" y="373"/>
                </a:cxn>
                <a:cxn ang="0">
                  <a:pos x="17" y="433"/>
                </a:cxn>
                <a:cxn ang="0">
                  <a:pos x="105" y="449"/>
                </a:cxn>
                <a:cxn ang="0">
                  <a:pos x="109" y="559"/>
                </a:cxn>
                <a:cxn ang="0">
                  <a:pos x="141" y="583"/>
                </a:cxn>
                <a:cxn ang="0">
                  <a:pos x="162" y="595"/>
                </a:cxn>
                <a:cxn ang="0">
                  <a:pos x="239" y="551"/>
                </a:cxn>
              </a:cxnLst>
              <a:rect l="0" t="0" r="r" b="b"/>
              <a:pathLst>
                <a:path w="627" h="632">
                  <a:moveTo>
                    <a:pt x="274" y="484"/>
                  </a:moveTo>
                  <a:lnTo>
                    <a:pt x="274" y="484"/>
                  </a:lnTo>
                  <a:lnTo>
                    <a:pt x="257" y="480"/>
                  </a:lnTo>
                  <a:lnTo>
                    <a:pt x="241" y="474"/>
                  </a:lnTo>
                  <a:lnTo>
                    <a:pt x="226" y="466"/>
                  </a:lnTo>
                  <a:lnTo>
                    <a:pt x="212" y="457"/>
                  </a:lnTo>
                  <a:lnTo>
                    <a:pt x="198" y="447"/>
                  </a:lnTo>
                  <a:lnTo>
                    <a:pt x="187" y="436"/>
                  </a:lnTo>
                  <a:lnTo>
                    <a:pt x="176" y="423"/>
                  </a:lnTo>
                  <a:lnTo>
                    <a:pt x="166" y="410"/>
                  </a:lnTo>
                  <a:lnTo>
                    <a:pt x="158" y="395"/>
                  </a:lnTo>
                  <a:lnTo>
                    <a:pt x="150" y="380"/>
                  </a:lnTo>
                  <a:lnTo>
                    <a:pt x="145" y="364"/>
                  </a:lnTo>
                  <a:lnTo>
                    <a:pt x="140" y="348"/>
                  </a:lnTo>
                  <a:lnTo>
                    <a:pt x="138" y="332"/>
                  </a:lnTo>
                  <a:lnTo>
                    <a:pt x="138" y="315"/>
                  </a:lnTo>
                  <a:lnTo>
                    <a:pt x="139" y="296"/>
                  </a:lnTo>
                  <a:lnTo>
                    <a:pt x="141" y="279"/>
                  </a:lnTo>
                  <a:lnTo>
                    <a:pt x="141" y="279"/>
                  </a:lnTo>
                  <a:lnTo>
                    <a:pt x="146" y="262"/>
                  </a:lnTo>
                  <a:lnTo>
                    <a:pt x="152" y="246"/>
                  </a:lnTo>
                  <a:lnTo>
                    <a:pt x="160" y="231"/>
                  </a:lnTo>
                  <a:lnTo>
                    <a:pt x="169" y="216"/>
                  </a:lnTo>
                  <a:lnTo>
                    <a:pt x="179" y="203"/>
                  </a:lnTo>
                  <a:lnTo>
                    <a:pt x="191" y="191"/>
                  </a:lnTo>
                  <a:lnTo>
                    <a:pt x="204" y="181"/>
                  </a:lnTo>
                  <a:lnTo>
                    <a:pt x="217" y="171"/>
                  </a:lnTo>
                  <a:lnTo>
                    <a:pt x="232" y="162"/>
                  </a:lnTo>
                  <a:lnTo>
                    <a:pt x="247" y="155"/>
                  </a:lnTo>
                  <a:lnTo>
                    <a:pt x="262" y="150"/>
                  </a:lnTo>
                  <a:lnTo>
                    <a:pt x="278" y="145"/>
                  </a:lnTo>
                  <a:lnTo>
                    <a:pt x="295" y="143"/>
                  </a:lnTo>
                  <a:lnTo>
                    <a:pt x="312" y="143"/>
                  </a:lnTo>
                  <a:lnTo>
                    <a:pt x="329" y="143"/>
                  </a:lnTo>
                  <a:lnTo>
                    <a:pt x="347" y="146"/>
                  </a:lnTo>
                  <a:lnTo>
                    <a:pt x="347" y="146"/>
                  </a:lnTo>
                  <a:lnTo>
                    <a:pt x="364" y="151"/>
                  </a:lnTo>
                  <a:lnTo>
                    <a:pt x="381" y="157"/>
                  </a:lnTo>
                  <a:lnTo>
                    <a:pt x="396" y="165"/>
                  </a:lnTo>
                  <a:lnTo>
                    <a:pt x="410" y="174"/>
                  </a:lnTo>
                  <a:lnTo>
                    <a:pt x="424" y="184"/>
                  </a:lnTo>
                  <a:lnTo>
                    <a:pt x="435" y="196"/>
                  </a:lnTo>
                  <a:lnTo>
                    <a:pt x="446" y="207"/>
                  </a:lnTo>
                  <a:lnTo>
                    <a:pt x="456" y="221"/>
                  </a:lnTo>
                  <a:lnTo>
                    <a:pt x="464" y="235"/>
                  </a:lnTo>
                  <a:lnTo>
                    <a:pt x="471" y="251"/>
                  </a:lnTo>
                  <a:lnTo>
                    <a:pt x="477" y="266"/>
                  </a:lnTo>
                  <a:lnTo>
                    <a:pt x="480" y="282"/>
                  </a:lnTo>
                  <a:lnTo>
                    <a:pt x="483" y="300"/>
                  </a:lnTo>
                  <a:lnTo>
                    <a:pt x="484" y="317"/>
                  </a:lnTo>
                  <a:lnTo>
                    <a:pt x="483" y="334"/>
                  </a:lnTo>
                  <a:lnTo>
                    <a:pt x="480" y="351"/>
                  </a:lnTo>
                  <a:lnTo>
                    <a:pt x="480" y="351"/>
                  </a:lnTo>
                  <a:lnTo>
                    <a:pt x="475" y="368"/>
                  </a:lnTo>
                  <a:lnTo>
                    <a:pt x="470" y="385"/>
                  </a:lnTo>
                  <a:lnTo>
                    <a:pt x="461" y="400"/>
                  </a:lnTo>
                  <a:lnTo>
                    <a:pt x="453" y="414"/>
                  </a:lnTo>
                  <a:lnTo>
                    <a:pt x="443" y="428"/>
                  </a:lnTo>
                  <a:lnTo>
                    <a:pt x="431" y="440"/>
                  </a:lnTo>
                  <a:lnTo>
                    <a:pt x="418" y="451"/>
                  </a:lnTo>
                  <a:lnTo>
                    <a:pt x="405" y="461"/>
                  </a:lnTo>
                  <a:lnTo>
                    <a:pt x="390" y="469"/>
                  </a:lnTo>
                  <a:lnTo>
                    <a:pt x="375" y="476"/>
                  </a:lnTo>
                  <a:lnTo>
                    <a:pt x="359" y="481"/>
                  </a:lnTo>
                  <a:lnTo>
                    <a:pt x="343" y="485"/>
                  </a:lnTo>
                  <a:lnTo>
                    <a:pt x="327" y="487"/>
                  </a:lnTo>
                  <a:lnTo>
                    <a:pt x="310" y="488"/>
                  </a:lnTo>
                  <a:lnTo>
                    <a:pt x="293" y="487"/>
                  </a:lnTo>
                  <a:lnTo>
                    <a:pt x="274" y="484"/>
                  </a:lnTo>
                  <a:lnTo>
                    <a:pt x="259" y="556"/>
                  </a:lnTo>
                  <a:lnTo>
                    <a:pt x="259" y="556"/>
                  </a:lnTo>
                  <a:lnTo>
                    <a:pt x="281" y="559"/>
                  </a:lnTo>
                  <a:lnTo>
                    <a:pt x="313" y="632"/>
                  </a:lnTo>
                  <a:lnTo>
                    <a:pt x="313" y="632"/>
                  </a:lnTo>
                  <a:lnTo>
                    <a:pt x="333" y="631"/>
                  </a:lnTo>
                  <a:lnTo>
                    <a:pt x="354" y="629"/>
                  </a:lnTo>
                  <a:lnTo>
                    <a:pt x="356" y="629"/>
                  </a:lnTo>
                  <a:lnTo>
                    <a:pt x="356" y="629"/>
                  </a:lnTo>
                  <a:lnTo>
                    <a:pt x="376" y="625"/>
                  </a:lnTo>
                  <a:lnTo>
                    <a:pt x="395" y="620"/>
                  </a:lnTo>
                  <a:lnTo>
                    <a:pt x="406" y="542"/>
                  </a:lnTo>
                  <a:lnTo>
                    <a:pt x="406" y="542"/>
                  </a:lnTo>
                  <a:lnTo>
                    <a:pt x="426" y="532"/>
                  </a:lnTo>
                  <a:lnTo>
                    <a:pt x="445" y="522"/>
                  </a:lnTo>
                  <a:lnTo>
                    <a:pt x="516" y="556"/>
                  </a:lnTo>
                  <a:lnTo>
                    <a:pt x="516" y="556"/>
                  </a:lnTo>
                  <a:lnTo>
                    <a:pt x="531" y="542"/>
                  </a:lnTo>
                  <a:lnTo>
                    <a:pt x="546" y="527"/>
                  </a:lnTo>
                  <a:lnTo>
                    <a:pt x="559" y="512"/>
                  </a:lnTo>
                  <a:lnTo>
                    <a:pt x="572" y="495"/>
                  </a:lnTo>
                  <a:lnTo>
                    <a:pt x="530" y="427"/>
                  </a:lnTo>
                  <a:lnTo>
                    <a:pt x="530" y="427"/>
                  </a:lnTo>
                  <a:lnTo>
                    <a:pt x="538" y="408"/>
                  </a:lnTo>
                  <a:lnTo>
                    <a:pt x="546" y="388"/>
                  </a:lnTo>
                  <a:lnTo>
                    <a:pt x="623" y="368"/>
                  </a:lnTo>
                  <a:lnTo>
                    <a:pt x="623" y="368"/>
                  </a:lnTo>
                  <a:lnTo>
                    <a:pt x="625" y="347"/>
                  </a:lnTo>
                  <a:lnTo>
                    <a:pt x="627" y="326"/>
                  </a:lnTo>
                  <a:lnTo>
                    <a:pt x="627" y="306"/>
                  </a:lnTo>
                  <a:lnTo>
                    <a:pt x="625" y="286"/>
                  </a:lnTo>
                  <a:lnTo>
                    <a:pt x="550" y="260"/>
                  </a:lnTo>
                  <a:lnTo>
                    <a:pt x="550" y="260"/>
                  </a:lnTo>
                  <a:lnTo>
                    <a:pt x="545" y="240"/>
                  </a:lnTo>
                  <a:lnTo>
                    <a:pt x="537" y="219"/>
                  </a:lnTo>
                  <a:lnTo>
                    <a:pt x="583" y="155"/>
                  </a:lnTo>
                  <a:lnTo>
                    <a:pt x="583" y="155"/>
                  </a:lnTo>
                  <a:lnTo>
                    <a:pt x="573" y="138"/>
                  </a:lnTo>
                  <a:lnTo>
                    <a:pt x="560" y="121"/>
                  </a:lnTo>
                  <a:lnTo>
                    <a:pt x="547" y="106"/>
                  </a:lnTo>
                  <a:lnTo>
                    <a:pt x="533" y="91"/>
                  </a:lnTo>
                  <a:lnTo>
                    <a:pt x="459" y="119"/>
                  </a:lnTo>
                  <a:lnTo>
                    <a:pt x="459" y="119"/>
                  </a:lnTo>
                  <a:lnTo>
                    <a:pt x="441" y="108"/>
                  </a:lnTo>
                  <a:lnTo>
                    <a:pt x="423" y="97"/>
                  </a:lnTo>
                  <a:lnTo>
                    <a:pt x="416" y="18"/>
                  </a:lnTo>
                  <a:lnTo>
                    <a:pt x="416" y="18"/>
                  </a:lnTo>
                  <a:lnTo>
                    <a:pt x="397" y="11"/>
                  </a:lnTo>
                  <a:lnTo>
                    <a:pt x="376" y="6"/>
                  </a:lnTo>
                  <a:lnTo>
                    <a:pt x="376" y="6"/>
                  </a:lnTo>
                  <a:lnTo>
                    <a:pt x="356" y="3"/>
                  </a:lnTo>
                  <a:lnTo>
                    <a:pt x="336" y="0"/>
                  </a:lnTo>
                  <a:lnTo>
                    <a:pt x="298" y="70"/>
                  </a:lnTo>
                  <a:lnTo>
                    <a:pt x="298" y="70"/>
                  </a:lnTo>
                  <a:lnTo>
                    <a:pt x="277" y="72"/>
                  </a:lnTo>
                  <a:lnTo>
                    <a:pt x="256" y="77"/>
                  </a:lnTo>
                  <a:lnTo>
                    <a:pt x="200" y="20"/>
                  </a:lnTo>
                  <a:lnTo>
                    <a:pt x="200" y="20"/>
                  </a:lnTo>
                  <a:lnTo>
                    <a:pt x="181" y="27"/>
                  </a:lnTo>
                  <a:lnTo>
                    <a:pt x="163" y="36"/>
                  </a:lnTo>
                  <a:lnTo>
                    <a:pt x="145" y="47"/>
                  </a:lnTo>
                  <a:lnTo>
                    <a:pt x="128" y="58"/>
                  </a:lnTo>
                  <a:lnTo>
                    <a:pt x="144" y="136"/>
                  </a:lnTo>
                  <a:lnTo>
                    <a:pt x="144" y="136"/>
                  </a:lnTo>
                  <a:lnTo>
                    <a:pt x="129" y="151"/>
                  </a:lnTo>
                  <a:lnTo>
                    <a:pt x="115" y="168"/>
                  </a:lnTo>
                  <a:lnTo>
                    <a:pt x="35" y="160"/>
                  </a:lnTo>
                  <a:lnTo>
                    <a:pt x="35" y="160"/>
                  </a:lnTo>
                  <a:lnTo>
                    <a:pt x="26" y="177"/>
                  </a:lnTo>
                  <a:lnTo>
                    <a:pt x="18" y="197"/>
                  </a:lnTo>
                  <a:lnTo>
                    <a:pt x="11" y="216"/>
                  </a:lnTo>
                  <a:lnTo>
                    <a:pt x="5" y="236"/>
                  </a:lnTo>
                  <a:lnTo>
                    <a:pt x="67" y="286"/>
                  </a:lnTo>
                  <a:lnTo>
                    <a:pt x="67" y="286"/>
                  </a:lnTo>
                  <a:lnTo>
                    <a:pt x="65" y="307"/>
                  </a:lnTo>
                  <a:lnTo>
                    <a:pt x="65" y="329"/>
                  </a:lnTo>
                  <a:lnTo>
                    <a:pt x="0" y="373"/>
                  </a:lnTo>
                  <a:lnTo>
                    <a:pt x="0" y="373"/>
                  </a:lnTo>
                  <a:lnTo>
                    <a:pt x="4" y="393"/>
                  </a:lnTo>
                  <a:lnTo>
                    <a:pt x="10" y="413"/>
                  </a:lnTo>
                  <a:lnTo>
                    <a:pt x="17" y="433"/>
                  </a:lnTo>
                  <a:lnTo>
                    <a:pt x="26" y="451"/>
                  </a:lnTo>
                  <a:lnTo>
                    <a:pt x="105" y="449"/>
                  </a:lnTo>
                  <a:lnTo>
                    <a:pt x="105" y="449"/>
                  </a:lnTo>
                  <a:lnTo>
                    <a:pt x="117" y="467"/>
                  </a:lnTo>
                  <a:lnTo>
                    <a:pt x="131" y="483"/>
                  </a:lnTo>
                  <a:lnTo>
                    <a:pt x="109" y="559"/>
                  </a:lnTo>
                  <a:lnTo>
                    <a:pt x="109" y="559"/>
                  </a:lnTo>
                  <a:lnTo>
                    <a:pt x="125" y="571"/>
                  </a:lnTo>
                  <a:lnTo>
                    <a:pt x="141" y="583"/>
                  </a:lnTo>
                  <a:lnTo>
                    <a:pt x="144" y="584"/>
                  </a:lnTo>
                  <a:lnTo>
                    <a:pt x="144" y="584"/>
                  </a:lnTo>
                  <a:lnTo>
                    <a:pt x="162" y="595"/>
                  </a:lnTo>
                  <a:lnTo>
                    <a:pt x="179" y="603"/>
                  </a:lnTo>
                  <a:lnTo>
                    <a:pt x="239" y="551"/>
                  </a:lnTo>
                  <a:lnTo>
                    <a:pt x="239" y="551"/>
                  </a:lnTo>
                  <a:lnTo>
                    <a:pt x="259" y="556"/>
                  </a:lnTo>
                  <a:lnTo>
                    <a:pt x="274" y="48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260" fontAlgn="auto">
                <a:spcBef>
                  <a:spcPts val="0"/>
                </a:spcBef>
                <a:spcAft>
                  <a:spcPts val="0"/>
                </a:spcAft>
              </a:pPr>
              <a:endParaRPr lang="en-US" sz="1350" dirty="0">
                <a:solidFill>
                  <a:srgbClr val="2B3182"/>
                </a:solidFill>
                <a:latin typeface="Arial"/>
                <a:ea typeface="ＭＳ Ｐゴシック" pitchFamily="34" charset="-128"/>
                <a:cs typeface="+mn-cs"/>
              </a:endParaRPr>
            </a:p>
          </p:txBody>
        </p:sp>
      </p:grpSp>
      <p:sp>
        <p:nvSpPr>
          <p:cNvPr id="2558" name="Oval 2557"/>
          <p:cNvSpPr/>
          <p:nvPr/>
        </p:nvSpPr>
        <p:spPr>
          <a:xfrm>
            <a:off x="6858392" y="3354432"/>
            <a:ext cx="394195" cy="396450"/>
          </a:xfrm>
          <a:prstGeom prst="ellipse">
            <a:avLst/>
          </a:prstGeom>
          <a:gradFill flip="none" rotWithShape="1">
            <a:gsLst>
              <a:gs pos="1000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</a:gsLst>
            <a:lin ang="5400000" scaled="0"/>
            <a:tileRect/>
          </a:gra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676767"/>
              </a:solidFill>
              <a:cs typeface="Arial"/>
            </a:endParaRPr>
          </a:p>
        </p:txBody>
      </p:sp>
      <p:sp>
        <p:nvSpPr>
          <p:cNvPr id="2559" name="Oval 2558"/>
          <p:cNvSpPr/>
          <p:nvPr/>
        </p:nvSpPr>
        <p:spPr>
          <a:xfrm>
            <a:off x="6879408" y="3375181"/>
            <a:ext cx="352019" cy="354033"/>
          </a:xfrm>
          <a:prstGeom prst="ellipse">
            <a:avLst/>
          </a:prstGeom>
          <a:gradFill>
            <a:gsLst>
              <a:gs pos="0">
                <a:srgbClr val="00BCFF"/>
              </a:gs>
              <a:gs pos="100000">
                <a:schemeClr val="accent1"/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t" anchorCtr="0" compatLnSpc="1">
            <a:prstTxWarp prst="textNoShape">
              <a:avLst/>
            </a:prstTxWarp>
          </a:bodyPr>
          <a:lstStyle/>
          <a:p>
            <a:pPr defTabSz="514350"/>
            <a:endParaRPr lang="en-US" sz="1400" dirty="0">
              <a:solidFill>
                <a:srgbClr val="FFFFFF"/>
              </a:solidFill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2560" name="Freeform 2559"/>
          <p:cNvSpPr>
            <a:spLocks noChangeArrowheads="1"/>
          </p:cNvSpPr>
          <p:nvPr/>
        </p:nvSpPr>
        <p:spPr bwMode="auto">
          <a:xfrm>
            <a:off x="6945477" y="3475155"/>
            <a:ext cx="216796" cy="168619"/>
          </a:xfrm>
          <a:custGeom>
            <a:avLst/>
            <a:gdLst/>
            <a:ahLst/>
            <a:cxnLst>
              <a:cxn ang="0">
                <a:pos x="1068" y="447"/>
              </a:cxn>
              <a:cxn ang="0">
                <a:pos x="1070" y="447"/>
              </a:cxn>
              <a:cxn ang="0">
                <a:pos x="1070" y="285"/>
              </a:cxn>
              <a:cxn ang="0">
                <a:pos x="813" y="325"/>
              </a:cxn>
              <a:cxn ang="0">
                <a:pos x="813" y="298"/>
              </a:cxn>
              <a:cxn ang="0">
                <a:pos x="1066" y="256"/>
              </a:cxn>
              <a:cxn ang="0">
                <a:pos x="1069" y="255"/>
              </a:cxn>
              <a:cxn ang="0">
                <a:pos x="1069" y="76"/>
              </a:cxn>
              <a:cxn ang="0">
                <a:pos x="800" y="0"/>
              </a:cxn>
              <a:cxn ang="0">
                <a:pos x="535" y="62"/>
              </a:cxn>
              <a:cxn ang="0">
                <a:pos x="269" y="0"/>
              </a:cxn>
              <a:cxn ang="0">
                <a:pos x="0" y="76"/>
              </a:cxn>
              <a:cxn ang="0">
                <a:pos x="0" y="255"/>
              </a:cxn>
              <a:cxn ang="0">
                <a:pos x="3" y="256"/>
              </a:cxn>
              <a:cxn ang="0">
                <a:pos x="250" y="297"/>
              </a:cxn>
              <a:cxn ang="0">
                <a:pos x="250" y="325"/>
              </a:cxn>
              <a:cxn ang="0">
                <a:pos x="1" y="285"/>
              </a:cxn>
              <a:cxn ang="0">
                <a:pos x="1" y="449"/>
              </a:cxn>
              <a:cxn ang="0">
                <a:pos x="250" y="492"/>
              </a:cxn>
              <a:cxn ang="0">
                <a:pos x="250" y="520"/>
              </a:cxn>
              <a:cxn ang="0">
                <a:pos x="0" y="477"/>
              </a:cxn>
              <a:cxn ang="0">
                <a:pos x="0" y="617"/>
              </a:cxn>
              <a:cxn ang="0">
                <a:pos x="250" y="692"/>
              </a:cxn>
              <a:cxn ang="0">
                <a:pos x="250" y="751"/>
              </a:cxn>
              <a:cxn ang="0">
                <a:pos x="532" y="831"/>
              </a:cxn>
              <a:cxn ang="0">
                <a:pos x="813" y="751"/>
              </a:cxn>
              <a:cxn ang="0">
                <a:pos x="813" y="693"/>
              </a:cxn>
              <a:cxn ang="0">
                <a:pos x="1069" y="617"/>
              </a:cxn>
              <a:cxn ang="0">
                <a:pos x="1069" y="477"/>
              </a:cxn>
              <a:cxn ang="0">
                <a:pos x="813" y="521"/>
              </a:cxn>
              <a:cxn ang="0">
                <a:pos x="813" y="493"/>
              </a:cxn>
              <a:cxn ang="0">
                <a:pos x="1068" y="447"/>
              </a:cxn>
              <a:cxn ang="0">
                <a:pos x="282" y="184"/>
              </a:cxn>
              <a:cxn ang="0">
                <a:pos x="531" y="139"/>
              </a:cxn>
              <a:cxn ang="0">
                <a:pos x="780" y="184"/>
              </a:cxn>
              <a:cxn ang="0">
                <a:pos x="531" y="230"/>
              </a:cxn>
              <a:cxn ang="0">
                <a:pos x="282" y="184"/>
              </a:cxn>
              <a:cxn ang="0">
                <a:pos x="799" y="32"/>
              </a:cxn>
              <a:cxn ang="0">
                <a:pos x="1037" y="76"/>
              </a:cxn>
              <a:cxn ang="0">
                <a:pos x="799" y="119"/>
              </a:cxn>
              <a:cxn ang="0">
                <a:pos x="563" y="76"/>
              </a:cxn>
              <a:cxn ang="0">
                <a:pos x="799" y="32"/>
              </a:cxn>
              <a:cxn ang="0">
                <a:pos x="31" y="76"/>
              </a:cxn>
              <a:cxn ang="0">
                <a:pos x="269" y="32"/>
              </a:cxn>
              <a:cxn ang="0">
                <a:pos x="507" y="76"/>
              </a:cxn>
              <a:cxn ang="0">
                <a:pos x="269" y="119"/>
              </a:cxn>
              <a:cxn ang="0">
                <a:pos x="31" y="76"/>
              </a:cxn>
              <a:cxn ang="0">
                <a:pos x="813" y="604"/>
              </a:cxn>
              <a:cxn ang="0">
                <a:pos x="542" y="651"/>
              </a:cxn>
              <a:cxn ang="0">
                <a:pos x="250" y="605"/>
              </a:cxn>
              <a:cxn ang="0">
                <a:pos x="250" y="575"/>
              </a:cxn>
              <a:cxn ang="0">
                <a:pos x="810" y="574"/>
              </a:cxn>
              <a:cxn ang="0">
                <a:pos x="813" y="573"/>
              </a:cxn>
              <a:cxn ang="0">
                <a:pos x="813" y="604"/>
              </a:cxn>
              <a:cxn ang="0">
                <a:pos x="542" y="446"/>
              </a:cxn>
              <a:cxn ang="0">
                <a:pos x="250" y="403"/>
              </a:cxn>
              <a:cxn ang="0">
                <a:pos x="250" y="372"/>
              </a:cxn>
              <a:cxn ang="0">
                <a:pos x="253" y="373"/>
              </a:cxn>
              <a:cxn ang="0">
                <a:pos x="810" y="373"/>
              </a:cxn>
              <a:cxn ang="0">
                <a:pos x="813" y="373"/>
              </a:cxn>
              <a:cxn ang="0">
                <a:pos x="813" y="403"/>
              </a:cxn>
              <a:cxn ang="0">
                <a:pos x="542" y="446"/>
              </a:cxn>
            </a:cxnLst>
            <a:rect l="0" t="0" r="r" b="b"/>
            <a:pathLst>
              <a:path w="1071" h="832">
                <a:moveTo>
                  <a:pt x="1068" y="447"/>
                </a:moveTo>
                <a:cubicBezTo>
                  <a:pt x="1068" y="447"/>
                  <a:pt x="1069" y="447"/>
                  <a:pt x="1070" y="447"/>
                </a:cubicBezTo>
                <a:lnTo>
                  <a:pt x="1070" y="285"/>
                </a:lnTo>
                <a:cubicBezTo>
                  <a:pt x="982" y="314"/>
                  <a:pt x="893" y="325"/>
                  <a:pt x="813" y="325"/>
                </a:cubicBezTo>
                <a:lnTo>
                  <a:pt x="813" y="298"/>
                </a:lnTo>
                <a:cubicBezTo>
                  <a:pt x="891" y="298"/>
                  <a:pt x="979" y="287"/>
                  <a:pt x="1066" y="256"/>
                </a:cubicBezTo>
                <a:cubicBezTo>
                  <a:pt x="1067" y="256"/>
                  <a:pt x="1068" y="255"/>
                  <a:pt x="1069" y="255"/>
                </a:cubicBezTo>
                <a:lnTo>
                  <a:pt x="1069" y="76"/>
                </a:lnTo>
                <a:cubicBezTo>
                  <a:pt x="1069" y="1"/>
                  <a:pt x="811" y="0"/>
                  <a:pt x="800" y="0"/>
                </a:cubicBezTo>
                <a:cubicBezTo>
                  <a:pt x="790" y="0"/>
                  <a:pt x="566" y="1"/>
                  <a:pt x="535" y="62"/>
                </a:cubicBezTo>
                <a:cubicBezTo>
                  <a:pt x="504" y="1"/>
                  <a:pt x="280" y="0"/>
                  <a:pt x="269" y="0"/>
                </a:cubicBezTo>
                <a:cubicBezTo>
                  <a:pt x="258" y="0"/>
                  <a:pt x="0" y="1"/>
                  <a:pt x="0" y="76"/>
                </a:cubicBezTo>
                <a:lnTo>
                  <a:pt x="0" y="255"/>
                </a:lnTo>
                <a:cubicBezTo>
                  <a:pt x="2" y="255"/>
                  <a:pt x="2" y="255"/>
                  <a:pt x="3" y="256"/>
                </a:cubicBezTo>
                <a:cubicBezTo>
                  <a:pt x="10" y="259"/>
                  <a:pt x="112" y="292"/>
                  <a:pt x="250" y="297"/>
                </a:cubicBezTo>
                <a:lnTo>
                  <a:pt x="250" y="325"/>
                </a:lnTo>
                <a:cubicBezTo>
                  <a:pt x="130" y="321"/>
                  <a:pt x="35" y="296"/>
                  <a:pt x="1" y="285"/>
                </a:cubicBezTo>
                <a:lnTo>
                  <a:pt x="1" y="449"/>
                </a:lnTo>
                <a:cubicBezTo>
                  <a:pt x="29" y="459"/>
                  <a:pt x="126" y="488"/>
                  <a:pt x="250" y="492"/>
                </a:cubicBezTo>
                <a:lnTo>
                  <a:pt x="250" y="520"/>
                </a:lnTo>
                <a:cubicBezTo>
                  <a:pt x="135" y="517"/>
                  <a:pt x="43" y="492"/>
                  <a:pt x="0" y="477"/>
                </a:cubicBezTo>
                <a:lnTo>
                  <a:pt x="0" y="617"/>
                </a:lnTo>
                <a:cubicBezTo>
                  <a:pt x="0" y="681"/>
                  <a:pt x="187" y="691"/>
                  <a:pt x="250" y="692"/>
                </a:cubicBezTo>
                <a:lnTo>
                  <a:pt x="250" y="751"/>
                </a:lnTo>
                <a:cubicBezTo>
                  <a:pt x="250" y="830"/>
                  <a:pt x="520" y="831"/>
                  <a:pt x="532" y="831"/>
                </a:cubicBezTo>
                <a:cubicBezTo>
                  <a:pt x="543" y="831"/>
                  <a:pt x="813" y="830"/>
                  <a:pt x="813" y="751"/>
                </a:cubicBezTo>
                <a:lnTo>
                  <a:pt x="813" y="693"/>
                </a:lnTo>
                <a:cubicBezTo>
                  <a:pt x="867" y="692"/>
                  <a:pt x="1069" y="683"/>
                  <a:pt x="1069" y="617"/>
                </a:cubicBezTo>
                <a:lnTo>
                  <a:pt x="1069" y="477"/>
                </a:lnTo>
                <a:cubicBezTo>
                  <a:pt x="980" y="509"/>
                  <a:pt x="893" y="521"/>
                  <a:pt x="813" y="521"/>
                </a:cubicBezTo>
                <a:lnTo>
                  <a:pt x="813" y="493"/>
                </a:lnTo>
                <a:cubicBezTo>
                  <a:pt x="892" y="492"/>
                  <a:pt x="981" y="481"/>
                  <a:pt x="1068" y="447"/>
                </a:cubicBezTo>
                <a:close/>
                <a:moveTo>
                  <a:pt x="282" y="184"/>
                </a:moveTo>
                <a:cubicBezTo>
                  <a:pt x="282" y="159"/>
                  <a:pt x="393" y="139"/>
                  <a:pt x="531" y="139"/>
                </a:cubicBezTo>
                <a:cubicBezTo>
                  <a:pt x="668" y="139"/>
                  <a:pt x="780" y="158"/>
                  <a:pt x="780" y="184"/>
                </a:cubicBezTo>
                <a:cubicBezTo>
                  <a:pt x="780" y="209"/>
                  <a:pt x="668" y="230"/>
                  <a:pt x="531" y="230"/>
                </a:cubicBezTo>
                <a:cubicBezTo>
                  <a:pt x="393" y="230"/>
                  <a:pt x="282" y="210"/>
                  <a:pt x="282" y="184"/>
                </a:cubicBezTo>
                <a:close/>
                <a:moveTo>
                  <a:pt x="799" y="32"/>
                </a:moveTo>
                <a:cubicBezTo>
                  <a:pt x="931" y="32"/>
                  <a:pt x="1037" y="52"/>
                  <a:pt x="1037" y="76"/>
                </a:cubicBezTo>
                <a:cubicBezTo>
                  <a:pt x="1037" y="100"/>
                  <a:pt x="931" y="119"/>
                  <a:pt x="799" y="119"/>
                </a:cubicBezTo>
                <a:cubicBezTo>
                  <a:pt x="668" y="119"/>
                  <a:pt x="563" y="100"/>
                  <a:pt x="563" y="76"/>
                </a:cubicBezTo>
                <a:cubicBezTo>
                  <a:pt x="563" y="52"/>
                  <a:pt x="669" y="32"/>
                  <a:pt x="799" y="32"/>
                </a:cubicBezTo>
                <a:close/>
                <a:moveTo>
                  <a:pt x="31" y="76"/>
                </a:moveTo>
                <a:cubicBezTo>
                  <a:pt x="31" y="52"/>
                  <a:pt x="138" y="32"/>
                  <a:pt x="269" y="32"/>
                </a:cubicBezTo>
                <a:cubicBezTo>
                  <a:pt x="400" y="32"/>
                  <a:pt x="507" y="52"/>
                  <a:pt x="507" y="76"/>
                </a:cubicBezTo>
                <a:cubicBezTo>
                  <a:pt x="507" y="100"/>
                  <a:pt x="400" y="119"/>
                  <a:pt x="269" y="119"/>
                </a:cubicBezTo>
                <a:cubicBezTo>
                  <a:pt x="138" y="119"/>
                  <a:pt x="31" y="100"/>
                  <a:pt x="31" y="76"/>
                </a:cubicBezTo>
                <a:close/>
                <a:moveTo>
                  <a:pt x="813" y="604"/>
                </a:moveTo>
                <a:cubicBezTo>
                  <a:pt x="720" y="639"/>
                  <a:pt x="626" y="651"/>
                  <a:pt x="542" y="651"/>
                </a:cubicBezTo>
                <a:cubicBezTo>
                  <a:pt x="408" y="651"/>
                  <a:pt x="298" y="622"/>
                  <a:pt x="250" y="605"/>
                </a:cubicBezTo>
                <a:lnTo>
                  <a:pt x="250" y="575"/>
                </a:lnTo>
                <a:cubicBezTo>
                  <a:pt x="300" y="593"/>
                  <a:pt x="561" y="671"/>
                  <a:pt x="810" y="574"/>
                </a:cubicBezTo>
                <a:cubicBezTo>
                  <a:pt x="811" y="574"/>
                  <a:pt x="812" y="574"/>
                  <a:pt x="813" y="573"/>
                </a:cubicBezTo>
                <a:lnTo>
                  <a:pt x="813" y="604"/>
                </a:lnTo>
                <a:close/>
                <a:moveTo>
                  <a:pt x="542" y="446"/>
                </a:moveTo>
                <a:cubicBezTo>
                  <a:pt x="402" y="446"/>
                  <a:pt x="289" y="416"/>
                  <a:pt x="250" y="403"/>
                </a:cubicBezTo>
                <a:lnTo>
                  <a:pt x="250" y="372"/>
                </a:lnTo>
                <a:cubicBezTo>
                  <a:pt x="251" y="372"/>
                  <a:pt x="252" y="373"/>
                  <a:pt x="253" y="373"/>
                </a:cubicBezTo>
                <a:cubicBezTo>
                  <a:pt x="265" y="378"/>
                  <a:pt x="539" y="469"/>
                  <a:pt x="810" y="373"/>
                </a:cubicBezTo>
                <a:cubicBezTo>
                  <a:pt x="810" y="373"/>
                  <a:pt x="812" y="373"/>
                  <a:pt x="813" y="373"/>
                </a:cubicBezTo>
                <a:lnTo>
                  <a:pt x="813" y="403"/>
                </a:lnTo>
                <a:cubicBezTo>
                  <a:pt x="720" y="434"/>
                  <a:pt x="626" y="446"/>
                  <a:pt x="542" y="446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bevel/>
            <a:headEnd/>
            <a:tailEnd/>
          </a:ln>
          <a:effectLst/>
        </p:spPr>
        <p:txBody>
          <a:bodyPr wrap="none" anchor="ctr">
            <a:prstTxWarp prst="textNoShape">
              <a:avLst/>
            </a:prstTxWarp>
          </a:bodyPr>
          <a:lstStyle>
            <a:defPPr>
              <a:defRPr lang="en-GB"/>
            </a:defPPr>
            <a:lvl1pPr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1pPr>
            <a:lvl2pPr marL="742950" indent="-28575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2pPr>
            <a:lvl3pPr marL="1143000" indent="-22860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3pPr>
            <a:lvl4pPr marL="1600200" indent="-22860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4pPr>
            <a:lvl5pPr marL="2057400" indent="-22860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9pPr>
          </a:lstStyle>
          <a:p>
            <a:endParaRPr lang="en-US" sz="1350">
              <a:solidFill>
                <a:srgbClr val="676767"/>
              </a:solidFill>
            </a:endParaRPr>
          </a:p>
        </p:txBody>
      </p:sp>
      <p:sp>
        <p:nvSpPr>
          <p:cNvPr id="2562" name="Oval 2561"/>
          <p:cNvSpPr/>
          <p:nvPr/>
        </p:nvSpPr>
        <p:spPr>
          <a:xfrm>
            <a:off x="8439622" y="3925950"/>
            <a:ext cx="353245" cy="355266"/>
          </a:xfrm>
          <a:prstGeom prst="ellipse">
            <a:avLst/>
          </a:prstGeom>
          <a:gradFill flip="none" rotWithShape="1">
            <a:gsLst>
              <a:gs pos="1000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</a:gsLst>
            <a:lin ang="5400000" scaled="0"/>
            <a:tileRect/>
          </a:gra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676767"/>
              </a:solidFill>
              <a:cs typeface="Arial"/>
            </a:endParaRPr>
          </a:p>
        </p:txBody>
      </p:sp>
      <p:sp>
        <p:nvSpPr>
          <p:cNvPr id="2563" name="Oval 2562"/>
          <p:cNvSpPr/>
          <p:nvPr/>
        </p:nvSpPr>
        <p:spPr>
          <a:xfrm>
            <a:off x="8458455" y="3944544"/>
            <a:ext cx="315451" cy="317255"/>
          </a:xfrm>
          <a:prstGeom prst="ellipse">
            <a:avLst/>
          </a:prstGeom>
          <a:gradFill>
            <a:gsLst>
              <a:gs pos="0">
                <a:srgbClr val="00BCFF"/>
              </a:gs>
              <a:gs pos="100000">
                <a:schemeClr val="accent1"/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t" anchorCtr="0" compatLnSpc="1">
            <a:prstTxWarp prst="textNoShape">
              <a:avLst/>
            </a:prstTxWarp>
          </a:bodyPr>
          <a:lstStyle/>
          <a:p>
            <a:pPr defTabSz="514350"/>
            <a:endParaRPr lang="en-US" sz="1400" dirty="0">
              <a:solidFill>
                <a:srgbClr val="FFFFFF"/>
              </a:solidFill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2564" name="Freeform 2563"/>
          <p:cNvSpPr>
            <a:spLocks noChangeArrowheads="1"/>
          </p:cNvSpPr>
          <p:nvPr/>
        </p:nvSpPr>
        <p:spPr bwMode="auto">
          <a:xfrm>
            <a:off x="8517661" y="4034132"/>
            <a:ext cx="194275" cy="151103"/>
          </a:xfrm>
          <a:custGeom>
            <a:avLst/>
            <a:gdLst/>
            <a:ahLst/>
            <a:cxnLst>
              <a:cxn ang="0">
                <a:pos x="1068" y="447"/>
              </a:cxn>
              <a:cxn ang="0">
                <a:pos x="1070" y="447"/>
              </a:cxn>
              <a:cxn ang="0">
                <a:pos x="1070" y="285"/>
              </a:cxn>
              <a:cxn ang="0">
                <a:pos x="813" y="325"/>
              </a:cxn>
              <a:cxn ang="0">
                <a:pos x="813" y="298"/>
              </a:cxn>
              <a:cxn ang="0">
                <a:pos x="1066" y="256"/>
              </a:cxn>
              <a:cxn ang="0">
                <a:pos x="1069" y="255"/>
              </a:cxn>
              <a:cxn ang="0">
                <a:pos x="1069" y="76"/>
              </a:cxn>
              <a:cxn ang="0">
                <a:pos x="800" y="0"/>
              </a:cxn>
              <a:cxn ang="0">
                <a:pos x="535" y="62"/>
              </a:cxn>
              <a:cxn ang="0">
                <a:pos x="269" y="0"/>
              </a:cxn>
              <a:cxn ang="0">
                <a:pos x="0" y="76"/>
              </a:cxn>
              <a:cxn ang="0">
                <a:pos x="0" y="255"/>
              </a:cxn>
              <a:cxn ang="0">
                <a:pos x="3" y="256"/>
              </a:cxn>
              <a:cxn ang="0">
                <a:pos x="250" y="297"/>
              </a:cxn>
              <a:cxn ang="0">
                <a:pos x="250" y="325"/>
              </a:cxn>
              <a:cxn ang="0">
                <a:pos x="1" y="285"/>
              </a:cxn>
              <a:cxn ang="0">
                <a:pos x="1" y="449"/>
              </a:cxn>
              <a:cxn ang="0">
                <a:pos x="250" y="492"/>
              </a:cxn>
              <a:cxn ang="0">
                <a:pos x="250" y="520"/>
              </a:cxn>
              <a:cxn ang="0">
                <a:pos x="0" y="477"/>
              </a:cxn>
              <a:cxn ang="0">
                <a:pos x="0" y="617"/>
              </a:cxn>
              <a:cxn ang="0">
                <a:pos x="250" y="692"/>
              </a:cxn>
              <a:cxn ang="0">
                <a:pos x="250" y="751"/>
              </a:cxn>
              <a:cxn ang="0">
                <a:pos x="532" y="831"/>
              </a:cxn>
              <a:cxn ang="0">
                <a:pos x="813" y="751"/>
              </a:cxn>
              <a:cxn ang="0">
                <a:pos x="813" y="693"/>
              </a:cxn>
              <a:cxn ang="0">
                <a:pos x="1069" y="617"/>
              </a:cxn>
              <a:cxn ang="0">
                <a:pos x="1069" y="477"/>
              </a:cxn>
              <a:cxn ang="0">
                <a:pos x="813" y="521"/>
              </a:cxn>
              <a:cxn ang="0">
                <a:pos x="813" y="493"/>
              </a:cxn>
              <a:cxn ang="0">
                <a:pos x="1068" y="447"/>
              </a:cxn>
              <a:cxn ang="0">
                <a:pos x="282" y="184"/>
              </a:cxn>
              <a:cxn ang="0">
                <a:pos x="531" y="139"/>
              </a:cxn>
              <a:cxn ang="0">
                <a:pos x="780" y="184"/>
              </a:cxn>
              <a:cxn ang="0">
                <a:pos x="531" y="230"/>
              </a:cxn>
              <a:cxn ang="0">
                <a:pos x="282" y="184"/>
              </a:cxn>
              <a:cxn ang="0">
                <a:pos x="799" y="32"/>
              </a:cxn>
              <a:cxn ang="0">
                <a:pos x="1037" y="76"/>
              </a:cxn>
              <a:cxn ang="0">
                <a:pos x="799" y="119"/>
              </a:cxn>
              <a:cxn ang="0">
                <a:pos x="563" y="76"/>
              </a:cxn>
              <a:cxn ang="0">
                <a:pos x="799" y="32"/>
              </a:cxn>
              <a:cxn ang="0">
                <a:pos x="31" y="76"/>
              </a:cxn>
              <a:cxn ang="0">
                <a:pos x="269" y="32"/>
              </a:cxn>
              <a:cxn ang="0">
                <a:pos x="507" y="76"/>
              </a:cxn>
              <a:cxn ang="0">
                <a:pos x="269" y="119"/>
              </a:cxn>
              <a:cxn ang="0">
                <a:pos x="31" y="76"/>
              </a:cxn>
              <a:cxn ang="0">
                <a:pos x="813" y="604"/>
              </a:cxn>
              <a:cxn ang="0">
                <a:pos x="542" y="651"/>
              </a:cxn>
              <a:cxn ang="0">
                <a:pos x="250" y="605"/>
              </a:cxn>
              <a:cxn ang="0">
                <a:pos x="250" y="575"/>
              </a:cxn>
              <a:cxn ang="0">
                <a:pos x="810" y="574"/>
              </a:cxn>
              <a:cxn ang="0">
                <a:pos x="813" y="573"/>
              </a:cxn>
              <a:cxn ang="0">
                <a:pos x="813" y="604"/>
              </a:cxn>
              <a:cxn ang="0">
                <a:pos x="542" y="446"/>
              </a:cxn>
              <a:cxn ang="0">
                <a:pos x="250" y="403"/>
              </a:cxn>
              <a:cxn ang="0">
                <a:pos x="250" y="372"/>
              </a:cxn>
              <a:cxn ang="0">
                <a:pos x="253" y="373"/>
              </a:cxn>
              <a:cxn ang="0">
                <a:pos x="810" y="373"/>
              </a:cxn>
              <a:cxn ang="0">
                <a:pos x="813" y="373"/>
              </a:cxn>
              <a:cxn ang="0">
                <a:pos x="813" y="403"/>
              </a:cxn>
              <a:cxn ang="0">
                <a:pos x="542" y="446"/>
              </a:cxn>
            </a:cxnLst>
            <a:rect l="0" t="0" r="r" b="b"/>
            <a:pathLst>
              <a:path w="1071" h="832">
                <a:moveTo>
                  <a:pt x="1068" y="447"/>
                </a:moveTo>
                <a:cubicBezTo>
                  <a:pt x="1068" y="447"/>
                  <a:pt x="1069" y="447"/>
                  <a:pt x="1070" y="447"/>
                </a:cubicBezTo>
                <a:lnTo>
                  <a:pt x="1070" y="285"/>
                </a:lnTo>
                <a:cubicBezTo>
                  <a:pt x="982" y="314"/>
                  <a:pt x="893" y="325"/>
                  <a:pt x="813" y="325"/>
                </a:cubicBezTo>
                <a:lnTo>
                  <a:pt x="813" y="298"/>
                </a:lnTo>
                <a:cubicBezTo>
                  <a:pt x="891" y="298"/>
                  <a:pt x="979" y="287"/>
                  <a:pt x="1066" y="256"/>
                </a:cubicBezTo>
                <a:cubicBezTo>
                  <a:pt x="1067" y="256"/>
                  <a:pt x="1068" y="255"/>
                  <a:pt x="1069" y="255"/>
                </a:cubicBezTo>
                <a:lnTo>
                  <a:pt x="1069" y="76"/>
                </a:lnTo>
                <a:cubicBezTo>
                  <a:pt x="1069" y="1"/>
                  <a:pt x="811" y="0"/>
                  <a:pt x="800" y="0"/>
                </a:cubicBezTo>
                <a:cubicBezTo>
                  <a:pt x="790" y="0"/>
                  <a:pt x="566" y="1"/>
                  <a:pt x="535" y="62"/>
                </a:cubicBezTo>
                <a:cubicBezTo>
                  <a:pt x="504" y="1"/>
                  <a:pt x="280" y="0"/>
                  <a:pt x="269" y="0"/>
                </a:cubicBezTo>
                <a:cubicBezTo>
                  <a:pt x="258" y="0"/>
                  <a:pt x="0" y="1"/>
                  <a:pt x="0" y="76"/>
                </a:cubicBezTo>
                <a:lnTo>
                  <a:pt x="0" y="255"/>
                </a:lnTo>
                <a:cubicBezTo>
                  <a:pt x="2" y="255"/>
                  <a:pt x="2" y="255"/>
                  <a:pt x="3" y="256"/>
                </a:cubicBezTo>
                <a:cubicBezTo>
                  <a:pt x="10" y="259"/>
                  <a:pt x="112" y="292"/>
                  <a:pt x="250" y="297"/>
                </a:cubicBezTo>
                <a:lnTo>
                  <a:pt x="250" y="325"/>
                </a:lnTo>
                <a:cubicBezTo>
                  <a:pt x="130" y="321"/>
                  <a:pt x="35" y="296"/>
                  <a:pt x="1" y="285"/>
                </a:cubicBezTo>
                <a:lnTo>
                  <a:pt x="1" y="449"/>
                </a:lnTo>
                <a:cubicBezTo>
                  <a:pt x="29" y="459"/>
                  <a:pt x="126" y="488"/>
                  <a:pt x="250" y="492"/>
                </a:cubicBezTo>
                <a:lnTo>
                  <a:pt x="250" y="520"/>
                </a:lnTo>
                <a:cubicBezTo>
                  <a:pt x="135" y="517"/>
                  <a:pt x="43" y="492"/>
                  <a:pt x="0" y="477"/>
                </a:cubicBezTo>
                <a:lnTo>
                  <a:pt x="0" y="617"/>
                </a:lnTo>
                <a:cubicBezTo>
                  <a:pt x="0" y="681"/>
                  <a:pt x="187" y="691"/>
                  <a:pt x="250" y="692"/>
                </a:cubicBezTo>
                <a:lnTo>
                  <a:pt x="250" y="751"/>
                </a:lnTo>
                <a:cubicBezTo>
                  <a:pt x="250" y="830"/>
                  <a:pt x="520" y="831"/>
                  <a:pt x="532" y="831"/>
                </a:cubicBezTo>
                <a:cubicBezTo>
                  <a:pt x="543" y="831"/>
                  <a:pt x="813" y="830"/>
                  <a:pt x="813" y="751"/>
                </a:cubicBezTo>
                <a:lnTo>
                  <a:pt x="813" y="693"/>
                </a:lnTo>
                <a:cubicBezTo>
                  <a:pt x="867" y="692"/>
                  <a:pt x="1069" y="683"/>
                  <a:pt x="1069" y="617"/>
                </a:cubicBezTo>
                <a:lnTo>
                  <a:pt x="1069" y="477"/>
                </a:lnTo>
                <a:cubicBezTo>
                  <a:pt x="980" y="509"/>
                  <a:pt x="893" y="521"/>
                  <a:pt x="813" y="521"/>
                </a:cubicBezTo>
                <a:lnTo>
                  <a:pt x="813" y="493"/>
                </a:lnTo>
                <a:cubicBezTo>
                  <a:pt x="892" y="492"/>
                  <a:pt x="981" y="481"/>
                  <a:pt x="1068" y="447"/>
                </a:cubicBezTo>
                <a:close/>
                <a:moveTo>
                  <a:pt x="282" y="184"/>
                </a:moveTo>
                <a:cubicBezTo>
                  <a:pt x="282" y="159"/>
                  <a:pt x="393" y="139"/>
                  <a:pt x="531" y="139"/>
                </a:cubicBezTo>
                <a:cubicBezTo>
                  <a:pt x="668" y="139"/>
                  <a:pt x="780" y="158"/>
                  <a:pt x="780" y="184"/>
                </a:cubicBezTo>
                <a:cubicBezTo>
                  <a:pt x="780" y="209"/>
                  <a:pt x="668" y="230"/>
                  <a:pt x="531" y="230"/>
                </a:cubicBezTo>
                <a:cubicBezTo>
                  <a:pt x="393" y="230"/>
                  <a:pt x="282" y="210"/>
                  <a:pt x="282" y="184"/>
                </a:cubicBezTo>
                <a:close/>
                <a:moveTo>
                  <a:pt x="799" y="32"/>
                </a:moveTo>
                <a:cubicBezTo>
                  <a:pt x="931" y="32"/>
                  <a:pt x="1037" y="52"/>
                  <a:pt x="1037" y="76"/>
                </a:cubicBezTo>
                <a:cubicBezTo>
                  <a:pt x="1037" y="100"/>
                  <a:pt x="931" y="119"/>
                  <a:pt x="799" y="119"/>
                </a:cubicBezTo>
                <a:cubicBezTo>
                  <a:pt x="668" y="119"/>
                  <a:pt x="563" y="100"/>
                  <a:pt x="563" y="76"/>
                </a:cubicBezTo>
                <a:cubicBezTo>
                  <a:pt x="563" y="52"/>
                  <a:pt x="669" y="32"/>
                  <a:pt x="799" y="32"/>
                </a:cubicBezTo>
                <a:close/>
                <a:moveTo>
                  <a:pt x="31" y="76"/>
                </a:moveTo>
                <a:cubicBezTo>
                  <a:pt x="31" y="52"/>
                  <a:pt x="138" y="32"/>
                  <a:pt x="269" y="32"/>
                </a:cubicBezTo>
                <a:cubicBezTo>
                  <a:pt x="400" y="32"/>
                  <a:pt x="507" y="52"/>
                  <a:pt x="507" y="76"/>
                </a:cubicBezTo>
                <a:cubicBezTo>
                  <a:pt x="507" y="100"/>
                  <a:pt x="400" y="119"/>
                  <a:pt x="269" y="119"/>
                </a:cubicBezTo>
                <a:cubicBezTo>
                  <a:pt x="138" y="119"/>
                  <a:pt x="31" y="100"/>
                  <a:pt x="31" y="76"/>
                </a:cubicBezTo>
                <a:close/>
                <a:moveTo>
                  <a:pt x="813" y="604"/>
                </a:moveTo>
                <a:cubicBezTo>
                  <a:pt x="720" y="639"/>
                  <a:pt x="626" y="651"/>
                  <a:pt x="542" y="651"/>
                </a:cubicBezTo>
                <a:cubicBezTo>
                  <a:pt x="408" y="651"/>
                  <a:pt x="298" y="622"/>
                  <a:pt x="250" y="605"/>
                </a:cubicBezTo>
                <a:lnTo>
                  <a:pt x="250" y="575"/>
                </a:lnTo>
                <a:cubicBezTo>
                  <a:pt x="300" y="593"/>
                  <a:pt x="561" y="671"/>
                  <a:pt x="810" y="574"/>
                </a:cubicBezTo>
                <a:cubicBezTo>
                  <a:pt x="811" y="574"/>
                  <a:pt x="812" y="574"/>
                  <a:pt x="813" y="573"/>
                </a:cubicBezTo>
                <a:lnTo>
                  <a:pt x="813" y="604"/>
                </a:lnTo>
                <a:close/>
                <a:moveTo>
                  <a:pt x="542" y="446"/>
                </a:moveTo>
                <a:cubicBezTo>
                  <a:pt x="402" y="446"/>
                  <a:pt x="289" y="416"/>
                  <a:pt x="250" y="403"/>
                </a:cubicBezTo>
                <a:lnTo>
                  <a:pt x="250" y="372"/>
                </a:lnTo>
                <a:cubicBezTo>
                  <a:pt x="251" y="372"/>
                  <a:pt x="252" y="373"/>
                  <a:pt x="253" y="373"/>
                </a:cubicBezTo>
                <a:cubicBezTo>
                  <a:pt x="265" y="378"/>
                  <a:pt x="539" y="469"/>
                  <a:pt x="810" y="373"/>
                </a:cubicBezTo>
                <a:cubicBezTo>
                  <a:pt x="810" y="373"/>
                  <a:pt x="812" y="373"/>
                  <a:pt x="813" y="373"/>
                </a:cubicBezTo>
                <a:lnTo>
                  <a:pt x="813" y="403"/>
                </a:lnTo>
                <a:cubicBezTo>
                  <a:pt x="720" y="434"/>
                  <a:pt x="626" y="446"/>
                  <a:pt x="542" y="446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bevel/>
            <a:headEnd/>
            <a:tailEnd/>
          </a:ln>
          <a:effectLst/>
        </p:spPr>
        <p:txBody>
          <a:bodyPr wrap="none" anchor="ctr">
            <a:prstTxWarp prst="textNoShape">
              <a:avLst/>
            </a:prstTxWarp>
          </a:bodyPr>
          <a:lstStyle>
            <a:defPPr>
              <a:defRPr lang="en-GB"/>
            </a:defPPr>
            <a:lvl1pPr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1pPr>
            <a:lvl2pPr marL="742950" indent="-28575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2pPr>
            <a:lvl3pPr marL="1143000" indent="-22860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3pPr>
            <a:lvl4pPr marL="1600200" indent="-22860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4pPr>
            <a:lvl5pPr marL="2057400" indent="-22860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9pPr>
          </a:lstStyle>
          <a:p>
            <a:endParaRPr lang="en-US" sz="1350">
              <a:solidFill>
                <a:srgbClr val="676767"/>
              </a:solidFill>
            </a:endParaRPr>
          </a:p>
        </p:txBody>
      </p:sp>
      <p:sp>
        <p:nvSpPr>
          <p:cNvPr id="2566" name="Oval 2565"/>
          <p:cNvSpPr/>
          <p:nvPr/>
        </p:nvSpPr>
        <p:spPr>
          <a:xfrm>
            <a:off x="7127708" y="2382252"/>
            <a:ext cx="353245" cy="355266"/>
          </a:xfrm>
          <a:prstGeom prst="ellipse">
            <a:avLst/>
          </a:prstGeom>
          <a:gradFill flip="none" rotWithShape="1">
            <a:gsLst>
              <a:gs pos="1000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</a:gsLst>
            <a:lin ang="5400000" scaled="0"/>
            <a:tileRect/>
          </a:gra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676767"/>
              </a:solidFill>
              <a:cs typeface="Arial"/>
            </a:endParaRPr>
          </a:p>
        </p:txBody>
      </p:sp>
      <p:sp>
        <p:nvSpPr>
          <p:cNvPr id="2567" name="Oval 2566"/>
          <p:cNvSpPr/>
          <p:nvPr/>
        </p:nvSpPr>
        <p:spPr>
          <a:xfrm>
            <a:off x="7146541" y="2400846"/>
            <a:ext cx="315451" cy="317255"/>
          </a:xfrm>
          <a:prstGeom prst="ellipse">
            <a:avLst/>
          </a:prstGeom>
          <a:gradFill>
            <a:gsLst>
              <a:gs pos="0">
                <a:srgbClr val="00BCFF"/>
              </a:gs>
              <a:gs pos="100000">
                <a:schemeClr val="accent1"/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t" anchorCtr="0" compatLnSpc="1">
            <a:prstTxWarp prst="textNoShape">
              <a:avLst/>
            </a:prstTxWarp>
          </a:bodyPr>
          <a:lstStyle/>
          <a:p>
            <a:pPr defTabSz="514350"/>
            <a:endParaRPr lang="en-US" sz="1400" dirty="0">
              <a:solidFill>
                <a:srgbClr val="FFFFFF"/>
              </a:solidFill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2568" name="Freeform 2567"/>
          <p:cNvSpPr>
            <a:spLocks noChangeArrowheads="1"/>
          </p:cNvSpPr>
          <p:nvPr/>
        </p:nvSpPr>
        <p:spPr bwMode="auto">
          <a:xfrm>
            <a:off x="7205747" y="2490434"/>
            <a:ext cx="194275" cy="151103"/>
          </a:xfrm>
          <a:custGeom>
            <a:avLst/>
            <a:gdLst/>
            <a:ahLst/>
            <a:cxnLst>
              <a:cxn ang="0">
                <a:pos x="1068" y="447"/>
              </a:cxn>
              <a:cxn ang="0">
                <a:pos x="1070" y="447"/>
              </a:cxn>
              <a:cxn ang="0">
                <a:pos x="1070" y="285"/>
              </a:cxn>
              <a:cxn ang="0">
                <a:pos x="813" y="325"/>
              </a:cxn>
              <a:cxn ang="0">
                <a:pos x="813" y="298"/>
              </a:cxn>
              <a:cxn ang="0">
                <a:pos x="1066" y="256"/>
              </a:cxn>
              <a:cxn ang="0">
                <a:pos x="1069" y="255"/>
              </a:cxn>
              <a:cxn ang="0">
                <a:pos x="1069" y="76"/>
              </a:cxn>
              <a:cxn ang="0">
                <a:pos x="800" y="0"/>
              </a:cxn>
              <a:cxn ang="0">
                <a:pos x="535" y="62"/>
              </a:cxn>
              <a:cxn ang="0">
                <a:pos x="269" y="0"/>
              </a:cxn>
              <a:cxn ang="0">
                <a:pos x="0" y="76"/>
              </a:cxn>
              <a:cxn ang="0">
                <a:pos x="0" y="255"/>
              </a:cxn>
              <a:cxn ang="0">
                <a:pos x="3" y="256"/>
              </a:cxn>
              <a:cxn ang="0">
                <a:pos x="250" y="297"/>
              </a:cxn>
              <a:cxn ang="0">
                <a:pos x="250" y="325"/>
              </a:cxn>
              <a:cxn ang="0">
                <a:pos x="1" y="285"/>
              </a:cxn>
              <a:cxn ang="0">
                <a:pos x="1" y="449"/>
              </a:cxn>
              <a:cxn ang="0">
                <a:pos x="250" y="492"/>
              </a:cxn>
              <a:cxn ang="0">
                <a:pos x="250" y="520"/>
              </a:cxn>
              <a:cxn ang="0">
                <a:pos x="0" y="477"/>
              </a:cxn>
              <a:cxn ang="0">
                <a:pos x="0" y="617"/>
              </a:cxn>
              <a:cxn ang="0">
                <a:pos x="250" y="692"/>
              </a:cxn>
              <a:cxn ang="0">
                <a:pos x="250" y="751"/>
              </a:cxn>
              <a:cxn ang="0">
                <a:pos x="532" y="831"/>
              </a:cxn>
              <a:cxn ang="0">
                <a:pos x="813" y="751"/>
              </a:cxn>
              <a:cxn ang="0">
                <a:pos x="813" y="693"/>
              </a:cxn>
              <a:cxn ang="0">
                <a:pos x="1069" y="617"/>
              </a:cxn>
              <a:cxn ang="0">
                <a:pos x="1069" y="477"/>
              </a:cxn>
              <a:cxn ang="0">
                <a:pos x="813" y="521"/>
              </a:cxn>
              <a:cxn ang="0">
                <a:pos x="813" y="493"/>
              </a:cxn>
              <a:cxn ang="0">
                <a:pos x="1068" y="447"/>
              </a:cxn>
              <a:cxn ang="0">
                <a:pos x="282" y="184"/>
              </a:cxn>
              <a:cxn ang="0">
                <a:pos x="531" y="139"/>
              </a:cxn>
              <a:cxn ang="0">
                <a:pos x="780" y="184"/>
              </a:cxn>
              <a:cxn ang="0">
                <a:pos x="531" y="230"/>
              </a:cxn>
              <a:cxn ang="0">
                <a:pos x="282" y="184"/>
              </a:cxn>
              <a:cxn ang="0">
                <a:pos x="799" y="32"/>
              </a:cxn>
              <a:cxn ang="0">
                <a:pos x="1037" y="76"/>
              </a:cxn>
              <a:cxn ang="0">
                <a:pos x="799" y="119"/>
              </a:cxn>
              <a:cxn ang="0">
                <a:pos x="563" y="76"/>
              </a:cxn>
              <a:cxn ang="0">
                <a:pos x="799" y="32"/>
              </a:cxn>
              <a:cxn ang="0">
                <a:pos x="31" y="76"/>
              </a:cxn>
              <a:cxn ang="0">
                <a:pos x="269" y="32"/>
              </a:cxn>
              <a:cxn ang="0">
                <a:pos x="507" y="76"/>
              </a:cxn>
              <a:cxn ang="0">
                <a:pos x="269" y="119"/>
              </a:cxn>
              <a:cxn ang="0">
                <a:pos x="31" y="76"/>
              </a:cxn>
              <a:cxn ang="0">
                <a:pos x="813" y="604"/>
              </a:cxn>
              <a:cxn ang="0">
                <a:pos x="542" y="651"/>
              </a:cxn>
              <a:cxn ang="0">
                <a:pos x="250" y="605"/>
              </a:cxn>
              <a:cxn ang="0">
                <a:pos x="250" y="575"/>
              </a:cxn>
              <a:cxn ang="0">
                <a:pos x="810" y="574"/>
              </a:cxn>
              <a:cxn ang="0">
                <a:pos x="813" y="573"/>
              </a:cxn>
              <a:cxn ang="0">
                <a:pos x="813" y="604"/>
              </a:cxn>
              <a:cxn ang="0">
                <a:pos x="542" y="446"/>
              </a:cxn>
              <a:cxn ang="0">
                <a:pos x="250" y="403"/>
              </a:cxn>
              <a:cxn ang="0">
                <a:pos x="250" y="372"/>
              </a:cxn>
              <a:cxn ang="0">
                <a:pos x="253" y="373"/>
              </a:cxn>
              <a:cxn ang="0">
                <a:pos x="810" y="373"/>
              </a:cxn>
              <a:cxn ang="0">
                <a:pos x="813" y="373"/>
              </a:cxn>
              <a:cxn ang="0">
                <a:pos x="813" y="403"/>
              </a:cxn>
              <a:cxn ang="0">
                <a:pos x="542" y="446"/>
              </a:cxn>
            </a:cxnLst>
            <a:rect l="0" t="0" r="r" b="b"/>
            <a:pathLst>
              <a:path w="1071" h="832">
                <a:moveTo>
                  <a:pt x="1068" y="447"/>
                </a:moveTo>
                <a:cubicBezTo>
                  <a:pt x="1068" y="447"/>
                  <a:pt x="1069" y="447"/>
                  <a:pt x="1070" y="447"/>
                </a:cubicBezTo>
                <a:lnTo>
                  <a:pt x="1070" y="285"/>
                </a:lnTo>
                <a:cubicBezTo>
                  <a:pt x="982" y="314"/>
                  <a:pt x="893" y="325"/>
                  <a:pt x="813" y="325"/>
                </a:cubicBezTo>
                <a:lnTo>
                  <a:pt x="813" y="298"/>
                </a:lnTo>
                <a:cubicBezTo>
                  <a:pt x="891" y="298"/>
                  <a:pt x="979" y="287"/>
                  <a:pt x="1066" y="256"/>
                </a:cubicBezTo>
                <a:cubicBezTo>
                  <a:pt x="1067" y="256"/>
                  <a:pt x="1068" y="255"/>
                  <a:pt x="1069" y="255"/>
                </a:cubicBezTo>
                <a:lnTo>
                  <a:pt x="1069" y="76"/>
                </a:lnTo>
                <a:cubicBezTo>
                  <a:pt x="1069" y="1"/>
                  <a:pt x="811" y="0"/>
                  <a:pt x="800" y="0"/>
                </a:cubicBezTo>
                <a:cubicBezTo>
                  <a:pt x="790" y="0"/>
                  <a:pt x="566" y="1"/>
                  <a:pt x="535" y="62"/>
                </a:cubicBezTo>
                <a:cubicBezTo>
                  <a:pt x="504" y="1"/>
                  <a:pt x="280" y="0"/>
                  <a:pt x="269" y="0"/>
                </a:cubicBezTo>
                <a:cubicBezTo>
                  <a:pt x="258" y="0"/>
                  <a:pt x="0" y="1"/>
                  <a:pt x="0" y="76"/>
                </a:cubicBezTo>
                <a:lnTo>
                  <a:pt x="0" y="255"/>
                </a:lnTo>
                <a:cubicBezTo>
                  <a:pt x="2" y="255"/>
                  <a:pt x="2" y="255"/>
                  <a:pt x="3" y="256"/>
                </a:cubicBezTo>
                <a:cubicBezTo>
                  <a:pt x="10" y="259"/>
                  <a:pt x="112" y="292"/>
                  <a:pt x="250" y="297"/>
                </a:cubicBezTo>
                <a:lnTo>
                  <a:pt x="250" y="325"/>
                </a:lnTo>
                <a:cubicBezTo>
                  <a:pt x="130" y="321"/>
                  <a:pt x="35" y="296"/>
                  <a:pt x="1" y="285"/>
                </a:cubicBezTo>
                <a:lnTo>
                  <a:pt x="1" y="449"/>
                </a:lnTo>
                <a:cubicBezTo>
                  <a:pt x="29" y="459"/>
                  <a:pt x="126" y="488"/>
                  <a:pt x="250" y="492"/>
                </a:cubicBezTo>
                <a:lnTo>
                  <a:pt x="250" y="520"/>
                </a:lnTo>
                <a:cubicBezTo>
                  <a:pt x="135" y="517"/>
                  <a:pt x="43" y="492"/>
                  <a:pt x="0" y="477"/>
                </a:cubicBezTo>
                <a:lnTo>
                  <a:pt x="0" y="617"/>
                </a:lnTo>
                <a:cubicBezTo>
                  <a:pt x="0" y="681"/>
                  <a:pt x="187" y="691"/>
                  <a:pt x="250" y="692"/>
                </a:cubicBezTo>
                <a:lnTo>
                  <a:pt x="250" y="751"/>
                </a:lnTo>
                <a:cubicBezTo>
                  <a:pt x="250" y="830"/>
                  <a:pt x="520" y="831"/>
                  <a:pt x="532" y="831"/>
                </a:cubicBezTo>
                <a:cubicBezTo>
                  <a:pt x="543" y="831"/>
                  <a:pt x="813" y="830"/>
                  <a:pt x="813" y="751"/>
                </a:cubicBezTo>
                <a:lnTo>
                  <a:pt x="813" y="693"/>
                </a:lnTo>
                <a:cubicBezTo>
                  <a:pt x="867" y="692"/>
                  <a:pt x="1069" y="683"/>
                  <a:pt x="1069" y="617"/>
                </a:cubicBezTo>
                <a:lnTo>
                  <a:pt x="1069" y="477"/>
                </a:lnTo>
                <a:cubicBezTo>
                  <a:pt x="980" y="509"/>
                  <a:pt x="893" y="521"/>
                  <a:pt x="813" y="521"/>
                </a:cubicBezTo>
                <a:lnTo>
                  <a:pt x="813" y="493"/>
                </a:lnTo>
                <a:cubicBezTo>
                  <a:pt x="892" y="492"/>
                  <a:pt x="981" y="481"/>
                  <a:pt x="1068" y="447"/>
                </a:cubicBezTo>
                <a:close/>
                <a:moveTo>
                  <a:pt x="282" y="184"/>
                </a:moveTo>
                <a:cubicBezTo>
                  <a:pt x="282" y="159"/>
                  <a:pt x="393" y="139"/>
                  <a:pt x="531" y="139"/>
                </a:cubicBezTo>
                <a:cubicBezTo>
                  <a:pt x="668" y="139"/>
                  <a:pt x="780" y="158"/>
                  <a:pt x="780" y="184"/>
                </a:cubicBezTo>
                <a:cubicBezTo>
                  <a:pt x="780" y="209"/>
                  <a:pt x="668" y="230"/>
                  <a:pt x="531" y="230"/>
                </a:cubicBezTo>
                <a:cubicBezTo>
                  <a:pt x="393" y="230"/>
                  <a:pt x="282" y="210"/>
                  <a:pt x="282" y="184"/>
                </a:cubicBezTo>
                <a:close/>
                <a:moveTo>
                  <a:pt x="799" y="32"/>
                </a:moveTo>
                <a:cubicBezTo>
                  <a:pt x="931" y="32"/>
                  <a:pt x="1037" y="52"/>
                  <a:pt x="1037" y="76"/>
                </a:cubicBezTo>
                <a:cubicBezTo>
                  <a:pt x="1037" y="100"/>
                  <a:pt x="931" y="119"/>
                  <a:pt x="799" y="119"/>
                </a:cubicBezTo>
                <a:cubicBezTo>
                  <a:pt x="668" y="119"/>
                  <a:pt x="563" y="100"/>
                  <a:pt x="563" y="76"/>
                </a:cubicBezTo>
                <a:cubicBezTo>
                  <a:pt x="563" y="52"/>
                  <a:pt x="669" y="32"/>
                  <a:pt x="799" y="32"/>
                </a:cubicBezTo>
                <a:close/>
                <a:moveTo>
                  <a:pt x="31" y="76"/>
                </a:moveTo>
                <a:cubicBezTo>
                  <a:pt x="31" y="52"/>
                  <a:pt x="138" y="32"/>
                  <a:pt x="269" y="32"/>
                </a:cubicBezTo>
                <a:cubicBezTo>
                  <a:pt x="400" y="32"/>
                  <a:pt x="507" y="52"/>
                  <a:pt x="507" y="76"/>
                </a:cubicBezTo>
                <a:cubicBezTo>
                  <a:pt x="507" y="100"/>
                  <a:pt x="400" y="119"/>
                  <a:pt x="269" y="119"/>
                </a:cubicBezTo>
                <a:cubicBezTo>
                  <a:pt x="138" y="119"/>
                  <a:pt x="31" y="100"/>
                  <a:pt x="31" y="76"/>
                </a:cubicBezTo>
                <a:close/>
                <a:moveTo>
                  <a:pt x="813" y="604"/>
                </a:moveTo>
                <a:cubicBezTo>
                  <a:pt x="720" y="639"/>
                  <a:pt x="626" y="651"/>
                  <a:pt x="542" y="651"/>
                </a:cubicBezTo>
                <a:cubicBezTo>
                  <a:pt x="408" y="651"/>
                  <a:pt x="298" y="622"/>
                  <a:pt x="250" y="605"/>
                </a:cubicBezTo>
                <a:lnTo>
                  <a:pt x="250" y="575"/>
                </a:lnTo>
                <a:cubicBezTo>
                  <a:pt x="300" y="593"/>
                  <a:pt x="561" y="671"/>
                  <a:pt x="810" y="574"/>
                </a:cubicBezTo>
                <a:cubicBezTo>
                  <a:pt x="811" y="574"/>
                  <a:pt x="812" y="574"/>
                  <a:pt x="813" y="573"/>
                </a:cubicBezTo>
                <a:lnTo>
                  <a:pt x="813" y="604"/>
                </a:lnTo>
                <a:close/>
                <a:moveTo>
                  <a:pt x="542" y="446"/>
                </a:moveTo>
                <a:cubicBezTo>
                  <a:pt x="402" y="446"/>
                  <a:pt x="289" y="416"/>
                  <a:pt x="250" y="403"/>
                </a:cubicBezTo>
                <a:lnTo>
                  <a:pt x="250" y="372"/>
                </a:lnTo>
                <a:cubicBezTo>
                  <a:pt x="251" y="372"/>
                  <a:pt x="252" y="373"/>
                  <a:pt x="253" y="373"/>
                </a:cubicBezTo>
                <a:cubicBezTo>
                  <a:pt x="265" y="378"/>
                  <a:pt x="539" y="469"/>
                  <a:pt x="810" y="373"/>
                </a:cubicBezTo>
                <a:cubicBezTo>
                  <a:pt x="810" y="373"/>
                  <a:pt x="812" y="373"/>
                  <a:pt x="813" y="373"/>
                </a:cubicBezTo>
                <a:lnTo>
                  <a:pt x="813" y="403"/>
                </a:lnTo>
                <a:cubicBezTo>
                  <a:pt x="720" y="434"/>
                  <a:pt x="626" y="446"/>
                  <a:pt x="542" y="446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bevel/>
            <a:headEnd/>
            <a:tailEnd/>
          </a:ln>
          <a:effectLst/>
        </p:spPr>
        <p:txBody>
          <a:bodyPr wrap="none" anchor="ctr">
            <a:prstTxWarp prst="textNoShape">
              <a:avLst/>
            </a:prstTxWarp>
          </a:bodyPr>
          <a:lstStyle>
            <a:defPPr>
              <a:defRPr lang="en-GB"/>
            </a:defPPr>
            <a:lvl1pPr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1pPr>
            <a:lvl2pPr marL="742950" indent="-28575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2pPr>
            <a:lvl3pPr marL="1143000" indent="-22860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3pPr>
            <a:lvl4pPr marL="1600200" indent="-22860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4pPr>
            <a:lvl5pPr marL="2057400" indent="-22860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9pPr>
          </a:lstStyle>
          <a:p>
            <a:endParaRPr lang="en-US" sz="1350">
              <a:solidFill>
                <a:srgbClr val="676767"/>
              </a:solidFill>
            </a:endParaRPr>
          </a:p>
        </p:txBody>
      </p:sp>
      <p:sp>
        <p:nvSpPr>
          <p:cNvPr id="2570" name="Oval 2569"/>
          <p:cNvSpPr/>
          <p:nvPr/>
        </p:nvSpPr>
        <p:spPr>
          <a:xfrm>
            <a:off x="7056687" y="1224648"/>
            <a:ext cx="353245" cy="355266"/>
          </a:xfrm>
          <a:prstGeom prst="ellipse">
            <a:avLst/>
          </a:prstGeom>
          <a:gradFill flip="none" rotWithShape="1">
            <a:gsLst>
              <a:gs pos="1000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</a:gsLst>
            <a:lin ang="5400000" scaled="0"/>
            <a:tileRect/>
          </a:gra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676767"/>
              </a:solidFill>
              <a:cs typeface="Arial"/>
            </a:endParaRPr>
          </a:p>
        </p:txBody>
      </p:sp>
      <p:sp>
        <p:nvSpPr>
          <p:cNvPr id="2571" name="Oval 2570"/>
          <p:cNvSpPr/>
          <p:nvPr/>
        </p:nvSpPr>
        <p:spPr>
          <a:xfrm>
            <a:off x="7075520" y="1243242"/>
            <a:ext cx="315451" cy="317255"/>
          </a:xfrm>
          <a:prstGeom prst="ellipse">
            <a:avLst/>
          </a:prstGeom>
          <a:gradFill>
            <a:gsLst>
              <a:gs pos="0">
                <a:srgbClr val="00BCFF"/>
              </a:gs>
              <a:gs pos="100000">
                <a:schemeClr val="accent1"/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t" anchorCtr="0" compatLnSpc="1">
            <a:prstTxWarp prst="textNoShape">
              <a:avLst/>
            </a:prstTxWarp>
          </a:bodyPr>
          <a:lstStyle/>
          <a:p>
            <a:pPr defTabSz="514350"/>
            <a:endParaRPr lang="en-US" sz="1400" dirty="0">
              <a:solidFill>
                <a:srgbClr val="FFFFFF"/>
              </a:solidFill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2572" name="Freeform 2571"/>
          <p:cNvSpPr>
            <a:spLocks noChangeArrowheads="1"/>
          </p:cNvSpPr>
          <p:nvPr/>
        </p:nvSpPr>
        <p:spPr bwMode="auto">
          <a:xfrm>
            <a:off x="7134726" y="1332830"/>
            <a:ext cx="194275" cy="151103"/>
          </a:xfrm>
          <a:custGeom>
            <a:avLst/>
            <a:gdLst/>
            <a:ahLst/>
            <a:cxnLst>
              <a:cxn ang="0">
                <a:pos x="1068" y="447"/>
              </a:cxn>
              <a:cxn ang="0">
                <a:pos x="1070" y="447"/>
              </a:cxn>
              <a:cxn ang="0">
                <a:pos x="1070" y="285"/>
              </a:cxn>
              <a:cxn ang="0">
                <a:pos x="813" y="325"/>
              </a:cxn>
              <a:cxn ang="0">
                <a:pos x="813" y="298"/>
              </a:cxn>
              <a:cxn ang="0">
                <a:pos x="1066" y="256"/>
              </a:cxn>
              <a:cxn ang="0">
                <a:pos x="1069" y="255"/>
              </a:cxn>
              <a:cxn ang="0">
                <a:pos x="1069" y="76"/>
              </a:cxn>
              <a:cxn ang="0">
                <a:pos x="800" y="0"/>
              </a:cxn>
              <a:cxn ang="0">
                <a:pos x="535" y="62"/>
              </a:cxn>
              <a:cxn ang="0">
                <a:pos x="269" y="0"/>
              </a:cxn>
              <a:cxn ang="0">
                <a:pos x="0" y="76"/>
              </a:cxn>
              <a:cxn ang="0">
                <a:pos x="0" y="255"/>
              </a:cxn>
              <a:cxn ang="0">
                <a:pos x="3" y="256"/>
              </a:cxn>
              <a:cxn ang="0">
                <a:pos x="250" y="297"/>
              </a:cxn>
              <a:cxn ang="0">
                <a:pos x="250" y="325"/>
              </a:cxn>
              <a:cxn ang="0">
                <a:pos x="1" y="285"/>
              </a:cxn>
              <a:cxn ang="0">
                <a:pos x="1" y="449"/>
              </a:cxn>
              <a:cxn ang="0">
                <a:pos x="250" y="492"/>
              </a:cxn>
              <a:cxn ang="0">
                <a:pos x="250" y="520"/>
              </a:cxn>
              <a:cxn ang="0">
                <a:pos x="0" y="477"/>
              </a:cxn>
              <a:cxn ang="0">
                <a:pos x="0" y="617"/>
              </a:cxn>
              <a:cxn ang="0">
                <a:pos x="250" y="692"/>
              </a:cxn>
              <a:cxn ang="0">
                <a:pos x="250" y="751"/>
              </a:cxn>
              <a:cxn ang="0">
                <a:pos x="532" y="831"/>
              </a:cxn>
              <a:cxn ang="0">
                <a:pos x="813" y="751"/>
              </a:cxn>
              <a:cxn ang="0">
                <a:pos x="813" y="693"/>
              </a:cxn>
              <a:cxn ang="0">
                <a:pos x="1069" y="617"/>
              </a:cxn>
              <a:cxn ang="0">
                <a:pos x="1069" y="477"/>
              </a:cxn>
              <a:cxn ang="0">
                <a:pos x="813" y="521"/>
              </a:cxn>
              <a:cxn ang="0">
                <a:pos x="813" y="493"/>
              </a:cxn>
              <a:cxn ang="0">
                <a:pos x="1068" y="447"/>
              </a:cxn>
              <a:cxn ang="0">
                <a:pos x="282" y="184"/>
              </a:cxn>
              <a:cxn ang="0">
                <a:pos x="531" y="139"/>
              </a:cxn>
              <a:cxn ang="0">
                <a:pos x="780" y="184"/>
              </a:cxn>
              <a:cxn ang="0">
                <a:pos x="531" y="230"/>
              </a:cxn>
              <a:cxn ang="0">
                <a:pos x="282" y="184"/>
              </a:cxn>
              <a:cxn ang="0">
                <a:pos x="799" y="32"/>
              </a:cxn>
              <a:cxn ang="0">
                <a:pos x="1037" y="76"/>
              </a:cxn>
              <a:cxn ang="0">
                <a:pos x="799" y="119"/>
              </a:cxn>
              <a:cxn ang="0">
                <a:pos x="563" y="76"/>
              </a:cxn>
              <a:cxn ang="0">
                <a:pos x="799" y="32"/>
              </a:cxn>
              <a:cxn ang="0">
                <a:pos x="31" y="76"/>
              </a:cxn>
              <a:cxn ang="0">
                <a:pos x="269" y="32"/>
              </a:cxn>
              <a:cxn ang="0">
                <a:pos x="507" y="76"/>
              </a:cxn>
              <a:cxn ang="0">
                <a:pos x="269" y="119"/>
              </a:cxn>
              <a:cxn ang="0">
                <a:pos x="31" y="76"/>
              </a:cxn>
              <a:cxn ang="0">
                <a:pos x="813" y="604"/>
              </a:cxn>
              <a:cxn ang="0">
                <a:pos x="542" y="651"/>
              </a:cxn>
              <a:cxn ang="0">
                <a:pos x="250" y="605"/>
              </a:cxn>
              <a:cxn ang="0">
                <a:pos x="250" y="575"/>
              </a:cxn>
              <a:cxn ang="0">
                <a:pos x="810" y="574"/>
              </a:cxn>
              <a:cxn ang="0">
                <a:pos x="813" y="573"/>
              </a:cxn>
              <a:cxn ang="0">
                <a:pos x="813" y="604"/>
              </a:cxn>
              <a:cxn ang="0">
                <a:pos x="542" y="446"/>
              </a:cxn>
              <a:cxn ang="0">
                <a:pos x="250" y="403"/>
              </a:cxn>
              <a:cxn ang="0">
                <a:pos x="250" y="372"/>
              </a:cxn>
              <a:cxn ang="0">
                <a:pos x="253" y="373"/>
              </a:cxn>
              <a:cxn ang="0">
                <a:pos x="810" y="373"/>
              </a:cxn>
              <a:cxn ang="0">
                <a:pos x="813" y="373"/>
              </a:cxn>
              <a:cxn ang="0">
                <a:pos x="813" y="403"/>
              </a:cxn>
              <a:cxn ang="0">
                <a:pos x="542" y="446"/>
              </a:cxn>
            </a:cxnLst>
            <a:rect l="0" t="0" r="r" b="b"/>
            <a:pathLst>
              <a:path w="1071" h="832">
                <a:moveTo>
                  <a:pt x="1068" y="447"/>
                </a:moveTo>
                <a:cubicBezTo>
                  <a:pt x="1068" y="447"/>
                  <a:pt x="1069" y="447"/>
                  <a:pt x="1070" y="447"/>
                </a:cubicBezTo>
                <a:lnTo>
                  <a:pt x="1070" y="285"/>
                </a:lnTo>
                <a:cubicBezTo>
                  <a:pt x="982" y="314"/>
                  <a:pt x="893" y="325"/>
                  <a:pt x="813" y="325"/>
                </a:cubicBezTo>
                <a:lnTo>
                  <a:pt x="813" y="298"/>
                </a:lnTo>
                <a:cubicBezTo>
                  <a:pt x="891" y="298"/>
                  <a:pt x="979" y="287"/>
                  <a:pt x="1066" y="256"/>
                </a:cubicBezTo>
                <a:cubicBezTo>
                  <a:pt x="1067" y="256"/>
                  <a:pt x="1068" y="255"/>
                  <a:pt x="1069" y="255"/>
                </a:cubicBezTo>
                <a:lnTo>
                  <a:pt x="1069" y="76"/>
                </a:lnTo>
                <a:cubicBezTo>
                  <a:pt x="1069" y="1"/>
                  <a:pt x="811" y="0"/>
                  <a:pt x="800" y="0"/>
                </a:cubicBezTo>
                <a:cubicBezTo>
                  <a:pt x="790" y="0"/>
                  <a:pt x="566" y="1"/>
                  <a:pt x="535" y="62"/>
                </a:cubicBezTo>
                <a:cubicBezTo>
                  <a:pt x="504" y="1"/>
                  <a:pt x="280" y="0"/>
                  <a:pt x="269" y="0"/>
                </a:cubicBezTo>
                <a:cubicBezTo>
                  <a:pt x="258" y="0"/>
                  <a:pt x="0" y="1"/>
                  <a:pt x="0" y="76"/>
                </a:cubicBezTo>
                <a:lnTo>
                  <a:pt x="0" y="255"/>
                </a:lnTo>
                <a:cubicBezTo>
                  <a:pt x="2" y="255"/>
                  <a:pt x="2" y="255"/>
                  <a:pt x="3" y="256"/>
                </a:cubicBezTo>
                <a:cubicBezTo>
                  <a:pt x="10" y="259"/>
                  <a:pt x="112" y="292"/>
                  <a:pt x="250" y="297"/>
                </a:cubicBezTo>
                <a:lnTo>
                  <a:pt x="250" y="325"/>
                </a:lnTo>
                <a:cubicBezTo>
                  <a:pt x="130" y="321"/>
                  <a:pt x="35" y="296"/>
                  <a:pt x="1" y="285"/>
                </a:cubicBezTo>
                <a:lnTo>
                  <a:pt x="1" y="449"/>
                </a:lnTo>
                <a:cubicBezTo>
                  <a:pt x="29" y="459"/>
                  <a:pt x="126" y="488"/>
                  <a:pt x="250" y="492"/>
                </a:cubicBezTo>
                <a:lnTo>
                  <a:pt x="250" y="520"/>
                </a:lnTo>
                <a:cubicBezTo>
                  <a:pt x="135" y="517"/>
                  <a:pt x="43" y="492"/>
                  <a:pt x="0" y="477"/>
                </a:cubicBezTo>
                <a:lnTo>
                  <a:pt x="0" y="617"/>
                </a:lnTo>
                <a:cubicBezTo>
                  <a:pt x="0" y="681"/>
                  <a:pt x="187" y="691"/>
                  <a:pt x="250" y="692"/>
                </a:cubicBezTo>
                <a:lnTo>
                  <a:pt x="250" y="751"/>
                </a:lnTo>
                <a:cubicBezTo>
                  <a:pt x="250" y="830"/>
                  <a:pt x="520" y="831"/>
                  <a:pt x="532" y="831"/>
                </a:cubicBezTo>
                <a:cubicBezTo>
                  <a:pt x="543" y="831"/>
                  <a:pt x="813" y="830"/>
                  <a:pt x="813" y="751"/>
                </a:cubicBezTo>
                <a:lnTo>
                  <a:pt x="813" y="693"/>
                </a:lnTo>
                <a:cubicBezTo>
                  <a:pt x="867" y="692"/>
                  <a:pt x="1069" y="683"/>
                  <a:pt x="1069" y="617"/>
                </a:cubicBezTo>
                <a:lnTo>
                  <a:pt x="1069" y="477"/>
                </a:lnTo>
                <a:cubicBezTo>
                  <a:pt x="980" y="509"/>
                  <a:pt x="893" y="521"/>
                  <a:pt x="813" y="521"/>
                </a:cubicBezTo>
                <a:lnTo>
                  <a:pt x="813" y="493"/>
                </a:lnTo>
                <a:cubicBezTo>
                  <a:pt x="892" y="492"/>
                  <a:pt x="981" y="481"/>
                  <a:pt x="1068" y="447"/>
                </a:cubicBezTo>
                <a:close/>
                <a:moveTo>
                  <a:pt x="282" y="184"/>
                </a:moveTo>
                <a:cubicBezTo>
                  <a:pt x="282" y="159"/>
                  <a:pt x="393" y="139"/>
                  <a:pt x="531" y="139"/>
                </a:cubicBezTo>
                <a:cubicBezTo>
                  <a:pt x="668" y="139"/>
                  <a:pt x="780" y="158"/>
                  <a:pt x="780" y="184"/>
                </a:cubicBezTo>
                <a:cubicBezTo>
                  <a:pt x="780" y="209"/>
                  <a:pt x="668" y="230"/>
                  <a:pt x="531" y="230"/>
                </a:cubicBezTo>
                <a:cubicBezTo>
                  <a:pt x="393" y="230"/>
                  <a:pt x="282" y="210"/>
                  <a:pt x="282" y="184"/>
                </a:cubicBezTo>
                <a:close/>
                <a:moveTo>
                  <a:pt x="799" y="32"/>
                </a:moveTo>
                <a:cubicBezTo>
                  <a:pt x="931" y="32"/>
                  <a:pt x="1037" y="52"/>
                  <a:pt x="1037" y="76"/>
                </a:cubicBezTo>
                <a:cubicBezTo>
                  <a:pt x="1037" y="100"/>
                  <a:pt x="931" y="119"/>
                  <a:pt x="799" y="119"/>
                </a:cubicBezTo>
                <a:cubicBezTo>
                  <a:pt x="668" y="119"/>
                  <a:pt x="563" y="100"/>
                  <a:pt x="563" y="76"/>
                </a:cubicBezTo>
                <a:cubicBezTo>
                  <a:pt x="563" y="52"/>
                  <a:pt x="669" y="32"/>
                  <a:pt x="799" y="32"/>
                </a:cubicBezTo>
                <a:close/>
                <a:moveTo>
                  <a:pt x="31" y="76"/>
                </a:moveTo>
                <a:cubicBezTo>
                  <a:pt x="31" y="52"/>
                  <a:pt x="138" y="32"/>
                  <a:pt x="269" y="32"/>
                </a:cubicBezTo>
                <a:cubicBezTo>
                  <a:pt x="400" y="32"/>
                  <a:pt x="507" y="52"/>
                  <a:pt x="507" y="76"/>
                </a:cubicBezTo>
                <a:cubicBezTo>
                  <a:pt x="507" y="100"/>
                  <a:pt x="400" y="119"/>
                  <a:pt x="269" y="119"/>
                </a:cubicBezTo>
                <a:cubicBezTo>
                  <a:pt x="138" y="119"/>
                  <a:pt x="31" y="100"/>
                  <a:pt x="31" y="76"/>
                </a:cubicBezTo>
                <a:close/>
                <a:moveTo>
                  <a:pt x="813" y="604"/>
                </a:moveTo>
                <a:cubicBezTo>
                  <a:pt x="720" y="639"/>
                  <a:pt x="626" y="651"/>
                  <a:pt x="542" y="651"/>
                </a:cubicBezTo>
                <a:cubicBezTo>
                  <a:pt x="408" y="651"/>
                  <a:pt x="298" y="622"/>
                  <a:pt x="250" y="605"/>
                </a:cubicBezTo>
                <a:lnTo>
                  <a:pt x="250" y="575"/>
                </a:lnTo>
                <a:cubicBezTo>
                  <a:pt x="300" y="593"/>
                  <a:pt x="561" y="671"/>
                  <a:pt x="810" y="574"/>
                </a:cubicBezTo>
                <a:cubicBezTo>
                  <a:pt x="811" y="574"/>
                  <a:pt x="812" y="574"/>
                  <a:pt x="813" y="573"/>
                </a:cubicBezTo>
                <a:lnTo>
                  <a:pt x="813" y="604"/>
                </a:lnTo>
                <a:close/>
                <a:moveTo>
                  <a:pt x="542" y="446"/>
                </a:moveTo>
                <a:cubicBezTo>
                  <a:pt x="402" y="446"/>
                  <a:pt x="289" y="416"/>
                  <a:pt x="250" y="403"/>
                </a:cubicBezTo>
                <a:lnTo>
                  <a:pt x="250" y="372"/>
                </a:lnTo>
                <a:cubicBezTo>
                  <a:pt x="251" y="372"/>
                  <a:pt x="252" y="373"/>
                  <a:pt x="253" y="373"/>
                </a:cubicBezTo>
                <a:cubicBezTo>
                  <a:pt x="265" y="378"/>
                  <a:pt x="539" y="469"/>
                  <a:pt x="810" y="373"/>
                </a:cubicBezTo>
                <a:cubicBezTo>
                  <a:pt x="810" y="373"/>
                  <a:pt x="812" y="373"/>
                  <a:pt x="813" y="373"/>
                </a:cubicBezTo>
                <a:lnTo>
                  <a:pt x="813" y="403"/>
                </a:lnTo>
                <a:cubicBezTo>
                  <a:pt x="720" y="434"/>
                  <a:pt x="626" y="446"/>
                  <a:pt x="542" y="446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bevel/>
            <a:headEnd/>
            <a:tailEnd/>
          </a:ln>
          <a:effectLst/>
        </p:spPr>
        <p:txBody>
          <a:bodyPr wrap="none" anchor="ctr">
            <a:prstTxWarp prst="textNoShape">
              <a:avLst/>
            </a:prstTxWarp>
          </a:bodyPr>
          <a:lstStyle>
            <a:defPPr>
              <a:defRPr lang="en-GB"/>
            </a:defPPr>
            <a:lvl1pPr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1pPr>
            <a:lvl2pPr marL="742950" indent="-28575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2pPr>
            <a:lvl3pPr marL="1143000" indent="-22860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3pPr>
            <a:lvl4pPr marL="1600200" indent="-22860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4pPr>
            <a:lvl5pPr marL="2057400" indent="-22860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9pPr>
          </a:lstStyle>
          <a:p>
            <a:endParaRPr lang="en-US" sz="1350">
              <a:solidFill>
                <a:srgbClr val="676767"/>
              </a:solidFill>
            </a:endParaRPr>
          </a:p>
        </p:txBody>
      </p:sp>
      <p:sp>
        <p:nvSpPr>
          <p:cNvPr id="2574" name="Oval 2573"/>
          <p:cNvSpPr/>
          <p:nvPr/>
        </p:nvSpPr>
        <p:spPr>
          <a:xfrm>
            <a:off x="7782937" y="3114550"/>
            <a:ext cx="238248" cy="239610"/>
          </a:xfrm>
          <a:prstGeom prst="ellipse">
            <a:avLst/>
          </a:prstGeom>
          <a:gradFill flip="none" rotWithShape="1">
            <a:gsLst>
              <a:gs pos="1000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</a:gsLst>
            <a:lin ang="5400000" scaled="0"/>
            <a:tileRect/>
          </a:gra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676767"/>
              </a:solidFill>
              <a:cs typeface="Arial"/>
            </a:endParaRPr>
          </a:p>
        </p:txBody>
      </p:sp>
      <p:sp>
        <p:nvSpPr>
          <p:cNvPr id="2575" name="Oval 2574"/>
          <p:cNvSpPr/>
          <p:nvPr/>
        </p:nvSpPr>
        <p:spPr>
          <a:xfrm>
            <a:off x="7795639" y="3127091"/>
            <a:ext cx="212757" cy="213974"/>
          </a:xfrm>
          <a:prstGeom prst="ellipse">
            <a:avLst/>
          </a:prstGeom>
          <a:gradFill>
            <a:gsLst>
              <a:gs pos="0">
                <a:srgbClr val="00BCFF"/>
              </a:gs>
              <a:gs pos="100000">
                <a:schemeClr val="accent1"/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t" anchorCtr="0" compatLnSpc="1">
            <a:prstTxWarp prst="textNoShape">
              <a:avLst/>
            </a:prstTxWarp>
          </a:bodyPr>
          <a:lstStyle/>
          <a:p>
            <a:pPr defTabSz="514350"/>
            <a:endParaRPr lang="en-US" sz="1400" dirty="0">
              <a:solidFill>
                <a:srgbClr val="FFFFFF"/>
              </a:solidFill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2576" name="Freeform 2575"/>
          <p:cNvSpPr>
            <a:spLocks noChangeArrowheads="1"/>
          </p:cNvSpPr>
          <p:nvPr/>
        </p:nvSpPr>
        <p:spPr bwMode="auto">
          <a:xfrm>
            <a:off x="7835571" y="3187514"/>
            <a:ext cx="131030" cy="101912"/>
          </a:xfrm>
          <a:custGeom>
            <a:avLst/>
            <a:gdLst/>
            <a:ahLst/>
            <a:cxnLst>
              <a:cxn ang="0">
                <a:pos x="1068" y="447"/>
              </a:cxn>
              <a:cxn ang="0">
                <a:pos x="1070" y="447"/>
              </a:cxn>
              <a:cxn ang="0">
                <a:pos x="1070" y="285"/>
              </a:cxn>
              <a:cxn ang="0">
                <a:pos x="813" y="325"/>
              </a:cxn>
              <a:cxn ang="0">
                <a:pos x="813" y="298"/>
              </a:cxn>
              <a:cxn ang="0">
                <a:pos x="1066" y="256"/>
              </a:cxn>
              <a:cxn ang="0">
                <a:pos x="1069" y="255"/>
              </a:cxn>
              <a:cxn ang="0">
                <a:pos x="1069" y="76"/>
              </a:cxn>
              <a:cxn ang="0">
                <a:pos x="800" y="0"/>
              </a:cxn>
              <a:cxn ang="0">
                <a:pos x="535" y="62"/>
              </a:cxn>
              <a:cxn ang="0">
                <a:pos x="269" y="0"/>
              </a:cxn>
              <a:cxn ang="0">
                <a:pos x="0" y="76"/>
              </a:cxn>
              <a:cxn ang="0">
                <a:pos x="0" y="255"/>
              </a:cxn>
              <a:cxn ang="0">
                <a:pos x="3" y="256"/>
              </a:cxn>
              <a:cxn ang="0">
                <a:pos x="250" y="297"/>
              </a:cxn>
              <a:cxn ang="0">
                <a:pos x="250" y="325"/>
              </a:cxn>
              <a:cxn ang="0">
                <a:pos x="1" y="285"/>
              </a:cxn>
              <a:cxn ang="0">
                <a:pos x="1" y="449"/>
              </a:cxn>
              <a:cxn ang="0">
                <a:pos x="250" y="492"/>
              </a:cxn>
              <a:cxn ang="0">
                <a:pos x="250" y="520"/>
              </a:cxn>
              <a:cxn ang="0">
                <a:pos x="0" y="477"/>
              </a:cxn>
              <a:cxn ang="0">
                <a:pos x="0" y="617"/>
              </a:cxn>
              <a:cxn ang="0">
                <a:pos x="250" y="692"/>
              </a:cxn>
              <a:cxn ang="0">
                <a:pos x="250" y="751"/>
              </a:cxn>
              <a:cxn ang="0">
                <a:pos x="532" y="831"/>
              </a:cxn>
              <a:cxn ang="0">
                <a:pos x="813" y="751"/>
              </a:cxn>
              <a:cxn ang="0">
                <a:pos x="813" y="693"/>
              </a:cxn>
              <a:cxn ang="0">
                <a:pos x="1069" y="617"/>
              </a:cxn>
              <a:cxn ang="0">
                <a:pos x="1069" y="477"/>
              </a:cxn>
              <a:cxn ang="0">
                <a:pos x="813" y="521"/>
              </a:cxn>
              <a:cxn ang="0">
                <a:pos x="813" y="493"/>
              </a:cxn>
              <a:cxn ang="0">
                <a:pos x="1068" y="447"/>
              </a:cxn>
              <a:cxn ang="0">
                <a:pos x="282" y="184"/>
              </a:cxn>
              <a:cxn ang="0">
                <a:pos x="531" y="139"/>
              </a:cxn>
              <a:cxn ang="0">
                <a:pos x="780" y="184"/>
              </a:cxn>
              <a:cxn ang="0">
                <a:pos x="531" y="230"/>
              </a:cxn>
              <a:cxn ang="0">
                <a:pos x="282" y="184"/>
              </a:cxn>
              <a:cxn ang="0">
                <a:pos x="799" y="32"/>
              </a:cxn>
              <a:cxn ang="0">
                <a:pos x="1037" y="76"/>
              </a:cxn>
              <a:cxn ang="0">
                <a:pos x="799" y="119"/>
              </a:cxn>
              <a:cxn ang="0">
                <a:pos x="563" y="76"/>
              </a:cxn>
              <a:cxn ang="0">
                <a:pos x="799" y="32"/>
              </a:cxn>
              <a:cxn ang="0">
                <a:pos x="31" y="76"/>
              </a:cxn>
              <a:cxn ang="0">
                <a:pos x="269" y="32"/>
              </a:cxn>
              <a:cxn ang="0">
                <a:pos x="507" y="76"/>
              </a:cxn>
              <a:cxn ang="0">
                <a:pos x="269" y="119"/>
              </a:cxn>
              <a:cxn ang="0">
                <a:pos x="31" y="76"/>
              </a:cxn>
              <a:cxn ang="0">
                <a:pos x="813" y="604"/>
              </a:cxn>
              <a:cxn ang="0">
                <a:pos x="542" y="651"/>
              </a:cxn>
              <a:cxn ang="0">
                <a:pos x="250" y="605"/>
              </a:cxn>
              <a:cxn ang="0">
                <a:pos x="250" y="575"/>
              </a:cxn>
              <a:cxn ang="0">
                <a:pos x="810" y="574"/>
              </a:cxn>
              <a:cxn ang="0">
                <a:pos x="813" y="573"/>
              </a:cxn>
              <a:cxn ang="0">
                <a:pos x="813" y="604"/>
              </a:cxn>
              <a:cxn ang="0">
                <a:pos x="542" y="446"/>
              </a:cxn>
              <a:cxn ang="0">
                <a:pos x="250" y="403"/>
              </a:cxn>
              <a:cxn ang="0">
                <a:pos x="250" y="372"/>
              </a:cxn>
              <a:cxn ang="0">
                <a:pos x="253" y="373"/>
              </a:cxn>
              <a:cxn ang="0">
                <a:pos x="810" y="373"/>
              </a:cxn>
              <a:cxn ang="0">
                <a:pos x="813" y="373"/>
              </a:cxn>
              <a:cxn ang="0">
                <a:pos x="813" y="403"/>
              </a:cxn>
              <a:cxn ang="0">
                <a:pos x="542" y="446"/>
              </a:cxn>
            </a:cxnLst>
            <a:rect l="0" t="0" r="r" b="b"/>
            <a:pathLst>
              <a:path w="1071" h="832">
                <a:moveTo>
                  <a:pt x="1068" y="447"/>
                </a:moveTo>
                <a:cubicBezTo>
                  <a:pt x="1068" y="447"/>
                  <a:pt x="1069" y="447"/>
                  <a:pt x="1070" y="447"/>
                </a:cubicBezTo>
                <a:lnTo>
                  <a:pt x="1070" y="285"/>
                </a:lnTo>
                <a:cubicBezTo>
                  <a:pt x="982" y="314"/>
                  <a:pt x="893" y="325"/>
                  <a:pt x="813" y="325"/>
                </a:cubicBezTo>
                <a:lnTo>
                  <a:pt x="813" y="298"/>
                </a:lnTo>
                <a:cubicBezTo>
                  <a:pt x="891" y="298"/>
                  <a:pt x="979" y="287"/>
                  <a:pt x="1066" y="256"/>
                </a:cubicBezTo>
                <a:cubicBezTo>
                  <a:pt x="1067" y="256"/>
                  <a:pt x="1068" y="255"/>
                  <a:pt x="1069" y="255"/>
                </a:cubicBezTo>
                <a:lnTo>
                  <a:pt x="1069" y="76"/>
                </a:lnTo>
                <a:cubicBezTo>
                  <a:pt x="1069" y="1"/>
                  <a:pt x="811" y="0"/>
                  <a:pt x="800" y="0"/>
                </a:cubicBezTo>
                <a:cubicBezTo>
                  <a:pt x="790" y="0"/>
                  <a:pt x="566" y="1"/>
                  <a:pt x="535" y="62"/>
                </a:cubicBezTo>
                <a:cubicBezTo>
                  <a:pt x="504" y="1"/>
                  <a:pt x="280" y="0"/>
                  <a:pt x="269" y="0"/>
                </a:cubicBezTo>
                <a:cubicBezTo>
                  <a:pt x="258" y="0"/>
                  <a:pt x="0" y="1"/>
                  <a:pt x="0" y="76"/>
                </a:cubicBezTo>
                <a:lnTo>
                  <a:pt x="0" y="255"/>
                </a:lnTo>
                <a:cubicBezTo>
                  <a:pt x="2" y="255"/>
                  <a:pt x="2" y="255"/>
                  <a:pt x="3" y="256"/>
                </a:cubicBezTo>
                <a:cubicBezTo>
                  <a:pt x="10" y="259"/>
                  <a:pt x="112" y="292"/>
                  <a:pt x="250" y="297"/>
                </a:cubicBezTo>
                <a:lnTo>
                  <a:pt x="250" y="325"/>
                </a:lnTo>
                <a:cubicBezTo>
                  <a:pt x="130" y="321"/>
                  <a:pt x="35" y="296"/>
                  <a:pt x="1" y="285"/>
                </a:cubicBezTo>
                <a:lnTo>
                  <a:pt x="1" y="449"/>
                </a:lnTo>
                <a:cubicBezTo>
                  <a:pt x="29" y="459"/>
                  <a:pt x="126" y="488"/>
                  <a:pt x="250" y="492"/>
                </a:cubicBezTo>
                <a:lnTo>
                  <a:pt x="250" y="520"/>
                </a:lnTo>
                <a:cubicBezTo>
                  <a:pt x="135" y="517"/>
                  <a:pt x="43" y="492"/>
                  <a:pt x="0" y="477"/>
                </a:cubicBezTo>
                <a:lnTo>
                  <a:pt x="0" y="617"/>
                </a:lnTo>
                <a:cubicBezTo>
                  <a:pt x="0" y="681"/>
                  <a:pt x="187" y="691"/>
                  <a:pt x="250" y="692"/>
                </a:cubicBezTo>
                <a:lnTo>
                  <a:pt x="250" y="751"/>
                </a:lnTo>
                <a:cubicBezTo>
                  <a:pt x="250" y="830"/>
                  <a:pt x="520" y="831"/>
                  <a:pt x="532" y="831"/>
                </a:cubicBezTo>
                <a:cubicBezTo>
                  <a:pt x="543" y="831"/>
                  <a:pt x="813" y="830"/>
                  <a:pt x="813" y="751"/>
                </a:cubicBezTo>
                <a:lnTo>
                  <a:pt x="813" y="693"/>
                </a:lnTo>
                <a:cubicBezTo>
                  <a:pt x="867" y="692"/>
                  <a:pt x="1069" y="683"/>
                  <a:pt x="1069" y="617"/>
                </a:cubicBezTo>
                <a:lnTo>
                  <a:pt x="1069" y="477"/>
                </a:lnTo>
                <a:cubicBezTo>
                  <a:pt x="980" y="509"/>
                  <a:pt x="893" y="521"/>
                  <a:pt x="813" y="521"/>
                </a:cubicBezTo>
                <a:lnTo>
                  <a:pt x="813" y="493"/>
                </a:lnTo>
                <a:cubicBezTo>
                  <a:pt x="892" y="492"/>
                  <a:pt x="981" y="481"/>
                  <a:pt x="1068" y="447"/>
                </a:cubicBezTo>
                <a:close/>
                <a:moveTo>
                  <a:pt x="282" y="184"/>
                </a:moveTo>
                <a:cubicBezTo>
                  <a:pt x="282" y="159"/>
                  <a:pt x="393" y="139"/>
                  <a:pt x="531" y="139"/>
                </a:cubicBezTo>
                <a:cubicBezTo>
                  <a:pt x="668" y="139"/>
                  <a:pt x="780" y="158"/>
                  <a:pt x="780" y="184"/>
                </a:cubicBezTo>
                <a:cubicBezTo>
                  <a:pt x="780" y="209"/>
                  <a:pt x="668" y="230"/>
                  <a:pt x="531" y="230"/>
                </a:cubicBezTo>
                <a:cubicBezTo>
                  <a:pt x="393" y="230"/>
                  <a:pt x="282" y="210"/>
                  <a:pt x="282" y="184"/>
                </a:cubicBezTo>
                <a:close/>
                <a:moveTo>
                  <a:pt x="799" y="32"/>
                </a:moveTo>
                <a:cubicBezTo>
                  <a:pt x="931" y="32"/>
                  <a:pt x="1037" y="52"/>
                  <a:pt x="1037" y="76"/>
                </a:cubicBezTo>
                <a:cubicBezTo>
                  <a:pt x="1037" y="100"/>
                  <a:pt x="931" y="119"/>
                  <a:pt x="799" y="119"/>
                </a:cubicBezTo>
                <a:cubicBezTo>
                  <a:pt x="668" y="119"/>
                  <a:pt x="563" y="100"/>
                  <a:pt x="563" y="76"/>
                </a:cubicBezTo>
                <a:cubicBezTo>
                  <a:pt x="563" y="52"/>
                  <a:pt x="669" y="32"/>
                  <a:pt x="799" y="32"/>
                </a:cubicBezTo>
                <a:close/>
                <a:moveTo>
                  <a:pt x="31" y="76"/>
                </a:moveTo>
                <a:cubicBezTo>
                  <a:pt x="31" y="52"/>
                  <a:pt x="138" y="32"/>
                  <a:pt x="269" y="32"/>
                </a:cubicBezTo>
                <a:cubicBezTo>
                  <a:pt x="400" y="32"/>
                  <a:pt x="507" y="52"/>
                  <a:pt x="507" y="76"/>
                </a:cubicBezTo>
                <a:cubicBezTo>
                  <a:pt x="507" y="100"/>
                  <a:pt x="400" y="119"/>
                  <a:pt x="269" y="119"/>
                </a:cubicBezTo>
                <a:cubicBezTo>
                  <a:pt x="138" y="119"/>
                  <a:pt x="31" y="100"/>
                  <a:pt x="31" y="76"/>
                </a:cubicBezTo>
                <a:close/>
                <a:moveTo>
                  <a:pt x="813" y="604"/>
                </a:moveTo>
                <a:cubicBezTo>
                  <a:pt x="720" y="639"/>
                  <a:pt x="626" y="651"/>
                  <a:pt x="542" y="651"/>
                </a:cubicBezTo>
                <a:cubicBezTo>
                  <a:pt x="408" y="651"/>
                  <a:pt x="298" y="622"/>
                  <a:pt x="250" y="605"/>
                </a:cubicBezTo>
                <a:lnTo>
                  <a:pt x="250" y="575"/>
                </a:lnTo>
                <a:cubicBezTo>
                  <a:pt x="300" y="593"/>
                  <a:pt x="561" y="671"/>
                  <a:pt x="810" y="574"/>
                </a:cubicBezTo>
                <a:cubicBezTo>
                  <a:pt x="811" y="574"/>
                  <a:pt x="812" y="574"/>
                  <a:pt x="813" y="573"/>
                </a:cubicBezTo>
                <a:lnTo>
                  <a:pt x="813" y="604"/>
                </a:lnTo>
                <a:close/>
                <a:moveTo>
                  <a:pt x="542" y="446"/>
                </a:moveTo>
                <a:cubicBezTo>
                  <a:pt x="402" y="446"/>
                  <a:pt x="289" y="416"/>
                  <a:pt x="250" y="403"/>
                </a:cubicBezTo>
                <a:lnTo>
                  <a:pt x="250" y="372"/>
                </a:lnTo>
                <a:cubicBezTo>
                  <a:pt x="251" y="372"/>
                  <a:pt x="252" y="373"/>
                  <a:pt x="253" y="373"/>
                </a:cubicBezTo>
                <a:cubicBezTo>
                  <a:pt x="265" y="378"/>
                  <a:pt x="539" y="469"/>
                  <a:pt x="810" y="373"/>
                </a:cubicBezTo>
                <a:cubicBezTo>
                  <a:pt x="810" y="373"/>
                  <a:pt x="812" y="373"/>
                  <a:pt x="813" y="373"/>
                </a:cubicBezTo>
                <a:lnTo>
                  <a:pt x="813" y="403"/>
                </a:lnTo>
                <a:cubicBezTo>
                  <a:pt x="720" y="434"/>
                  <a:pt x="626" y="446"/>
                  <a:pt x="542" y="446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bevel/>
            <a:headEnd/>
            <a:tailEnd/>
          </a:ln>
          <a:effectLst/>
        </p:spPr>
        <p:txBody>
          <a:bodyPr wrap="none" anchor="ctr">
            <a:prstTxWarp prst="textNoShape">
              <a:avLst/>
            </a:prstTxWarp>
          </a:bodyPr>
          <a:lstStyle>
            <a:defPPr>
              <a:defRPr lang="en-GB"/>
            </a:defPPr>
            <a:lvl1pPr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1pPr>
            <a:lvl2pPr marL="742950" indent="-28575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2pPr>
            <a:lvl3pPr marL="1143000" indent="-22860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3pPr>
            <a:lvl4pPr marL="1600200" indent="-22860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4pPr>
            <a:lvl5pPr marL="2057400" indent="-22860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9pPr>
          </a:lstStyle>
          <a:p>
            <a:endParaRPr lang="en-US" sz="1350">
              <a:solidFill>
                <a:srgbClr val="676767"/>
              </a:solidFill>
            </a:endParaRPr>
          </a:p>
        </p:txBody>
      </p:sp>
      <p:sp>
        <p:nvSpPr>
          <p:cNvPr id="2578" name="Oval 2577"/>
          <p:cNvSpPr/>
          <p:nvPr/>
        </p:nvSpPr>
        <p:spPr>
          <a:xfrm>
            <a:off x="8574397" y="2270959"/>
            <a:ext cx="238248" cy="239610"/>
          </a:xfrm>
          <a:prstGeom prst="ellipse">
            <a:avLst/>
          </a:prstGeom>
          <a:gradFill flip="none" rotWithShape="1">
            <a:gsLst>
              <a:gs pos="1000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</a:gsLst>
            <a:lin ang="5400000" scaled="0"/>
            <a:tileRect/>
          </a:gra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676767"/>
              </a:solidFill>
              <a:cs typeface="Arial"/>
            </a:endParaRPr>
          </a:p>
        </p:txBody>
      </p:sp>
      <p:sp>
        <p:nvSpPr>
          <p:cNvPr id="2579" name="Oval 2578"/>
          <p:cNvSpPr/>
          <p:nvPr/>
        </p:nvSpPr>
        <p:spPr>
          <a:xfrm>
            <a:off x="8587099" y="2283500"/>
            <a:ext cx="212757" cy="213974"/>
          </a:xfrm>
          <a:prstGeom prst="ellipse">
            <a:avLst/>
          </a:prstGeom>
          <a:gradFill>
            <a:gsLst>
              <a:gs pos="0">
                <a:srgbClr val="00BCFF"/>
              </a:gs>
              <a:gs pos="100000">
                <a:schemeClr val="accent1"/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t" anchorCtr="0" compatLnSpc="1">
            <a:prstTxWarp prst="textNoShape">
              <a:avLst/>
            </a:prstTxWarp>
          </a:bodyPr>
          <a:lstStyle/>
          <a:p>
            <a:pPr defTabSz="514350"/>
            <a:endParaRPr lang="en-US" sz="1400" dirty="0">
              <a:solidFill>
                <a:srgbClr val="FFFFFF"/>
              </a:solidFill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2580" name="Freeform 2579"/>
          <p:cNvSpPr>
            <a:spLocks noChangeArrowheads="1"/>
          </p:cNvSpPr>
          <p:nvPr/>
        </p:nvSpPr>
        <p:spPr bwMode="auto">
          <a:xfrm>
            <a:off x="8627031" y="2343923"/>
            <a:ext cx="131030" cy="101912"/>
          </a:xfrm>
          <a:custGeom>
            <a:avLst/>
            <a:gdLst/>
            <a:ahLst/>
            <a:cxnLst>
              <a:cxn ang="0">
                <a:pos x="1068" y="447"/>
              </a:cxn>
              <a:cxn ang="0">
                <a:pos x="1070" y="447"/>
              </a:cxn>
              <a:cxn ang="0">
                <a:pos x="1070" y="285"/>
              </a:cxn>
              <a:cxn ang="0">
                <a:pos x="813" y="325"/>
              </a:cxn>
              <a:cxn ang="0">
                <a:pos x="813" y="298"/>
              </a:cxn>
              <a:cxn ang="0">
                <a:pos x="1066" y="256"/>
              </a:cxn>
              <a:cxn ang="0">
                <a:pos x="1069" y="255"/>
              </a:cxn>
              <a:cxn ang="0">
                <a:pos x="1069" y="76"/>
              </a:cxn>
              <a:cxn ang="0">
                <a:pos x="800" y="0"/>
              </a:cxn>
              <a:cxn ang="0">
                <a:pos x="535" y="62"/>
              </a:cxn>
              <a:cxn ang="0">
                <a:pos x="269" y="0"/>
              </a:cxn>
              <a:cxn ang="0">
                <a:pos x="0" y="76"/>
              </a:cxn>
              <a:cxn ang="0">
                <a:pos x="0" y="255"/>
              </a:cxn>
              <a:cxn ang="0">
                <a:pos x="3" y="256"/>
              </a:cxn>
              <a:cxn ang="0">
                <a:pos x="250" y="297"/>
              </a:cxn>
              <a:cxn ang="0">
                <a:pos x="250" y="325"/>
              </a:cxn>
              <a:cxn ang="0">
                <a:pos x="1" y="285"/>
              </a:cxn>
              <a:cxn ang="0">
                <a:pos x="1" y="449"/>
              </a:cxn>
              <a:cxn ang="0">
                <a:pos x="250" y="492"/>
              </a:cxn>
              <a:cxn ang="0">
                <a:pos x="250" y="520"/>
              </a:cxn>
              <a:cxn ang="0">
                <a:pos x="0" y="477"/>
              </a:cxn>
              <a:cxn ang="0">
                <a:pos x="0" y="617"/>
              </a:cxn>
              <a:cxn ang="0">
                <a:pos x="250" y="692"/>
              </a:cxn>
              <a:cxn ang="0">
                <a:pos x="250" y="751"/>
              </a:cxn>
              <a:cxn ang="0">
                <a:pos x="532" y="831"/>
              </a:cxn>
              <a:cxn ang="0">
                <a:pos x="813" y="751"/>
              </a:cxn>
              <a:cxn ang="0">
                <a:pos x="813" y="693"/>
              </a:cxn>
              <a:cxn ang="0">
                <a:pos x="1069" y="617"/>
              </a:cxn>
              <a:cxn ang="0">
                <a:pos x="1069" y="477"/>
              </a:cxn>
              <a:cxn ang="0">
                <a:pos x="813" y="521"/>
              </a:cxn>
              <a:cxn ang="0">
                <a:pos x="813" y="493"/>
              </a:cxn>
              <a:cxn ang="0">
                <a:pos x="1068" y="447"/>
              </a:cxn>
              <a:cxn ang="0">
                <a:pos x="282" y="184"/>
              </a:cxn>
              <a:cxn ang="0">
                <a:pos x="531" y="139"/>
              </a:cxn>
              <a:cxn ang="0">
                <a:pos x="780" y="184"/>
              </a:cxn>
              <a:cxn ang="0">
                <a:pos x="531" y="230"/>
              </a:cxn>
              <a:cxn ang="0">
                <a:pos x="282" y="184"/>
              </a:cxn>
              <a:cxn ang="0">
                <a:pos x="799" y="32"/>
              </a:cxn>
              <a:cxn ang="0">
                <a:pos x="1037" y="76"/>
              </a:cxn>
              <a:cxn ang="0">
                <a:pos x="799" y="119"/>
              </a:cxn>
              <a:cxn ang="0">
                <a:pos x="563" y="76"/>
              </a:cxn>
              <a:cxn ang="0">
                <a:pos x="799" y="32"/>
              </a:cxn>
              <a:cxn ang="0">
                <a:pos x="31" y="76"/>
              </a:cxn>
              <a:cxn ang="0">
                <a:pos x="269" y="32"/>
              </a:cxn>
              <a:cxn ang="0">
                <a:pos x="507" y="76"/>
              </a:cxn>
              <a:cxn ang="0">
                <a:pos x="269" y="119"/>
              </a:cxn>
              <a:cxn ang="0">
                <a:pos x="31" y="76"/>
              </a:cxn>
              <a:cxn ang="0">
                <a:pos x="813" y="604"/>
              </a:cxn>
              <a:cxn ang="0">
                <a:pos x="542" y="651"/>
              </a:cxn>
              <a:cxn ang="0">
                <a:pos x="250" y="605"/>
              </a:cxn>
              <a:cxn ang="0">
                <a:pos x="250" y="575"/>
              </a:cxn>
              <a:cxn ang="0">
                <a:pos x="810" y="574"/>
              </a:cxn>
              <a:cxn ang="0">
                <a:pos x="813" y="573"/>
              </a:cxn>
              <a:cxn ang="0">
                <a:pos x="813" y="604"/>
              </a:cxn>
              <a:cxn ang="0">
                <a:pos x="542" y="446"/>
              </a:cxn>
              <a:cxn ang="0">
                <a:pos x="250" y="403"/>
              </a:cxn>
              <a:cxn ang="0">
                <a:pos x="250" y="372"/>
              </a:cxn>
              <a:cxn ang="0">
                <a:pos x="253" y="373"/>
              </a:cxn>
              <a:cxn ang="0">
                <a:pos x="810" y="373"/>
              </a:cxn>
              <a:cxn ang="0">
                <a:pos x="813" y="373"/>
              </a:cxn>
              <a:cxn ang="0">
                <a:pos x="813" y="403"/>
              </a:cxn>
              <a:cxn ang="0">
                <a:pos x="542" y="446"/>
              </a:cxn>
            </a:cxnLst>
            <a:rect l="0" t="0" r="r" b="b"/>
            <a:pathLst>
              <a:path w="1071" h="832">
                <a:moveTo>
                  <a:pt x="1068" y="447"/>
                </a:moveTo>
                <a:cubicBezTo>
                  <a:pt x="1068" y="447"/>
                  <a:pt x="1069" y="447"/>
                  <a:pt x="1070" y="447"/>
                </a:cubicBezTo>
                <a:lnTo>
                  <a:pt x="1070" y="285"/>
                </a:lnTo>
                <a:cubicBezTo>
                  <a:pt x="982" y="314"/>
                  <a:pt x="893" y="325"/>
                  <a:pt x="813" y="325"/>
                </a:cubicBezTo>
                <a:lnTo>
                  <a:pt x="813" y="298"/>
                </a:lnTo>
                <a:cubicBezTo>
                  <a:pt x="891" y="298"/>
                  <a:pt x="979" y="287"/>
                  <a:pt x="1066" y="256"/>
                </a:cubicBezTo>
                <a:cubicBezTo>
                  <a:pt x="1067" y="256"/>
                  <a:pt x="1068" y="255"/>
                  <a:pt x="1069" y="255"/>
                </a:cubicBezTo>
                <a:lnTo>
                  <a:pt x="1069" y="76"/>
                </a:lnTo>
                <a:cubicBezTo>
                  <a:pt x="1069" y="1"/>
                  <a:pt x="811" y="0"/>
                  <a:pt x="800" y="0"/>
                </a:cubicBezTo>
                <a:cubicBezTo>
                  <a:pt x="790" y="0"/>
                  <a:pt x="566" y="1"/>
                  <a:pt x="535" y="62"/>
                </a:cubicBezTo>
                <a:cubicBezTo>
                  <a:pt x="504" y="1"/>
                  <a:pt x="280" y="0"/>
                  <a:pt x="269" y="0"/>
                </a:cubicBezTo>
                <a:cubicBezTo>
                  <a:pt x="258" y="0"/>
                  <a:pt x="0" y="1"/>
                  <a:pt x="0" y="76"/>
                </a:cubicBezTo>
                <a:lnTo>
                  <a:pt x="0" y="255"/>
                </a:lnTo>
                <a:cubicBezTo>
                  <a:pt x="2" y="255"/>
                  <a:pt x="2" y="255"/>
                  <a:pt x="3" y="256"/>
                </a:cubicBezTo>
                <a:cubicBezTo>
                  <a:pt x="10" y="259"/>
                  <a:pt x="112" y="292"/>
                  <a:pt x="250" y="297"/>
                </a:cubicBezTo>
                <a:lnTo>
                  <a:pt x="250" y="325"/>
                </a:lnTo>
                <a:cubicBezTo>
                  <a:pt x="130" y="321"/>
                  <a:pt x="35" y="296"/>
                  <a:pt x="1" y="285"/>
                </a:cubicBezTo>
                <a:lnTo>
                  <a:pt x="1" y="449"/>
                </a:lnTo>
                <a:cubicBezTo>
                  <a:pt x="29" y="459"/>
                  <a:pt x="126" y="488"/>
                  <a:pt x="250" y="492"/>
                </a:cubicBezTo>
                <a:lnTo>
                  <a:pt x="250" y="520"/>
                </a:lnTo>
                <a:cubicBezTo>
                  <a:pt x="135" y="517"/>
                  <a:pt x="43" y="492"/>
                  <a:pt x="0" y="477"/>
                </a:cubicBezTo>
                <a:lnTo>
                  <a:pt x="0" y="617"/>
                </a:lnTo>
                <a:cubicBezTo>
                  <a:pt x="0" y="681"/>
                  <a:pt x="187" y="691"/>
                  <a:pt x="250" y="692"/>
                </a:cubicBezTo>
                <a:lnTo>
                  <a:pt x="250" y="751"/>
                </a:lnTo>
                <a:cubicBezTo>
                  <a:pt x="250" y="830"/>
                  <a:pt x="520" y="831"/>
                  <a:pt x="532" y="831"/>
                </a:cubicBezTo>
                <a:cubicBezTo>
                  <a:pt x="543" y="831"/>
                  <a:pt x="813" y="830"/>
                  <a:pt x="813" y="751"/>
                </a:cubicBezTo>
                <a:lnTo>
                  <a:pt x="813" y="693"/>
                </a:lnTo>
                <a:cubicBezTo>
                  <a:pt x="867" y="692"/>
                  <a:pt x="1069" y="683"/>
                  <a:pt x="1069" y="617"/>
                </a:cubicBezTo>
                <a:lnTo>
                  <a:pt x="1069" y="477"/>
                </a:lnTo>
                <a:cubicBezTo>
                  <a:pt x="980" y="509"/>
                  <a:pt x="893" y="521"/>
                  <a:pt x="813" y="521"/>
                </a:cubicBezTo>
                <a:lnTo>
                  <a:pt x="813" y="493"/>
                </a:lnTo>
                <a:cubicBezTo>
                  <a:pt x="892" y="492"/>
                  <a:pt x="981" y="481"/>
                  <a:pt x="1068" y="447"/>
                </a:cubicBezTo>
                <a:close/>
                <a:moveTo>
                  <a:pt x="282" y="184"/>
                </a:moveTo>
                <a:cubicBezTo>
                  <a:pt x="282" y="159"/>
                  <a:pt x="393" y="139"/>
                  <a:pt x="531" y="139"/>
                </a:cubicBezTo>
                <a:cubicBezTo>
                  <a:pt x="668" y="139"/>
                  <a:pt x="780" y="158"/>
                  <a:pt x="780" y="184"/>
                </a:cubicBezTo>
                <a:cubicBezTo>
                  <a:pt x="780" y="209"/>
                  <a:pt x="668" y="230"/>
                  <a:pt x="531" y="230"/>
                </a:cubicBezTo>
                <a:cubicBezTo>
                  <a:pt x="393" y="230"/>
                  <a:pt x="282" y="210"/>
                  <a:pt x="282" y="184"/>
                </a:cubicBezTo>
                <a:close/>
                <a:moveTo>
                  <a:pt x="799" y="32"/>
                </a:moveTo>
                <a:cubicBezTo>
                  <a:pt x="931" y="32"/>
                  <a:pt x="1037" y="52"/>
                  <a:pt x="1037" y="76"/>
                </a:cubicBezTo>
                <a:cubicBezTo>
                  <a:pt x="1037" y="100"/>
                  <a:pt x="931" y="119"/>
                  <a:pt x="799" y="119"/>
                </a:cubicBezTo>
                <a:cubicBezTo>
                  <a:pt x="668" y="119"/>
                  <a:pt x="563" y="100"/>
                  <a:pt x="563" y="76"/>
                </a:cubicBezTo>
                <a:cubicBezTo>
                  <a:pt x="563" y="52"/>
                  <a:pt x="669" y="32"/>
                  <a:pt x="799" y="32"/>
                </a:cubicBezTo>
                <a:close/>
                <a:moveTo>
                  <a:pt x="31" y="76"/>
                </a:moveTo>
                <a:cubicBezTo>
                  <a:pt x="31" y="52"/>
                  <a:pt x="138" y="32"/>
                  <a:pt x="269" y="32"/>
                </a:cubicBezTo>
                <a:cubicBezTo>
                  <a:pt x="400" y="32"/>
                  <a:pt x="507" y="52"/>
                  <a:pt x="507" y="76"/>
                </a:cubicBezTo>
                <a:cubicBezTo>
                  <a:pt x="507" y="100"/>
                  <a:pt x="400" y="119"/>
                  <a:pt x="269" y="119"/>
                </a:cubicBezTo>
                <a:cubicBezTo>
                  <a:pt x="138" y="119"/>
                  <a:pt x="31" y="100"/>
                  <a:pt x="31" y="76"/>
                </a:cubicBezTo>
                <a:close/>
                <a:moveTo>
                  <a:pt x="813" y="604"/>
                </a:moveTo>
                <a:cubicBezTo>
                  <a:pt x="720" y="639"/>
                  <a:pt x="626" y="651"/>
                  <a:pt x="542" y="651"/>
                </a:cubicBezTo>
                <a:cubicBezTo>
                  <a:pt x="408" y="651"/>
                  <a:pt x="298" y="622"/>
                  <a:pt x="250" y="605"/>
                </a:cubicBezTo>
                <a:lnTo>
                  <a:pt x="250" y="575"/>
                </a:lnTo>
                <a:cubicBezTo>
                  <a:pt x="300" y="593"/>
                  <a:pt x="561" y="671"/>
                  <a:pt x="810" y="574"/>
                </a:cubicBezTo>
                <a:cubicBezTo>
                  <a:pt x="811" y="574"/>
                  <a:pt x="812" y="574"/>
                  <a:pt x="813" y="573"/>
                </a:cubicBezTo>
                <a:lnTo>
                  <a:pt x="813" y="604"/>
                </a:lnTo>
                <a:close/>
                <a:moveTo>
                  <a:pt x="542" y="446"/>
                </a:moveTo>
                <a:cubicBezTo>
                  <a:pt x="402" y="446"/>
                  <a:pt x="289" y="416"/>
                  <a:pt x="250" y="403"/>
                </a:cubicBezTo>
                <a:lnTo>
                  <a:pt x="250" y="372"/>
                </a:lnTo>
                <a:cubicBezTo>
                  <a:pt x="251" y="372"/>
                  <a:pt x="252" y="373"/>
                  <a:pt x="253" y="373"/>
                </a:cubicBezTo>
                <a:cubicBezTo>
                  <a:pt x="265" y="378"/>
                  <a:pt x="539" y="469"/>
                  <a:pt x="810" y="373"/>
                </a:cubicBezTo>
                <a:cubicBezTo>
                  <a:pt x="810" y="373"/>
                  <a:pt x="812" y="373"/>
                  <a:pt x="813" y="373"/>
                </a:cubicBezTo>
                <a:lnTo>
                  <a:pt x="813" y="403"/>
                </a:lnTo>
                <a:cubicBezTo>
                  <a:pt x="720" y="434"/>
                  <a:pt x="626" y="446"/>
                  <a:pt x="542" y="446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bevel/>
            <a:headEnd/>
            <a:tailEnd/>
          </a:ln>
          <a:effectLst/>
        </p:spPr>
        <p:txBody>
          <a:bodyPr wrap="none" anchor="ctr">
            <a:prstTxWarp prst="textNoShape">
              <a:avLst/>
            </a:prstTxWarp>
          </a:bodyPr>
          <a:lstStyle>
            <a:defPPr>
              <a:defRPr lang="en-GB"/>
            </a:defPPr>
            <a:lvl1pPr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1pPr>
            <a:lvl2pPr marL="742950" indent="-28575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2pPr>
            <a:lvl3pPr marL="1143000" indent="-22860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3pPr>
            <a:lvl4pPr marL="1600200" indent="-22860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4pPr>
            <a:lvl5pPr marL="2057400" indent="-22860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9pPr>
          </a:lstStyle>
          <a:p>
            <a:endParaRPr lang="en-US" sz="1350">
              <a:solidFill>
                <a:srgbClr val="676767"/>
              </a:solidFill>
            </a:endParaRPr>
          </a:p>
        </p:txBody>
      </p:sp>
      <p:sp>
        <p:nvSpPr>
          <p:cNvPr id="2583" name="Oval 2582"/>
          <p:cNvSpPr/>
          <p:nvPr/>
        </p:nvSpPr>
        <p:spPr>
          <a:xfrm>
            <a:off x="8332167" y="2787123"/>
            <a:ext cx="479510" cy="482252"/>
          </a:xfrm>
          <a:prstGeom prst="ellipse">
            <a:avLst/>
          </a:prstGeom>
          <a:gradFill flip="none" rotWithShape="1">
            <a:gsLst>
              <a:gs pos="1000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</a:gsLst>
            <a:lin ang="5400000" scaled="0"/>
            <a:tileRect/>
          </a:gra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676767"/>
              </a:solidFill>
              <a:cs typeface="Arial"/>
            </a:endParaRPr>
          </a:p>
        </p:txBody>
      </p:sp>
      <p:sp>
        <p:nvSpPr>
          <p:cNvPr id="2584" name="Oval 2583"/>
          <p:cNvSpPr/>
          <p:nvPr/>
        </p:nvSpPr>
        <p:spPr>
          <a:xfrm>
            <a:off x="8357732" y="2812363"/>
            <a:ext cx="428206" cy="430655"/>
          </a:xfrm>
          <a:prstGeom prst="ellipse">
            <a:avLst/>
          </a:prstGeom>
          <a:gradFill>
            <a:gsLst>
              <a:gs pos="0">
                <a:srgbClr val="00BCFF"/>
              </a:gs>
              <a:gs pos="100000">
                <a:schemeClr val="accent1"/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t" anchorCtr="0" compatLnSpc="1">
            <a:prstTxWarp prst="textNoShape">
              <a:avLst/>
            </a:prstTxWarp>
          </a:bodyPr>
          <a:lstStyle/>
          <a:p>
            <a:pPr defTabSz="514350"/>
            <a:endParaRPr lang="en-US" sz="1400" dirty="0">
              <a:solidFill>
                <a:srgbClr val="FFFFFF"/>
              </a:solidFill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2585" name="Freeform 2584"/>
          <p:cNvSpPr>
            <a:spLocks noChangeArrowheads="1"/>
          </p:cNvSpPr>
          <p:nvPr/>
        </p:nvSpPr>
        <p:spPr bwMode="auto">
          <a:xfrm>
            <a:off x="8438100" y="2933974"/>
            <a:ext cx="263717" cy="205113"/>
          </a:xfrm>
          <a:custGeom>
            <a:avLst/>
            <a:gdLst/>
            <a:ahLst/>
            <a:cxnLst>
              <a:cxn ang="0">
                <a:pos x="1068" y="447"/>
              </a:cxn>
              <a:cxn ang="0">
                <a:pos x="1070" y="447"/>
              </a:cxn>
              <a:cxn ang="0">
                <a:pos x="1070" y="285"/>
              </a:cxn>
              <a:cxn ang="0">
                <a:pos x="813" y="325"/>
              </a:cxn>
              <a:cxn ang="0">
                <a:pos x="813" y="298"/>
              </a:cxn>
              <a:cxn ang="0">
                <a:pos x="1066" y="256"/>
              </a:cxn>
              <a:cxn ang="0">
                <a:pos x="1069" y="255"/>
              </a:cxn>
              <a:cxn ang="0">
                <a:pos x="1069" y="76"/>
              </a:cxn>
              <a:cxn ang="0">
                <a:pos x="800" y="0"/>
              </a:cxn>
              <a:cxn ang="0">
                <a:pos x="535" y="62"/>
              </a:cxn>
              <a:cxn ang="0">
                <a:pos x="269" y="0"/>
              </a:cxn>
              <a:cxn ang="0">
                <a:pos x="0" y="76"/>
              </a:cxn>
              <a:cxn ang="0">
                <a:pos x="0" y="255"/>
              </a:cxn>
              <a:cxn ang="0">
                <a:pos x="3" y="256"/>
              </a:cxn>
              <a:cxn ang="0">
                <a:pos x="250" y="297"/>
              </a:cxn>
              <a:cxn ang="0">
                <a:pos x="250" y="325"/>
              </a:cxn>
              <a:cxn ang="0">
                <a:pos x="1" y="285"/>
              </a:cxn>
              <a:cxn ang="0">
                <a:pos x="1" y="449"/>
              </a:cxn>
              <a:cxn ang="0">
                <a:pos x="250" y="492"/>
              </a:cxn>
              <a:cxn ang="0">
                <a:pos x="250" y="520"/>
              </a:cxn>
              <a:cxn ang="0">
                <a:pos x="0" y="477"/>
              </a:cxn>
              <a:cxn ang="0">
                <a:pos x="0" y="617"/>
              </a:cxn>
              <a:cxn ang="0">
                <a:pos x="250" y="692"/>
              </a:cxn>
              <a:cxn ang="0">
                <a:pos x="250" y="751"/>
              </a:cxn>
              <a:cxn ang="0">
                <a:pos x="532" y="831"/>
              </a:cxn>
              <a:cxn ang="0">
                <a:pos x="813" y="751"/>
              </a:cxn>
              <a:cxn ang="0">
                <a:pos x="813" y="693"/>
              </a:cxn>
              <a:cxn ang="0">
                <a:pos x="1069" y="617"/>
              </a:cxn>
              <a:cxn ang="0">
                <a:pos x="1069" y="477"/>
              </a:cxn>
              <a:cxn ang="0">
                <a:pos x="813" y="521"/>
              </a:cxn>
              <a:cxn ang="0">
                <a:pos x="813" y="493"/>
              </a:cxn>
              <a:cxn ang="0">
                <a:pos x="1068" y="447"/>
              </a:cxn>
              <a:cxn ang="0">
                <a:pos x="282" y="184"/>
              </a:cxn>
              <a:cxn ang="0">
                <a:pos x="531" y="139"/>
              </a:cxn>
              <a:cxn ang="0">
                <a:pos x="780" y="184"/>
              </a:cxn>
              <a:cxn ang="0">
                <a:pos x="531" y="230"/>
              </a:cxn>
              <a:cxn ang="0">
                <a:pos x="282" y="184"/>
              </a:cxn>
              <a:cxn ang="0">
                <a:pos x="799" y="32"/>
              </a:cxn>
              <a:cxn ang="0">
                <a:pos x="1037" y="76"/>
              </a:cxn>
              <a:cxn ang="0">
                <a:pos x="799" y="119"/>
              </a:cxn>
              <a:cxn ang="0">
                <a:pos x="563" y="76"/>
              </a:cxn>
              <a:cxn ang="0">
                <a:pos x="799" y="32"/>
              </a:cxn>
              <a:cxn ang="0">
                <a:pos x="31" y="76"/>
              </a:cxn>
              <a:cxn ang="0">
                <a:pos x="269" y="32"/>
              </a:cxn>
              <a:cxn ang="0">
                <a:pos x="507" y="76"/>
              </a:cxn>
              <a:cxn ang="0">
                <a:pos x="269" y="119"/>
              </a:cxn>
              <a:cxn ang="0">
                <a:pos x="31" y="76"/>
              </a:cxn>
              <a:cxn ang="0">
                <a:pos x="813" y="604"/>
              </a:cxn>
              <a:cxn ang="0">
                <a:pos x="542" y="651"/>
              </a:cxn>
              <a:cxn ang="0">
                <a:pos x="250" y="605"/>
              </a:cxn>
              <a:cxn ang="0">
                <a:pos x="250" y="575"/>
              </a:cxn>
              <a:cxn ang="0">
                <a:pos x="810" y="574"/>
              </a:cxn>
              <a:cxn ang="0">
                <a:pos x="813" y="573"/>
              </a:cxn>
              <a:cxn ang="0">
                <a:pos x="813" y="604"/>
              </a:cxn>
              <a:cxn ang="0">
                <a:pos x="542" y="446"/>
              </a:cxn>
              <a:cxn ang="0">
                <a:pos x="250" y="403"/>
              </a:cxn>
              <a:cxn ang="0">
                <a:pos x="250" y="372"/>
              </a:cxn>
              <a:cxn ang="0">
                <a:pos x="253" y="373"/>
              </a:cxn>
              <a:cxn ang="0">
                <a:pos x="810" y="373"/>
              </a:cxn>
              <a:cxn ang="0">
                <a:pos x="813" y="373"/>
              </a:cxn>
              <a:cxn ang="0">
                <a:pos x="813" y="403"/>
              </a:cxn>
              <a:cxn ang="0">
                <a:pos x="542" y="446"/>
              </a:cxn>
            </a:cxnLst>
            <a:rect l="0" t="0" r="r" b="b"/>
            <a:pathLst>
              <a:path w="1071" h="832">
                <a:moveTo>
                  <a:pt x="1068" y="447"/>
                </a:moveTo>
                <a:cubicBezTo>
                  <a:pt x="1068" y="447"/>
                  <a:pt x="1069" y="447"/>
                  <a:pt x="1070" y="447"/>
                </a:cubicBezTo>
                <a:lnTo>
                  <a:pt x="1070" y="285"/>
                </a:lnTo>
                <a:cubicBezTo>
                  <a:pt x="982" y="314"/>
                  <a:pt x="893" y="325"/>
                  <a:pt x="813" y="325"/>
                </a:cubicBezTo>
                <a:lnTo>
                  <a:pt x="813" y="298"/>
                </a:lnTo>
                <a:cubicBezTo>
                  <a:pt x="891" y="298"/>
                  <a:pt x="979" y="287"/>
                  <a:pt x="1066" y="256"/>
                </a:cubicBezTo>
                <a:cubicBezTo>
                  <a:pt x="1067" y="256"/>
                  <a:pt x="1068" y="255"/>
                  <a:pt x="1069" y="255"/>
                </a:cubicBezTo>
                <a:lnTo>
                  <a:pt x="1069" y="76"/>
                </a:lnTo>
                <a:cubicBezTo>
                  <a:pt x="1069" y="1"/>
                  <a:pt x="811" y="0"/>
                  <a:pt x="800" y="0"/>
                </a:cubicBezTo>
                <a:cubicBezTo>
                  <a:pt x="790" y="0"/>
                  <a:pt x="566" y="1"/>
                  <a:pt x="535" y="62"/>
                </a:cubicBezTo>
                <a:cubicBezTo>
                  <a:pt x="504" y="1"/>
                  <a:pt x="280" y="0"/>
                  <a:pt x="269" y="0"/>
                </a:cubicBezTo>
                <a:cubicBezTo>
                  <a:pt x="258" y="0"/>
                  <a:pt x="0" y="1"/>
                  <a:pt x="0" y="76"/>
                </a:cubicBezTo>
                <a:lnTo>
                  <a:pt x="0" y="255"/>
                </a:lnTo>
                <a:cubicBezTo>
                  <a:pt x="2" y="255"/>
                  <a:pt x="2" y="255"/>
                  <a:pt x="3" y="256"/>
                </a:cubicBezTo>
                <a:cubicBezTo>
                  <a:pt x="10" y="259"/>
                  <a:pt x="112" y="292"/>
                  <a:pt x="250" y="297"/>
                </a:cubicBezTo>
                <a:lnTo>
                  <a:pt x="250" y="325"/>
                </a:lnTo>
                <a:cubicBezTo>
                  <a:pt x="130" y="321"/>
                  <a:pt x="35" y="296"/>
                  <a:pt x="1" y="285"/>
                </a:cubicBezTo>
                <a:lnTo>
                  <a:pt x="1" y="449"/>
                </a:lnTo>
                <a:cubicBezTo>
                  <a:pt x="29" y="459"/>
                  <a:pt x="126" y="488"/>
                  <a:pt x="250" y="492"/>
                </a:cubicBezTo>
                <a:lnTo>
                  <a:pt x="250" y="520"/>
                </a:lnTo>
                <a:cubicBezTo>
                  <a:pt x="135" y="517"/>
                  <a:pt x="43" y="492"/>
                  <a:pt x="0" y="477"/>
                </a:cubicBezTo>
                <a:lnTo>
                  <a:pt x="0" y="617"/>
                </a:lnTo>
                <a:cubicBezTo>
                  <a:pt x="0" y="681"/>
                  <a:pt x="187" y="691"/>
                  <a:pt x="250" y="692"/>
                </a:cubicBezTo>
                <a:lnTo>
                  <a:pt x="250" y="751"/>
                </a:lnTo>
                <a:cubicBezTo>
                  <a:pt x="250" y="830"/>
                  <a:pt x="520" y="831"/>
                  <a:pt x="532" y="831"/>
                </a:cubicBezTo>
                <a:cubicBezTo>
                  <a:pt x="543" y="831"/>
                  <a:pt x="813" y="830"/>
                  <a:pt x="813" y="751"/>
                </a:cubicBezTo>
                <a:lnTo>
                  <a:pt x="813" y="693"/>
                </a:lnTo>
                <a:cubicBezTo>
                  <a:pt x="867" y="692"/>
                  <a:pt x="1069" y="683"/>
                  <a:pt x="1069" y="617"/>
                </a:cubicBezTo>
                <a:lnTo>
                  <a:pt x="1069" y="477"/>
                </a:lnTo>
                <a:cubicBezTo>
                  <a:pt x="980" y="509"/>
                  <a:pt x="893" y="521"/>
                  <a:pt x="813" y="521"/>
                </a:cubicBezTo>
                <a:lnTo>
                  <a:pt x="813" y="493"/>
                </a:lnTo>
                <a:cubicBezTo>
                  <a:pt x="892" y="492"/>
                  <a:pt x="981" y="481"/>
                  <a:pt x="1068" y="447"/>
                </a:cubicBezTo>
                <a:close/>
                <a:moveTo>
                  <a:pt x="282" y="184"/>
                </a:moveTo>
                <a:cubicBezTo>
                  <a:pt x="282" y="159"/>
                  <a:pt x="393" y="139"/>
                  <a:pt x="531" y="139"/>
                </a:cubicBezTo>
                <a:cubicBezTo>
                  <a:pt x="668" y="139"/>
                  <a:pt x="780" y="158"/>
                  <a:pt x="780" y="184"/>
                </a:cubicBezTo>
                <a:cubicBezTo>
                  <a:pt x="780" y="209"/>
                  <a:pt x="668" y="230"/>
                  <a:pt x="531" y="230"/>
                </a:cubicBezTo>
                <a:cubicBezTo>
                  <a:pt x="393" y="230"/>
                  <a:pt x="282" y="210"/>
                  <a:pt x="282" y="184"/>
                </a:cubicBezTo>
                <a:close/>
                <a:moveTo>
                  <a:pt x="799" y="32"/>
                </a:moveTo>
                <a:cubicBezTo>
                  <a:pt x="931" y="32"/>
                  <a:pt x="1037" y="52"/>
                  <a:pt x="1037" y="76"/>
                </a:cubicBezTo>
                <a:cubicBezTo>
                  <a:pt x="1037" y="100"/>
                  <a:pt x="931" y="119"/>
                  <a:pt x="799" y="119"/>
                </a:cubicBezTo>
                <a:cubicBezTo>
                  <a:pt x="668" y="119"/>
                  <a:pt x="563" y="100"/>
                  <a:pt x="563" y="76"/>
                </a:cubicBezTo>
                <a:cubicBezTo>
                  <a:pt x="563" y="52"/>
                  <a:pt x="669" y="32"/>
                  <a:pt x="799" y="32"/>
                </a:cubicBezTo>
                <a:close/>
                <a:moveTo>
                  <a:pt x="31" y="76"/>
                </a:moveTo>
                <a:cubicBezTo>
                  <a:pt x="31" y="52"/>
                  <a:pt x="138" y="32"/>
                  <a:pt x="269" y="32"/>
                </a:cubicBezTo>
                <a:cubicBezTo>
                  <a:pt x="400" y="32"/>
                  <a:pt x="507" y="52"/>
                  <a:pt x="507" y="76"/>
                </a:cubicBezTo>
                <a:cubicBezTo>
                  <a:pt x="507" y="100"/>
                  <a:pt x="400" y="119"/>
                  <a:pt x="269" y="119"/>
                </a:cubicBezTo>
                <a:cubicBezTo>
                  <a:pt x="138" y="119"/>
                  <a:pt x="31" y="100"/>
                  <a:pt x="31" y="76"/>
                </a:cubicBezTo>
                <a:close/>
                <a:moveTo>
                  <a:pt x="813" y="604"/>
                </a:moveTo>
                <a:cubicBezTo>
                  <a:pt x="720" y="639"/>
                  <a:pt x="626" y="651"/>
                  <a:pt x="542" y="651"/>
                </a:cubicBezTo>
                <a:cubicBezTo>
                  <a:pt x="408" y="651"/>
                  <a:pt x="298" y="622"/>
                  <a:pt x="250" y="605"/>
                </a:cubicBezTo>
                <a:lnTo>
                  <a:pt x="250" y="575"/>
                </a:lnTo>
                <a:cubicBezTo>
                  <a:pt x="300" y="593"/>
                  <a:pt x="561" y="671"/>
                  <a:pt x="810" y="574"/>
                </a:cubicBezTo>
                <a:cubicBezTo>
                  <a:pt x="811" y="574"/>
                  <a:pt x="812" y="574"/>
                  <a:pt x="813" y="573"/>
                </a:cubicBezTo>
                <a:lnTo>
                  <a:pt x="813" y="604"/>
                </a:lnTo>
                <a:close/>
                <a:moveTo>
                  <a:pt x="542" y="446"/>
                </a:moveTo>
                <a:cubicBezTo>
                  <a:pt x="402" y="446"/>
                  <a:pt x="289" y="416"/>
                  <a:pt x="250" y="403"/>
                </a:cubicBezTo>
                <a:lnTo>
                  <a:pt x="250" y="372"/>
                </a:lnTo>
                <a:cubicBezTo>
                  <a:pt x="251" y="372"/>
                  <a:pt x="252" y="373"/>
                  <a:pt x="253" y="373"/>
                </a:cubicBezTo>
                <a:cubicBezTo>
                  <a:pt x="265" y="378"/>
                  <a:pt x="539" y="469"/>
                  <a:pt x="810" y="373"/>
                </a:cubicBezTo>
                <a:cubicBezTo>
                  <a:pt x="810" y="373"/>
                  <a:pt x="812" y="373"/>
                  <a:pt x="813" y="373"/>
                </a:cubicBezTo>
                <a:lnTo>
                  <a:pt x="813" y="403"/>
                </a:lnTo>
                <a:cubicBezTo>
                  <a:pt x="720" y="434"/>
                  <a:pt x="626" y="446"/>
                  <a:pt x="542" y="446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bevel/>
            <a:headEnd/>
            <a:tailEnd/>
          </a:ln>
          <a:effectLst/>
        </p:spPr>
        <p:txBody>
          <a:bodyPr wrap="none" anchor="ctr">
            <a:prstTxWarp prst="textNoShape">
              <a:avLst/>
            </a:prstTxWarp>
          </a:bodyPr>
          <a:lstStyle>
            <a:defPPr>
              <a:defRPr lang="en-GB"/>
            </a:defPPr>
            <a:lvl1pPr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1pPr>
            <a:lvl2pPr marL="742950" indent="-28575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2pPr>
            <a:lvl3pPr marL="1143000" indent="-22860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3pPr>
            <a:lvl4pPr marL="1600200" indent="-22860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4pPr>
            <a:lvl5pPr marL="2057400" indent="-22860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9pPr>
          </a:lstStyle>
          <a:p>
            <a:endParaRPr lang="en-US" sz="1350">
              <a:solidFill>
                <a:srgbClr val="676767"/>
              </a:solidFill>
            </a:endParaRPr>
          </a:p>
        </p:txBody>
      </p:sp>
      <p:sp>
        <p:nvSpPr>
          <p:cNvPr id="2587" name="Oval 2586"/>
          <p:cNvSpPr/>
          <p:nvPr/>
        </p:nvSpPr>
        <p:spPr>
          <a:xfrm>
            <a:off x="6189976" y="1748940"/>
            <a:ext cx="479510" cy="482252"/>
          </a:xfrm>
          <a:prstGeom prst="ellipse">
            <a:avLst/>
          </a:prstGeom>
          <a:gradFill flip="none" rotWithShape="1">
            <a:gsLst>
              <a:gs pos="1000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</a:gsLst>
            <a:lin ang="5400000" scaled="0"/>
            <a:tileRect/>
          </a:gra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676767"/>
              </a:solidFill>
              <a:cs typeface="Arial"/>
            </a:endParaRPr>
          </a:p>
        </p:txBody>
      </p:sp>
      <p:sp>
        <p:nvSpPr>
          <p:cNvPr id="2588" name="Oval 2587"/>
          <p:cNvSpPr/>
          <p:nvPr/>
        </p:nvSpPr>
        <p:spPr>
          <a:xfrm>
            <a:off x="6215541" y="1774180"/>
            <a:ext cx="428206" cy="430655"/>
          </a:xfrm>
          <a:prstGeom prst="ellipse">
            <a:avLst/>
          </a:prstGeom>
          <a:gradFill>
            <a:gsLst>
              <a:gs pos="0">
                <a:srgbClr val="00BCFF"/>
              </a:gs>
              <a:gs pos="100000">
                <a:schemeClr val="accent1"/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t" anchorCtr="0" compatLnSpc="1">
            <a:prstTxWarp prst="textNoShape">
              <a:avLst/>
            </a:prstTxWarp>
          </a:bodyPr>
          <a:lstStyle/>
          <a:p>
            <a:pPr defTabSz="514350"/>
            <a:endParaRPr lang="en-US" sz="1400" dirty="0">
              <a:solidFill>
                <a:srgbClr val="FFFFFF"/>
              </a:solidFill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2589" name="Freeform 2588"/>
          <p:cNvSpPr>
            <a:spLocks noChangeArrowheads="1"/>
          </p:cNvSpPr>
          <p:nvPr/>
        </p:nvSpPr>
        <p:spPr bwMode="auto">
          <a:xfrm>
            <a:off x="6295909" y="1895791"/>
            <a:ext cx="263717" cy="205113"/>
          </a:xfrm>
          <a:custGeom>
            <a:avLst/>
            <a:gdLst/>
            <a:ahLst/>
            <a:cxnLst>
              <a:cxn ang="0">
                <a:pos x="1068" y="447"/>
              </a:cxn>
              <a:cxn ang="0">
                <a:pos x="1070" y="447"/>
              </a:cxn>
              <a:cxn ang="0">
                <a:pos x="1070" y="285"/>
              </a:cxn>
              <a:cxn ang="0">
                <a:pos x="813" y="325"/>
              </a:cxn>
              <a:cxn ang="0">
                <a:pos x="813" y="298"/>
              </a:cxn>
              <a:cxn ang="0">
                <a:pos x="1066" y="256"/>
              </a:cxn>
              <a:cxn ang="0">
                <a:pos x="1069" y="255"/>
              </a:cxn>
              <a:cxn ang="0">
                <a:pos x="1069" y="76"/>
              </a:cxn>
              <a:cxn ang="0">
                <a:pos x="800" y="0"/>
              </a:cxn>
              <a:cxn ang="0">
                <a:pos x="535" y="62"/>
              </a:cxn>
              <a:cxn ang="0">
                <a:pos x="269" y="0"/>
              </a:cxn>
              <a:cxn ang="0">
                <a:pos x="0" y="76"/>
              </a:cxn>
              <a:cxn ang="0">
                <a:pos x="0" y="255"/>
              </a:cxn>
              <a:cxn ang="0">
                <a:pos x="3" y="256"/>
              </a:cxn>
              <a:cxn ang="0">
                <a:pos x="250" y="297"/>
              </a:cxn>
              <a:cxn ang="0">
                <a:pos x="250" y="325"/>
              </a:cxn>
              <a:cxn ang="0">
                <a:pos x="1" y="285"/>
              </a:cxn>
              <a:cxn ang="0">
                <a:pos x="1" y="449"/>
              </a:cxn>
              <a:cxn ang="0">
                <a:pos x="250" y="492"/>
              </a:cxn>
              <a:cxn ang="0">
                <a:pos x="250" y="520"/>
              </a:cxn>
              <a:cxn ang="0">
                <a:pos x="0" y="477"/>
              </a:cxn>
              <a:cxn ang="0">
                <a:pos x="0" y="617"/>
              </a:cxn>
              <a:cxn ang="0">
                <a:pos x="250" y="692"/>
              </a:cxn>
              <a:cxn ang="0">
                <a:pos x="250" y="751"/>
              </a:cxn>
              <a:cxn ang="0">
                <a:pos x="532" y="831"/>
              </a:cxn>
              <a:cxn ang="0">
                <a:pos x="813" y="751"/>
              </a:cxn>
              <a:cxn ang="0">
                <a:pos x="813" y="693"/>
              </a:cxn>
              <a:cxn ang="0">
                <a:pos x="1069" y="617"/>
              </a:cxn>
              <a:cxn ang="0">
                <a:pos x="1069" y="477"/>
              </a:cxn>
              <a:cxn ang="0">
                <a:pos x="813" y="521"/>
              </a:cxn>
              <a:cxn ang="0">
                <a:pos x="813" y="493"/>
              </a:cxn>
              <a:cxn ang="0">
                <a:pos x="1068" y="447"/>
              </a:cxn>
              <a:cxn ang="0">
                <a:pos x="282" y="184"/>
              </a:cxn>
              <a:cxn ang="0">
                <a:pos x="531" y="139"/>
              </a:cxn>
              <a:cxn ang="0">
                <a:pos x="780" y="184"/>
              </a:cxn>
              <a:cxn ang="0">
                <a:pos x="531" y="230"/>
              </a:cxn>
              <a:cxn ang="0">
                <a:pos x="282" y="184"/>
              </a:cxn>
              <a:cxn ang="0">
                <a:pos x="799" y="32"/>
              </a:cxn>
              <a:cxn ang="0">
                <a:pos x="1037" y="76"/>
              </a:cxn>
              <a:cxn ang="0">
                <a:pos x="799" y="119"/>
              </a:cxn>
              <a:cxn ang="0">
                <a:pos x="563" y="76"/>
              </a:cxn>
              <a:cxn ang="0">
                <a:pos x="799" y="32"/>
              </a:cxn>
              <a:cxn ang="0">
                <a:pos x="31" y="76"/>
              </a:cxn>
              <a:cxn ang="0">
                <a:pos x="269" y="32"/>
              </a:cxn>
              <a:cxn ang="0">
                <a:pos x="507" y="76"/>
              </a:cxn>
              <a:cxn ang="0">
                <a:pos x="269" y="119"/>
              </a:cxn>
              <a:cxn ang="0">
                <a:pos x="31" y="76"/>
              </a:cxn>
              <a:cxn ang="0">
                <a:pos x="813" y="604"/>
              </a:cxn>
              <a:cxn ang="0">
                <a:pos x="542" y="651"/>
              </a:cxn>
              <a:cxn ang="0">
                <a:pos x="250" y="605"/>
              </a:cxn>
              <a:cxn ang="0">
                <a:pos x="250" y="575"/>
              </a:cxn>
              <a:cxn ang="0">
                <a:pos x="810" y="574"/>
              </a:cxn>
              <a:cxn ang="0">
                <a:pos x="813" y="573"/>
              </a:cxn>
              <a:cxn ang="0">
                <a:pos x="813" y="604"/>
              </a:cxn>
              <a:cxn ang="0">
                <a:pos x="542" y="446"/>
              </a:cxn>
              <a:cxn ang="0">
                <a:pos x="250" y="403"/>
              </a:cxn>
              <a:cxn ang="0">
                <a:pos x="250" y="372"/>
              </a:cxn>
              <a:cxn ang="0">
                <a:pos x="253" y="373"/>
              </a:cxn>
              <a:cxn ang="0">
                <a:pos x="810" y="373"/>
              </a:cxn>
              <a:cxn ang="0">
                <a:pos x="813" y="373"/>
              </a:cxn>
              <a:cxn ang="0">
                <a:pos x="813" y="403"/>
              </a:cxn>
              <a:cxn ang="0">
                <a:pos x="542" y="446"/>
              </a:cxn>
            </a:cxnLst>
            <a:rect l="0" t="0" r="r" b="b"/>
            <a:pathLst>
              <a:path w="1071" h="832">
                <a:moveTo>
                  <a:pt x="1068" y="447"/>
                </a:moveTo>
                <a:cubicBezTo>
                  <a:pt x="1068" y="447"/>
                  <a:pt x="1069" y="447"/>
                  <a:pt x="1070" y="447"/>
                </a:cubicBezTo>
                <a:lnTo>
                  <a:pt x="1070" y="285"/>
                </a:lnTo>
                <a:cubicBezTo>
                  <a:pt x="982" y="314"/>
                  <a:pt x="893" y="325"/>
                  <a:pt x="813" y="325"/>
                </a:cubicBezTo>
                <a:lnTo>
                  <a:pt x="813" y="298"/>
                </a:lnTo>
                <a:cubicBezTo>
                  <a:pt x="891" y="298"/>
                  <a:pt x="979" y="287"/>
                  <a:pt x="1066" y="256"/>
                </a:cubicBezTo>
                <a:cubicBezTo>
                  <a:pt x="1067" y="256"/>
                  <a:pt x="1068" y="255"/>
                  <a:pt x="1069" y="255"/>
                </a:cubicBezTo>
                <a:lnTo>
                  <a:pt x="1069" y="76"/>
                </a:lnTo>
                <a:cubicBezTo>
                  <a:pt x="1069" y="1"/>
                  <a:pt x="811" y="0"/>
                  <a:pt x="800" y="0"/>
                </a:cubicBezTo>
                <a:cubicBezTo>
                  <a:pt x="790" y="0"/>
                  <a:pt x="566" y="1"/>
                  <a:pt x="535" y="62"/>
                </a:cubicBezTo>
                <a:cubicBezTo>
                  <a:pt x="504" y="1"/>
                  <a:pt x="280" y="0"/>
                  <a:pt x="269" y="0"/>
                </a:cubicBezTo>
                <a:cubicBezTo>
                  <a:pt x="258" y="0"/>
                  <a:pt x="0" y="1"/>
                  <a:pt x="0" y="76"/>
                </a:cubicBezTo>
                <a:lnTo>
                  <a:pt x="0" y="255"/>
                </a:lnTo>
                <a:cubicBezTo>
                  <a:pt x="2" y="255"/>
                  <a:pt x="2" y="255"/>
                  <a:pt x="3" y="256"/>
                </a:cubicBezTo>
                <a:cubicBezTo>
                  <a:pt x="10" y="259"/>
                  <a:pt x="112" y="292"/>
                  <a:pt x="250" y="297"/>
                </a:cubicBezTo>
                <a:lnTo>
                  <a:pt x="250" y="325"/>
                </a:lnTo>
                <a:cubicBezTo>
                  <a:pt x="130" y="321"/>
                  <a:pt x="35" y="296"/>
                  <a:pt x="1" y="285"/>
                </a:cubicBezTo>
                <a:lnTo>
                  <a:pt x="1" y="449"/>
                </a:lnTo>
                <a:cubicBezTo>
                  <a:pt x="29" y="459"/>
                  <a:pt x="126" y="488"/>
                  <a:pt x="250" y="492"/>
                </a:cubicBezTo>
                <a:lnTo>
                  <a:pt x="250" y="520"/>
                </a:lnTo>
                <a:cubicBezTo>
                  <a:pt x="135" y="517"/>
                  <a:pt x="43" y="492"/>
                  <a:pt x="0" y="477"/>
                </a:cubicBezTo>
                <a:lnTo>
                  <a:pt x="0" y="617"/>
                </a:lnTo>
                <a:cubicBezTo>
                  <a:pt x="0" y="681"/>
                  <a:pt x="187" y="691"/>
                  <a:pt x="250" y="692"/>
                </a:cubicBezTo>
                <a:lnTo>
                  <a:pt x="250" y="751"/>
                </a:lnTo>
                <a:cubicBezTo>
                  <a:pt x="250" y="830"/>
                  <a:pt x="520" y="831"/>
                  <a:pt x="532" y="831"/>
                </a:cubicBezTo>
                <a:cubicBezTo>
                  <a:pt x="543" y="831"/>
                  <a:pt x="813" y="830"/>
                  <a:pt x="813" y="751"/>
                </a:cubicBezTo>
                <a:lnTo>
                  <a:pt x="813" y="693"/>
                </a:lnTo>
                <a:cubicBezTo>
                  <a:pt x="867" y="692"/>
                  <a:pt x="1069" y="683"/>
                  <a:pt x="1069" y="617"/>
                </a:cubicBezTo>
                <a:lnTo>
                  <a:pt x="1069" y="477"/>
                </a:lnTo>
                <a:cubicBezTo>
                  <a:pt x="980" y="509"/>
                  <a:pt x="893" y="521"/>
                  <a:pt x="813" y="521"/>
                </a:cubicBezTo>
                <a:lnTo>
                  <a:pt x="813" y="493"/>
                </a:lnTo>
                <a:cubicBezTo>
                  <a:pt x="892" y="492"/>
                  <a:pt x="981" y="481"/>
                  <a:pt x="1068" y="447"/>
                </a:cubicBezTo>
                <a:close/>
                <a:moveTo>
                  <a:pt x="282" y="184"/>
                </a:moveTo>
                <a:cubicBezTo>
                  <a:pt x="282" y="159"/>
                  <a:pt x="393" y="139"/>
                  <a:pt x="531" y="139"/>
                </a:cubicBezTo>
                <a:cubicBezTo>
                  <a:pt x="668" y="139"/>
                  <a:pt x="780" y="158"/>
                  <a:pt x="780" y="184"/>
                </a:cubicBezTo>
                <a:cubicBezTo>
                  <a:pt x="780" y="209"/>
                  <a:pt x="668" y="230"/>
                  <a:pt x="531" y="230"/>
                </a:cubicBezTo>
                <a:cubicBezTo>
                  <a:pt x="393" y="230"/>
                  <a:pt x="282" y="210"/>
                  <a:pt x="282" y="184"/>
                </a:cubicBezTo>
                <a:close/>
                <a:moveTo>
                  <a:pt x="799" y="32"/>
                </a:moveTo>
                <a:cubicBezTo>
                  <a:pt x="931" y="32"/>
                  <a:pt x="1037" y="52"/>
                  <a:pt x="1037" y="76"/>
                </a:cubicBezTo>
                <a:cubicBezTo>
                  <a:pt x="1037" y="100"/>
                  <a:pt x="931" y="119"/>
                  <a:pt x="799" y="119"/>
                </a:cubicBezTo>
                <a:cubicBezTo>
                  <a:pt x="668" y="119"/>
                  <a:pt x="563" y="100"/>
                  <a:pt x="563" y="76"/>
                </a:cubicBezTo>
                <a:cubicBezTo>
                  <a:pt x="563" y="52"/>
                  <a:pt x="669" y="32"/>
                  <a:pt x="799" y="32"/>
                </a:cubicBezTo>
                <a:close/>
                <a:moveTo>
                  <a:pt x="31" y="76"/>
                </a:moveTo>
                <a:cubicBezTo>
                  <a:pt x="31" y="52"/>
                  <a:pt x="138" y="32"/>
                  <a:pt x="269" y="32"/>
                </a:cubicBezTo>
                <a:cubicBezTo>
                  <a:pt x="400" y="32"/>
                  <a:pt x="507" y="52"/>
                  <a:pt x="507" y="76"/>
                </a:cubicBezTo>
                <a:cubicBezTo>
                  <a:pt x="507" y="100"/>
                  <a:pt x="400" y="119"/>
                  <a:pt x="269" y="119"/>
                </a:cubicBezTo>
                <a:cubicBezTo>
                  <a:pt x="138" y="119"/>
                  <a:pt x="31" y="100"/>
                  <a:pt x="31" y="76"/>
                </a:cubicBezTo>
                <a:close/>
                <a:moveTo>
                  <a:pt x="813" y="604"/>
                </a:moveTo>
                <a:cubicBezTo>
                  <a:pt x="720" y="639"/>
                  <a:pt x="626" y="651"/>
                  <a:pt x="542" y="651"/>
                </a:cubicBezTo>
                <a:cubicBezTo>
                  <a:pt x="408" y="651"/>
                  <a:pt x="298" y="622"/>
                  <a:pt x="250" y="605"/>
                </a:cubicBezTo>
                <a:lnTo>
                  <a:pt x="250" y="575"/>
                </a:lnTo>
                <a:cubicBezTo>
                  <a:pt x="300" y="593"/>
                  <a:pt x="561" y="671"/>
                  <a:pt x="810" y="574"/>
                </a:cubicBezTo>
                <a:cubicBezTo>
                  <a:pt x="811" y="574"/>
                  <a:pt x="812" y="574"/>
                  <a:pt x="813" y="573"/>
                </a:cubicBezTo>
                <a:lnTo>
                  <a:pt x="813" y="604"/>
                </a:lnTo>
                <a:close/>
                <a:moveTo>
                  <a:pt x="542" y="446"/>
                </a:moveTo>
                <a:cubicBezTo>
                  <a:pt x="402" y="446"/>
                  <a:pt x="289" y="416"/>
                  <a:pt x="250" y="403"/>
                </a:cubicBezTo>
                <a:lnTo>
                  <a:pt x="250" y="372"/>
                </a:lnTo>
                <a:cubicBezTo>
                  <a:pt x="251" y="372"/>
                  <a:pt x="252" y="373"/>
                  <a:pt x="253" y="373"/>
                </a:cubicBezTo>
                <a:cubicBezTo>
                  <a:pt x="265" y="378"/>
                  <a:pt x="539" y="469"/>
                  <a:pt x="810" y="373"/>
                </a:cubicBezTo>
                <a:cubicBezTo>
                  <a:pt x="810" y="373"/>
                  <a:pt x="812" y="373"/>
                  <a:pt x="813" y="373"/>
                </a:cubicBezTo>
                <a:lnTo>
                  <a:pt x="813" y="403"/>
                </a:lnTo>
                <a:cubicBezTo>
                  <a:pt x="720" y="434"/>
                  <a:pt x="626" y="446"/>
                  <a:pt x="542" y="446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bevel/>
            <a:headEnd/>
            <a:tailEnd/>
          </a:ln>
          <a:effectLst/>
        </p:spPr>
        <p:txBody>
          <a:bodyPr wrap="none" anchor="ctr">
            <a:prstTxWarp prst="textNoShape">
              <a:avLst/>
            </a:prstTxWarp>
          </a:bodyPr>
          <a:lstStyle>
            <a:defPPr>
              <a:defRPr lang="en-GB"/>
            </a:defPPr>
            <a:lvl1pPr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1pPr>
            <a:lvl2pPr marL="742950" indent="-28575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2pPr>
            <a:lvl3pPr marL="1143000" indent="-22860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3pPr>
            <a:lvl4pPr marL="1600200" indent="-22860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4pPr>
            <a:lvl5pPr marL="2057400" indent="-22860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9pPr>
          </a:lstStyle>
          <a:p>
            <a:endParaRPr lang="en-US" sz="1350">
              <a:solidFill>
                <a:srgbClr val="676767"/>
              </a:solidFill>
            </a:endParaRPr>
          </a:p>
        </p:txBody>
      </p:sp>
      <p:sp>
        <p:nvSpPr>
          <p:cNvPr id="2591" name="Oval 2590"/>
          <p:cNvSpPr/>
          <p:nvPr/>
        </p:nvSpPr>
        <p:spPr>
          <a:xfrm>
            <a:off x="7803703" y="2067174"/>
            <a:ext cx="353245" cy="355266"/>
          </a:xfrm>
          <a:prstGeom prst="ellipse">
            <a:avLst/>
          </a:prstGeom>
          <a:gradFill flip="none" rotWithShape="1">
            <a:gsLst>
              <a:gs pos="10000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</a:gsLst>
            <a:lin ang="5400000" scaled="0"/>
            <a:tileRect/>
          </a:gradFill>
          <a:ln w="10160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srgbClr val="676767"/>
              </a:solidFill>
              <a:cs typeface="Arial"/>
            </a:endParaRPr>
          </a:p>
        </p:txBody>
      </p:sp>
      <p:sp>
        <p:nvSpPr>
          <p:cNvPr id="2592" name="Oval 2591"/>
          <p:cNvSpPr/>
          <p:nvPr/>
        </p:nvSpPr>
        <p:spPr>
          <a:xfrm>
            <a:off x="7822536" y="2085768"/>
            <a:ext cx="315451" cy="317255"/>
          </a:xfrm>
          <a:prstGeom prst="ellipse">
            <a:avLst/>
          </a:prstGeom>
          <a:gradFill>
            <a:gsLst>
              <a:gs pos="0">
                <a:srgbClr val="00BCFF"/>
              </a:gs>
              <a:gs pos="100000">
                <a:schemeClr val="accent1"/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t" anchorCtr="0" compatLnSpc="1">
            <a:prstTxWarp prst="textNoShape">
              <a:avLst/>
            </a:prstTxWarp>
          </a:bodyPr>
          <a:lstStyle/>
          <a:p>
            <a:pPr defTabSz="514350"/>
            <a:endParaRPr lang="en-US" sz="1400" dirty="0">
              <a:solidFill>
                <a:srgbClr val="FFFFFF"/>
              </a:solidFill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2593" name="Freeform 2592"/>
          <p:cNvSpPr>
            <a:spLocks noChangeArrowheads="1"/>
          </p:cNvSpPr>
          <p:nvPr/>
        </p:nvSpPr>
        <p:spPr bwMode="auto">
          <a:xfrm>
            <a:off x="7881742" y="2175356"/>
            <a:ext cx="194275" cy="151103"/>
          </a:xfrm>
          <a:custGeom>
            <a:avLst/>
            <a:gdLst/>
            <a:ahLst/>
            <a:cxnLst>
              <a:cxn ang="0">
                <a:pos x="1068" y="447"/>
              </a:cxn>
              <a:cxn ang="0">
                <a:pos x="1070" y="447"/>
              </a:cxn>
              <a:cxn ang="0">
                <a:pos x="1070" y="285"/>
              </a:cxn>
              <a:cxn ang="0">
                <a:pos x="813" y="325"/>
              </a:cxn>
              <a:cxn ang="0">
                <a:pos x="813" y="298"/>
              </a:cxn>
              <a:cxn ang="0">
                <a:pos x="1066" y="256"/>
              </a:cxn>
              <a:cxn ang="0">
                <a:pos x="1069" y="255"/>
              </a:cxn>
              <a:cxn ang="0">
                <a:pos x="1069" y="76"/>
              </a:cxn>
              <a:cxn ang="0">
                <a:pos x="800" y="0"/>
              </a:cxn>
              <a:cxn ang="0">
                <a:pos x="535" y="62"/>
              </a:cxn>
              <a:cxn ang="0">
                <a:pos x="269" y="0"/>
              </a:cxn>
              <a:cxn ang="0">
                <a:pos x="0" y="76"/>
              </a:cxn>
              <a:cxn ang="0">
                <a:pos x="0" y="255"/>
              </a:cxn>
              <a:cxn ang="0">
                <a:pos x="3" y="256"/>
              </a:cxn>
              <a:cxn ang="0">
                <a:pos x="250" y="297"/>
              </a:cxn>
              <a:cxn ang="0">
                <a:pos x="250" y="325"/>
              </a:cxn>
              <a:cxn ang="0">
                <a:pos x="1" y="285"/>
              </a:cxn>
              <a:cxn ang="0">
                <a:pos x="1" y="449"/>
              </a:cxn>
              <a:cxn ang="0">
                <a:pos x="250" y="492"/>
              </a:cxn>
              <a:cxn ang="0">
                <a:pos x="250" y="520"/>
              </a:cxn>
              <a:cxn ang="0">
                <a:pos x="0" y="477"/>
              </a:cxn>
              <a:cxn ang="0">
                <a:pos x="0" y="617"/>
              </a:cxn>
              <a:cxn ang="0">
                <a:pos x="250" y="692"/>
              </a:cxn>
              <a:cxn ang="0">
                <a:pos x="250" y="751"/>
              </a:cxn>
              <a:cxn ang="0">
                <a:pos x="532" y="831"/>
              </a:cxn>
              <a:cxn ang="0">
                <a:pos x="813" y="751"/>
              </a:cxn>
              <a:cxn ang="0">
                <a:pos x="813" y="693"/>
              </a:cxn>
              <a:cxn ang="0">
                <a:pos x="1069" y="617"/>
              </a:cxn>
              <a:cxn ang="0">
                <a:pos x="1069" y="477"/>
              </a:cxn>
              <a:cxn ang="0">
                <a:pos x="813" y="521"/>
              </a:cxn>
              <a:cxn ang="0">
                <a:pos x="813" y="493"/>
              </a:cxn>
              <a:cxn ang="0">
                <a:pos x="1068" y="447"/>
              </a:cxn>
              <a:cxn ang="0">
                <a:pos x="282" y="184"/>
              </a:cxn>
              <a:cxn ang="0">
                <a:pos x="531" y="139"/>
              </a:cxn>
              <a:cxn ang="0">
                <a:pos x="780" y="184"/>
              </a:cxn>
              <a:cxn ang="0">
                <a:pos x="531" y="230"/>
              </a:cxn>
              <a:cxn ang="0">
                <a:pos x="282" y="184"/>
              </a:cxn>
              <a:cxn ang="0">
                <a:pos x="799" y="32"/>
              </a:cxn>
              <a:cxn ang="0">
                <a:pos x="1037" y="76"/>
              </a:cxn>
              <a:cxn ang="0">
                <a:pos x="799" y="119"/>
              </a:cxn>
              <a:cxn ang="0">
                <a:pos x="563" y="76"/>
              </a:cxn>
              <a:cxn ang="0">
                <a:pos x="799" y="32"/>
              </a:cxn>
              <a:cxn ang="0">
                <a:pos x="31" y="76"/>
              </a:cxn>
              <a:cxn ang="0">
                <a:pos x="269" y="32"/>
              </a:cxn>
              <a:cxn ang="0">
                <a:pos x="507" y="76"/>
              </a:cxn>
              <a:cxn ang="0">
                <a:pos x="269" y="119"/>
              </a:cxn>
              <a:cxn ang="0">
                <a:pos x="31" y="76"/>
              </a:cxn>
              <a:cxn ang="0">
                <a:pos x="813" y="604"/>
              </a:cxn>
              <a:cxn ang="0">
                <a:pos x="542" y="651"/>
              </a:cxn>
              <a:cxn ang="0">
                <a:pos x="250" y="605"/>
              </a:cxn>
              <a:cxn ang="0">
                <a:pos x="250" y="575"/>
              </a:cxn>
              <a:cxn ang="0">
                <a:pos x="810" y="574"/>
              </a:cxn>
              <a:cxn ang="0">
                <a:pos x="813" y="573"/>
              </a:cxn>
              <a:cxn ang="0">
                <a:pos x="813" y="604"/>
              </a:cxn>
              <a:cxn ang="0">
                <a:pos x="542" y="446"/>
              </a:cxn>
              <a:cxn ang="0">
                <a:pos x="250" y="403"/>
              </a:cxn>
              <a:cxn ang="0">
                <a:pos x="250" y="372"/>
              </a:cxn>
              <a:cxn ang="0">
                <a:pos x="253" y="373"/>
              </a:cxn>
              <a:cxn ang="0">
                <a:pos x="810" y="373"/>
              </a:cxn>
              <a:cxn ang="0">
                <a:pos x="813" y="373"/>
              </a:cxn>
              <a:cxn ang="0">
                <a:pos x="813" y="403"/>
              </a:cxn>
              <a:cxn ang="0">
                <a:pos x="542" y="446"/>
              </a:cxn>
            </a:cxnLst>
            <a:rect l="0" t="0" r="r" b="b"/>
            <a:pathLst>
              <a:path w="1071" h="832">
                <a:moveTo>
                  <a:pt x="1068" y="447"/>
                </a:moveTo>
                <a:cubicBezTo>
                  <a:pt x="1068" y="447"/>
                  <a:pt x="1069" y="447"/>
                  <a:pt x="1070" y="447"/>
                </a:cubicBezTo>
                <a:lnTo>
                  <a:pt x="1070" y="285"/>
                </a:lnTo>
                <a:cubicBezTo>
                  <a:pt x="982" y="314"/>
                  <a:pt x="893" y="325"/>
                  <a:pt x="813" y="325"/>
                </a:cubicBezTo>
                <a:lnTo>
                  <a:pt x="813" y="298"/>
                </a:lnTo>
                <a:cubicBezTo>
                  <a:pt x="891" y="298"/>
                  <a:pt x="979" y="287"/>
                  <a:pt x="1066" y="256"/>
                </a:cubicBezTo>
                <a:cubicBezTo>
                  <a:pt x="1067" y="256"/>
                  <a:pt x="1068" y="255"/>
                  <a:pt x="1069" y="255"/>
                </a:cubicBezTo>
                <a:lnTo>
                  <a:pt x="1069" y="76"/>
                </a:lnTo>
                <a:cubicBezTo>
                  <a:pt x="1069" y="1"/>
                  <a:pt x="811" y="0"/>
                  <a:pt x="800" y="0"/>
                </a:cubicBezTo>
                <a:cubicBezTo>
                  <a:pt x="790" y="0"/>
                  <a:pt x="566" y="1"/>
                  <a:pt x="535" y="62"/>
                </a:cubicBezTo>
                <a:cubicBezTo>
                  <a:pt x="504" y="1"/>
                  <a:pt x="280" y="0"/>
                  <a:pt x="269" y="0"/>
                </a:cubicBezTo>
                <a:cubicBezTo>
                  <a:pt x="258" y="0"/>
                  <a:pt x="0" y="1"/>
                  <a:pt x="0" y="76"/>
                </a:cubicBezTo>
                <a:lnTo>
                  <a:pt x="0" y="255"/>
                </a:lnTo>
                <a:cubicBezTo>
                  <a:pt x="2" y="255"/>
                  <a:pt x="2" y="255"/>
                  <a:pt x="3" y="256"/>
                </a:cubicBezTo>
                <a:cubicBezTo>
                  <a:pt x="10" y="259"/>
                  <a:pt x="112" y="292"/>
                  <a:pt x="250" y="297"/>
                </a:cubicBezTo>
                <a:lnTo>
                  <a:pt x="250" y="325"/>
                </a:lnTo>
                <a:cubicBezTo>
                  <a:pt x="130" y="321"/>
                  <a:pt x="35" y="296"/>
                  <a:pt x="1" y="285"/>
                </a:cubicBezTo>
                <a:lnTo>
                  <a:pt x="1" y="449"/>
                </a:lnTo>
                <a:cubicBezTo>
                  <a:pt x="29" y="459"/>
                  <a:pt x="126" y="488"/>
                  <a:pt x="250" y="492"/>
                </a:cubicBezTo>
                <a:lnTo>
                  <a:pt x="250" y="520"/>
                </a:lnTo>
                <a:cubicBezTo>
                  <a:pt x="135" y="517"/>
                  <a:pt x="43" y="492"/>
                  <a:pt x="0" y="477"/>
                </a:cubicBezTo>
                <a:lnTo>
                  <a:pt x="0" y="617"/>
                </a:lnTo>
                <a:cubicBezTo>
                  <a:pt x="0" y="681"/>
                  <a:pt x="187" y="691"/>
                  <a:pt x="250" y="692"/>
                </a:cubicBezTo>
                <a:lnTo>
                  <a:pt x="250" y="751"/>
                </a:lnTo>
                <a:cubicBezTo>
                  <a:pt x="250" y="830"/>
                  <a:pt x="520" y="831"/>
                  <a:pt x="532" y="831"/>
                </a:cubicBezTo>
                <a:cubicBezTo>
                  <a:pt x="543" y="831"/>
                  <a:pt x="813" y="830"/>
                  <a:pt x="813" y="751"/>
                </a:cubicBezTo>
                <a:lnTo>
                  <a:pt x="813" y="693"/>
                </a:lnTo>
                <a:cubicBezTo>
                  <a:pt x="867" y="692"/>
                  <a:pt x="1069" y="683"/>
                  <a:pt x="1069" y="617"/>
                </a:cubicBezTo>
                <a:lnTo>
                  <a:pt x="1069" y="477"/>
                </a:lnTo>
                <a:cubicBezTo>
                  <a:pt x="980" y="509"/>
                  <a:pt x="893" y="521"/>
                  <a:pt x="813" y="521"/>
                </a:cubicBezTo>
                <a:lnTo>
                  <a:pt x="813" y="493"/>
                </a:lnTo>
                <a:cubicBezTo>
                  <a:pt x="892" y="492"/>
                  <a:pt x="981" y="481"/>
                  <a:pt x="1068" y="447"/>
                </a:cubicBezTo>
                <a:close/>
                <a:moveTo>
                  <a:pt x="282" y="184"/>
                </a:moveTo>
                <a:cubicBezTo>
                  <a:pt x="282" y="159"/>
                  <a:pt x="393" y="139"/>
                  <a:pt x="531" y="139"/>
                </a:cubicBezTo>
                <a:cubicBezTo>
                  <a:pt x="668" y="139"/>
                  <a:pt x="780" y="158"/>
                  <a:pt x="780" y="184"/>
                </a:cubicBezTo>
                <a:cubicBezTo>
                  <a:pt x="780" y="209"/>
                  <a:pt x="668" y="230"/>
                  <a:pt x="531" y="230"/>
                </a:cubicBezTo>
                <a:cubicBezTo>
                  <a:pt x="393" y="230"/>
                  <a:pt x="282" y="210"/>
                  <a:pt x="282" y="184"/>
                </a:cubicBezTo>
                <a:close/>
                <a:moveTo>
                  <a:pt x="799" y="32"/>
                </a:moveTo>
                <a:cubicBezTo>
                  <a:pt x="931" y="32"/>
                  <a:pt x="1037" y="52"/>
                  <a:pt x="1037" y="76"/>
                </a:cubicBezTo>
                <a:cubicBezTo>
                  <a:pt x="1037" y="100"/>
                  <a:pt x="931" y="119"/>
                  <a:pt x="799" y="119"/>
                </a:cubicBezTo>
                <a:cubicBezTo>
                  <a:pt x="668" y="119"/>
                  <a:pt x="563" y="100"/>
                  <a:pt x="563" y="76"/>
                </a:cubicBezTo>
                <a:cubicBezTo>
                  <a:pt x="563" y="52"/>
                  <a:pt x="669" y="32"/>
                  <a:pt x="799" y="32"/>
                </a:cubicBezTo>
                <a:close/>
                <a:moveTo>
                  <a:pt x="31" y="76"/>
                </a:moveTo>
                <a:cubicBezTo>
                  <a:pt x="31" y="52"/>
                  <a:pt x="138" y="32"/>
                  <a:pt x="269" y="32"/>
                </a:cubicBezTo>
                <a:cubicBezTo>
                  <a:pt x="400" y="32"/>
                  <a:pt x="507" y="52"/>
                  <a:pt x="507" y="76"/>
                </a:cubicBezTo>
                <a:cubicBezTo>
                  <a:pt x="507" y="100"/>
                  <a:pt x="400" y="119"/>
                  <a:pt x="269" y="119"/>
                </a:cubicBezTo>
                <a:cubicBezTo>
                  <a:pt x="138" y="119"/>
                  <a:pt x="31" y="100"/>
                  <a:pt x="31" y="76"/>
                </a:cubicBezTo>
                <a:close/>
                <a:moveTo>
                  <a:pt x="813" y="604"/>
                </a:moveTo>
                <a:cubicBezTo>
                  <a:pt x="720" y="639"/>
                  <a:pt x="626" y="651"/>
                  <a:pt x="542" y="651"/>
                </a:cubicBezTo>
                <a:cubicBezTo>
                  <a:pt x="408" y="651"/>
                  <a:pt x="298" y="622"/>
                  <a:pt x="250" y="605"/>
                </a:cubicBezTo>
                <a:lnTo>
                  <a:pt x="250" y="575"/>
                </a:lnTo>
                <a:cubicBezTo>
                  <a:pt x="300" y="593"/>
                  <a:pt x="561" y="671"/>
                  <a:pt x="810" y="574"/>
                </a:cubicBezTo>
                <a:cubicBezTo>
                  <a:pt x="811" y="574"/>
                  <a:pt x="812" y="574"/>
                  <a:pt x="813" y="573"/>
                </a:cubicBezTo>
                <a:lnTo>
                  <a:pt x="813" y="604"/>
                </a:lnTo>
                <a:close/>
                <a:moveTo>
                  <a:pt x="542" y="446"/>
                </a:moveTo>
                <a:cubicBezTo>
                  <a:pt x="402" y="446"/>
                  <a:pt x="289" y="416"/>
                  <a:pt x="250" y="403"/>
                </a:cubicBezTo>
                <a:lnTo>
                  <a:pt x="250" y="372"/>
                </a:lnTo>
                <a:cubicBezTo>
                  <a:pt x="251" y="372"/>
                  <a:pt x="252" y="373"/>
                  <a:pt x="253" y="373"/>
                </a:cubicBezTo>
                <a:cubicBezTo>
                  <a:pt x="265" y="378"/>
                  <a:pt x="539" y="469"/>
                  <a:pt x="810" y="373"/>
                </a:cubicBezTo>
                <a:cubicBezTo>
                  <a:pt x="810" y="373"/>
                  <a:pt x="812" y="373"/>
                  <a:pt x="813" y="373"/>
                </a:cubicBezTo>
                <a:lnTo>
                  <a:pt x="813" y="403"/>
                </a:lnTo>
                <a:cubicBezTo>
                  <a:pt x="720" y="434"/>
                  <a:pt x="626" y="446"/>
                  <a:pt x="542" y="446"/>
                </a:cubicBezTo>
                <a:close/>
              </a:path>
            </a:pathLst>
          </a:custGeom>
          <a:solidFill>
            <a:srgbClr val="FFFFFF"/>
          </a:solidFill>
          <a:ln w="9525" cap="flat">
            <a:noFill/>
            <a:bevel/>
            <a:headEnd/>
            <a:tailEnd/>
          </a:ln>
          <a:effectLst/>
        </p:spPr>
        <p:txBody>
          <a:bodyPr wrap="none" anchor="ctr">
            <a:prstTxWarp prst="textNoShape">
              <a:avLst/>
            </a:prstTxWarp>
          </a:bodyPr>
          <a:lstStyle>
            <a:defPPr>
              <a:defRPr lang="en-GB"/>
            </a:defPPr>
            <a:lvl1pPr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1pPr>
            <a:lvl2pPr marL="742950" indent="-28575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2pPr>
            <a:lvl3pPr marL="1143000" indent="-22860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3pPr>
            <a:lvl4pPr marL="1600200" indent="-22860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4pPr>
            <a:lvl5pPr marL="2057400" indent="-228600" algn="l" defTabSz="457200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-108" charset="0"/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pitchFamily="-108" charset="0"/>
                <a:ea typeface="+mn-ea"/>
                <a:cs typeface="+mn-cs"/>
              </a:defRPr>
            </a:lvl9pPr>
          </a:lstStyle>
          <a:p>
            <a:endParaRPr lang="en-US" sz="1350">
              <a:solidFill>
                <a:srgbClr val="676767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858" y="932512"/>
            <a:ext cx="880269" cy="704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66826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37766" y="407059"/>
            <a:ext cx="8345488" cy="41592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pc="-67" dirty="0" smtClean="0"/>
              <a:t>Connected </a:t>
            </a:r>
            <a:r>
              <a:rPr lang="en-US" spc="-67" dirty="0" smtClean="0"/>
              <a:t>Roadway Sites</a:t>
            </a:r>
            <a:endParaRPr lang="en-US" spc="-67" dirty="0"/>
          </a:p>
        </p:txBody>
      </p:sp>
      <p:sp>
        <p:nvSpPr>
          <p:cNvPr id="63" name="Text Placeholder 6"/>
          <p:cNvSpPr txBox="1">
            <a:spLocks/>
          </p:cNvSpPr>
          <p:nvPr/>
        </p:nvSpPr>
        <p:spPr>
          <a:xfrm>
            <a:off x="4792935" y="3135964"/>
            <a:ext cx="3872386" cy="981906"/>
          </a:xfrm>
          <a:prstGeom prst="rect">
            <a:avLst/>
          </a:prstGeom>
        </p:spPr>
        <p:txBody>
          <a:bodyPr/>
          <a:lstStyle>
            <a:lvl1pPr marL="169863" indent="-169863" algn="l" defTabSz="684213" rtl="0" eaLnBrk="1" fontAlgn="base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charset="0"/>
              <a:buChar char="•"/>
              <a:defRPr lang="en-US" sz="15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1pPr>
            <a:lvl2pPr marL="358775" indent="-215900" algn="l" defTabSz="684213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2pPr>
            <a:lvl3pPr marL="431800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3pPr>
            <a:lvl4pPr marL="503238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4pPr>
            <a:lvl5pPr marL="574675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en-US" sz="1050" dirty="0">
              <a:solidFill>
                <a:srgbClr val="004BA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370957" y="2088034"/>
            <a:ext cx="5374237" cy="20467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2800" dirty="0" smtClean="0">
                <a:latin typeface="CiscoSans" charset="0"/>
                <a:ea typeface="CiscoSans" charset="0"/>
                <a:cs typeface="CiscoSans" charset="0"/>
              </a:rPr>
              <a:t>I-96/I-696 </a:t>
            </a:r>
            <a:r>
              <a:rPr lang="en-US" sz="2800" dirty="0" smtClean="0">
                <a:latin typeface="CiscoSans" charset="0"/>
                <a:ea typeface="CiscoSans" charset="0"/>
                <a:cs typeface="CiscoSans" charset="0"/>
              </a:rPr>
              <a:t>Interchange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2800" dirty="0" smtClean="0">
                <a:latin typeface="CiscoSans" charset="0"/>
                <a:ea typeface="CiscoSans" charset="0"/>
                <a:cs typeface="CiscoSans" charset="0"/>
              </a:rPr>
              <a:t>I-94 Roadway Weather Site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2800" dirty="0" smtClean="0">
                <a:latin typeface="CiscoSans" charset="0"/>
                <a:ea typeface="CiscoSans" charset="0"/>
                <a:cs typeface="CiscoSans" charset="0"/>
              </a:rPr>
              <a:t>Stationary Work Zone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2800" dirty="0" smtClean="0">
                <a:solidFill>
                  <a:schemeClr val="accent5">
                    <a:lumMod val="60000"/>
                    <a:lumOff val="40000"/>
                  </a:schemeClr>
                </a:solidFill>
                <a:latin typeface="CiscoSans" charset="0"/>
                <a:ea typeface="CiscoSans" charset="0"/>
                <a:cs typeface="CiscoSans" charset="0"/>
              </a:rPr>
              <a:t>Mobile Work Zone</a:t>
            </a:r>
            <a:endParaRPr lang="en-US" sz="2800" dirty="0">
              <a:solidFill>
                <a:schemeClr val="accent5">
                  <a:lumMod val="60000"/>
                  <a:lumOff val="40000"/>
                </a:schemeClr>
              </a:solidFill>
              <a:latin typeface="CiscoSans" charset="0"/>
              <a:ea typeface="CiscoSans" charset="0"/>
              <a:cs typeface="CiscoSans" charset="0"/>
            </a:endParaRPr>
          </a:p>
        </p:txBody>
      </p:sp>
      <p:sp>
        <p:nvSpPr>
          <p:cNvPr id="15" name="Content Placeholder 2"/>
          <p:cNvSpPr txBox="1">
            <a:spLocks/>
          </p:cNvSpPr>
          <p:nvPr/>
        </p:nvSpPr>
        <p:spPr bwMode="auto">
          <a:xfrm>
            <a:off x="437766" y="967295"/>
            <a:ext cx="7990617" cy="11207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457189" indent="-457189" algn="l" defTabSz="425440" rtl="0" eaLnBrk="1" fontAlgn="base" hangingPunct="1">
              <a:lnSpc>
                <a:spcPct val="150000"/>
              </a:lnSpc>
              <a:spcBef>
                <a:spcPts val="717"/>
              </a:spcBef>
              <a:spcAft>
                <a:spcPct val="0"/>
              </a:spcAft>
              <a:buFont typeface="Arial" panose="020B0604020202020204" pitchFamily="34" charset="0"/>
              <a:defRPr sz="1600" kern="1200">
                <a:solidFill>
                  <a:srgbClr val="6D6F71"/>
                </a:solidFill>
                <a:latin typeface="HelvNeue for IBM Light"/>
                <a:ea typeface="MS PGothic" pitchFamily="34" charset="-128"/>
                <a:cs typeface="HelvNeue for IBM Light"/>
              </a:defRPr>
            </a:lvl1pPr>
            <a:lvl2pPr marL="380990" indent="-380990" algn="l" defTabSz="425440" rtl="0" eaLnBrk="1" fontAlgn="base" hangingPunct="1">
              <a:lnSpc>
                <a:spcPct val="150000"/>
              </a:lnSpc>
              <a:spcBef>
                <a:spcPts val="1433"/>
              </a:spcBef>
              <a:spcAft>
                <a:spcPct val="0"/>
              </a:spcAft>
              <a:buClr>
                <a:srgbClr val="2D86BD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6D6F71"/>
                </a:solidFill>
                <a:latin typeface="HelvNeue for IBM Light"/>
                <a:ea typeface="MS PGothic" pitchFamily="34" charset="-128"/>
                <a:cs typeface="HelvNeue for IBM Light"/>
              </a:defRPr>
            </a:lvl2pPr>
            <a:lvl3pPr marL="607469" indent="-228594" algn="l" defTabSz="425440" rtl="0" eaLnBrk="1" fontAlgn="base" hangingPunct="1">
              <a:lnSpc>
                <a:spcPct val="150000"/>
              </a:lnSpc>
              <a:spcBef>
                <a:spcPts val="1200"/>
              </a:spcBef>
              <a:spcAft>
                <a:spcPct val="0"/>
              </a:spcAft>
              <a:buClr>
                <a:srgbClr val="4FFAFF"/>
              </a:buClr>
              <a:buFont typeface="Wingdings" panose="05000000000000000000" pitchFamily="2" charset="2"/>
              <a:buChar char="§"/>
              <a:tabLst>
                <a:tab pos="1295368" algn="l"/>
              </a:tabLst>
              <a:defRPr lang="en-US" sz="1200" kern="1200">
                <a:solidFill>
                  <a:srgbClr val="6D6F71"/>
                </a:solidFill>
                <a:latin typeface="HelvNeue for IBM Light"/>
                <a:ea typeface="MS PGothic" pitchFamily="34" charset="-128"/>
                <a:cs typeface="HelvNeue for IBM Light"/>
              </a:defRPr>
            </a:lvl3pPr>
            <a:lvl4pPr marL="764098" indent="-156629" algn="l" defTabSz="425440" rtl="0" eaLnBrk="1" fontAlgn="base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56B7C4"/>
              </a:buClr>
              <a:buSzPct val="100000"/>
              <a:buFont typeface="Arial" panose="020B0604020202020204" pitchFamily="34" charset="0"/>
              <a:buChar char="•"/>
              <a:defRPr sz="1100" kern="1200">
                <a:solidFill>
                  <a:srgbClr val="6D6F71"/>
                </a:solidFill>
                <a:latin typeface="HelvNeue for IBM Light"/>
                <a:ea typeface="HelvNeue for IBM" charset="0"/>
                <a:cs typeface="HelvNeue for IBM Light"/>
              </a:defRPr>
            </a:lvl4pPr>
            <a:lvl5pPr marL="992693" indent="-192613" algn="l" defTabSz="455073" rtl="0" eaLnBrk="1" fontAlgn="base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44B2C4"/>
              </a:buClr>
              <a:buFont typeface="Arial" panose="020B0604020202020204" pitchFamily="34" charset="0"/>
              <a:buChar char="–"/>
              <a:defRPr sz="1100" kern="1200">
                <a:solidFill>
                  <a:srgbClr val="6D6F71"/>
                </a:solidFill>
                <a:latin typeface="HelvNeue for IBM Light"/>
                <a:ea typeface="MS PGothic" pitchFamily="34" charset="-128"/>
                <a:cs typeface="HelvNeue for IBM Light"/>
              </a:defRPr>
            </a:lvl5pPr>
            <a:lvl6pPr marL="2357018" indent="-214275" algn="l" defTabSz="428548" rtl="0" eaLnBrk="1" latinLnBrk="0" hangingPunct="1">
              <a:spcBef>
                <a:spcPct val="20000"/>
              </a:spcBef>
              <a:buFont typeface="Arial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85569" indent="-214275" algn="l" defTabSz="428548" rtl="0" eaLnBrk="1" latinLnBrk="0" hangingPunct="1">
              <a:spcBef>
                <a:spcPct val="20000"/>
              </a:spcBef>
              <a:buFont typeface="Arial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14117" indent="-214275" algn="l" defTabSz="428548" rtl="0" eaLnBrk="1" latinLnBrk="0" hangingPunct="1">
              <a:spcBef>
                <a:spcPct val="20000"/>
              </a:spcBef>
              <a:buFont typeface="Arial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42666" indent="-214275" algn="l" defTabSz="428548" rtl="0" eaLnBrk="1" latinLnBrk="0" hangingPunct="1">
              <a:spcBef>
                <a:spcPct val="20000"/>
              </a:spcBef>
              <a:buFont typeface="Arial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iscoSans" pitchFamily="34" charset="0"/>
                <a:ea typeface="Helvetica Neue" charset="0"/>
                <a:cs typeface="Arial" panose="020B0604020202020204" pitchFamily="34" charset="0"/>
              </a:rPr>
              <a:t>We are targeting the following locations:</a:t>
            </a:r>
            <a:endParaRPr lang="en-US" sz="2400" b="1" dirty="0">
              <a:solidFill>
                <a:schemeClr val="tx2"/>
              </a:solidFill>
              <a:latin typeface="CiscoSans" pitchFamily="34" charset="0"/>
              <a:ea typeface="Helvetica Neue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52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2702" y="1312017"/>
            <a:ext cx="2806878" cy="223133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/>
          <a:srcRect r="13501"/>
          <a:stretch/>
        </p:blipFill>
        <p:spPr>
          <a:xfrm>
            <a:off x="1736852" y="2456019"/>
            <a:ext cx="2780789" cy="2231336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37766" y="407059"/>
            <a:ext cx="8345488" cy="41592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pc="-67" dirty="0" smtClean="0"/>
              <a:t>1. Interchange I-96 -&gt; I-696</a:t>
            </a:r>
            <a:endParaRPr lang="en-US" spc="-67" dirty="0"/>
          </a:p>
        </p:txBody>
      </p:sp>
      <p:sp>
        <p:nvSpPr>
          <p:cNvPr id="63" name="Text Placeholder 6"/>
          <p:cNvSpPr txBox="1">
            <a:spLocks/>
          </p:cNvSpPr>
          <p:nvPr/>
        </p:nvSpPr>
        <p:spPr>
          <a:xfrm>
            <a:off x="4792935" y="3155842"/>
            <a:ext cx="3872386" cy="981906"/>
          </a:xfrm>
          <a:prstGeom prst="rect">
            <a:avLst/>
          </a:prstGeom>
        </p:spPr>
        <p:txBody>
          <a:bodyPr/>
          <a:lstStyle>
            <a:lvl1pPr marL="169863" indent="-169863" algn="l" defTabSz="684213" rtl="0" eaLnBrk="1" fontAlgn="base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charset="0"/>
              <a:buChar char="•"/>
              <a:defRPr lang="en-US" sz="15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1pPr>
            <a:lvl2pPr marL="358775" indent="-215900" algn="l" defTabSz="684213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2pPr>
            <a:lvl3pPr marL="431800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3pPr>
            <a:lvl4pPr marL="503238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4pPr>
            <a:lvl5pPr marL="574675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en-US" sz="1050" dirty="0">
              <a:solidFill>
                <a:srgbClr val="004BA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651511" y="1608241"/>
            <a:ext cx="4224132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400" dirty="0" smtClean="0">
                <a:latin typeface="CiscoSans" charset="0"/>
                <a:ea typeface="CiscoSans" charset="0"/>
                <a:cs typeface="CiscoSans" charset="0"/>
              </a:rPr>
              <a:t>Monitor for Slow or Stopped Traffic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400" dirty="0" smtClean="0">
                <a:latin typeface="CiscoSans" charset="0"/>
                <a:ea typeface="CiscoSans" charset="0"/>
                <a:cs typeface="CiscoSans" charset="0"/>
              </a:rPr>
              <a:t>Use DSRC </a:t>
            </a:r>
            <a:r>
              <a:rPr lang="en-US" sz="1400" dirty="0">
                <a:latin typeface="CiscoSans" charset="0"/>
                <a:ea typeface="CiscoSans" charset="0"/>
                <a:cs typeface="CiscoSans" charset="0"/>
              </a:rPr>
              <a:t>Data </a:t>
            </a:r>
            <a:r>
              <a:rPr lang="en-US" sz="1400" dirty="0" smtClean="0">
                <a:latin typeface="CiscoSans" charset="0"/>
                <a:ea typeface="CiscoSans" charset="0"/>
                <a:cs typeface="CiscoSans" charset="0"/>
              </a:rPr>
              <a:t>Points to enrich traffic data and collision/near miss info.</a:t>
            </a:r>
            <a:endParaRPr lang="en-US" sz="1400" dirty="0">
              <a:latin typeface="CiscoSans" charset="0"/>
              <a:ea typeface="CiscoSans" charset="0"/>
              <a:cs typeface="CiscoSans" charset="0"/>
            </a:endParaRP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400" dirty="0" smtClean="0">
                <a:latin typeface="CiscoSans" charset="0"/>
                <a:ea typeface="CiscoSans" charset="0"/>
                <a:cs typeface="CiscoSans" charset="0"/>
              </a:rPr>
              <a:t>Integrate real-time or near real-time driver </a:t>
            </a:r>
            <a:r>
              <a:rPr lang="en-US" sz="1400" dirty="0">
                <a:latin typeface="CiscoSans" charset="0"/>
                <a:ea typeface="CiscoSans" charset="0"/>
                <a:cs typeface="CiscoSans" charset="0"/>
              </a:rPr>
              <a:t>c</a:t>
            </a:r>
            <a:r>
              <a:rPr lang="en-US" sz="1400" dirty="0" smtClean="0">
                <a:latin typeface="CiscoSans" charset="0"/>
                <a:ea typeface="CiscoSans" charset="0"/>
                <a:cs typeface="CiscoSans" charset="0"/>
              </a:rPr>
              <a:t>ommunication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400" dirty="0">
                <a:latin typeface="CiscoSans" charset="0"/>
                <a:ea typeface="CiscoSans" charset="0"/>
                <a:cs typeface="CiscoSans" charset="0"/>
              </a:rPr>
              <a:t>Provide real-time status to </a:t>
            </a:r>
            <a:r>
              <a:rPr lang="en-US" sz="1400" dirty="0" smtClean="0">
                <a:latin typeface="CiscoSans" charset="0"/>
                <a:ea typeface="CiscoSans" charset="0"/>
                <a:cs typeface="CiscoSans" charset="0"/>
              </a:rPr>
              <a:t>TMC with appropriate data visualization and reaction workflows (DMS/VMS approvals)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400" dirty="0" smtClean="0">
                <a:latin typeface="CiscoSans" charset="0"/>
                <a:ea typeface="CiscoSans" charset="0"/>
                <a:cs typeface="CiscoSans" charset="0"/>
              </a:rPr>
              <a:t>Additional Use cases </a:t>
            </a:r>
          </a:p>
          <a:p>
            <a:pPr marL="742950" lvl="1" indent="-285750">
              <a:spcAft>
                <a:spcPts val="600"/>
              </a:spcAft>
              <a:buFont typeface="Arial" charset="0"/>
              <a:buChar char="•"/>
            </a:pPr>
            <a:r>
              <a:rPr lang="en-US" sz="1400" dirty="0" smtClean="0">
                <a:latin typeface="CiscoSans" charset="0"/>
                <a:ea typeface="CiscoSans" charset="0"/>
                <a:cs typeface="CiscoSans" charset="0"/>
              </a:rPr>
              <a:t>Wrong Way</a:t>
            </a:r>
          </a:p>
          <a:p>
            <a:pPr marL="742950" lvl="1" indent="-285750">
              <a:spcAft>
                <a:spcPts val="600"/>
              </a:spcAft>
              <a:buFont typeface="Arial" charset="0"/>
              <a:buChar char="•"/>
            </a:pPr>
            <a:r>
              <a:rPr lang="en-US" sz="1400" dirty="0" smtClean="0">
                <a:latin typeface="CiscoSans" charset="0"/>
                <a:ea typeface="CiscoSans" charset="0"/>
                <a:cs typeface="CiscoSans" charset="0"/>
              </a:rPr>
              <a:t>Vehicle Counts </a:t>
            </a:r>
            <a:r>
              <a:rPr lang="en-US" sz="1400" dirty="0">
                <a:latin typeface="CiscoSans" charset="0"/>
                <a:ea typeface="CiscoSans" charset="0"/>
                <a:cs typeface="CiscoSans" charset="0"/>
              </a:rPr>
              <a:t>and Classification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endParaRPr lang="en-US" sz="1400" dirty="0">
              <a:latin typeface="CiscoSans" charset="0"/>
              <a:ea typeface="CiscoSans" charset="0"/>
              <a:cs typeface="CiscoSans" charset="0"/>
            </a:endParaRP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endParaRPr lang="en-US" sz="1400" dirty="0" smtClean="0">
              <a:latin typeface="CiscoSans" charset="0"/>
              <a:ea typeface="CiscoSans" charset="0"/>
              <a:cs typeface="CiscoSans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51905" y="822984"/>
            <a:ext cx="37996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+mn-lt"/>
              </a:rPr>
              <a:t>Roadway Safety </a:t>
            </a:r>
            <a:r>
              <a:rPr lang="mr-IN" dirty="0" smtClean="0">
                <a:latin typeface="+mn-lt"/>
              </a:rPr>
              <a:t>–</a:t>
            </a:r>
            <a:r>
              <a:rPr lang="en-US" dirty="0" smtClean="0">
                <a:latin typeface="+mn-lt"/>
              </a:rPr>
              <a:t> Real-time Data</a:t>
            </a:r>
            <a:endParaRPr lang="en-US" dirty="0" smtClean="0">
              <a:latin typeface="+mn-l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37766" y="4630686"/>
            <a:ext cx="294824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latin typeface="+mn-lt"/>
              </a:rPr>
              <a:t>https://</a:t>
            </a:r>
            <a:r>
              <a:rPr lang="en-US" sz="800" dirty="0" err="1">
                <a:latin typeface="+mn-lt"/>
              </a:rPr>
              <a:t>mdotnetpublic.state.mi.us</a:t>
            </a:r>
            <a:r>
              <a:rPr lang="en-US" sz="800" dirty="0">
                <a:latin typeface="+mn-lt"/>
              </a:rPr>
              <a:t>/</a:t>
            </a:r>
            <a:r>
              <a:rPr lang="en-US" sz="800" dirty="0" err="1">
                <a:latin typeface="+mn-lt"/>
              </a:rPr>
              <a:t>tmispublic</a:t>
            </a:r>
            <a:r>
              <a:rPr lang="en-US" sz="800" dirty="0">
                <a:latin typeface="+mn-lt"/>
              </a:rPr>
              <a:t>/</a:t>
            </a:r>
            <a:r>
              <a:rPr lang="en-US" sz="800" dirty="0" err="1">
                <a:latin typeface="+mn-lt"/>
              </a:rPr>
              <a:t>definitions.aspx</a:t>
            </a:r>
            <a:endParaRPr lang="en-US" sz="800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84745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37766" y="407059"/>
            <a:ext cx="8345488" cy="41592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pc="-67" dirty="0" smtClean="0"/>
              <a:t>2. </a:t>
            </a:r>
            <a:r>
              <a:rPr lang="en-US" spc="-67" dirty="0" smtClean="0"/>
              <a:t>I-</a:t>
            </a:r>
            <a:r>
              <a:rPr lang="en-US" spc="-67" dirty="0" smtClean="0"/>
              <a:t>94</a:t>
            </a:r>
            <a:endParaRPr lang="en-US" spc="-67" dirty="0"/>
          </a:p>
        </p:txBody>
      </p:sp>
      <p:sp>
        <p:nvSpPr>
          <p:cNvPr id="63" name="Text Placeholder 6"/>
          <p:cNvSpPr txBox="1">
            <a:spLocks/>
          </p:cNvSpPr>
          <p:nvPr/>
        </p:nvSpPr>
        <p:spPr>
          <a:xfrm>
            <a:off x="4792935" y="3135964"/>
            <a:ext cx="3872386" cy="981906"/>
          </a:xfrm>
          <a:prstGeom prst="rect">
            <a:avLst/>
          </a:prstGeom>
        </p:spPr>
        <p:txBody>
          <a:bodyPr/>
          <a:lstStyle>
            <a:lvl1pPr marL="169863" indent="-169863" algn="l" defTabSz="684213" rtl="0" eaLnBrk="1" fontAlgn="base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charset="0"/>
              <a:buChar char="•"/>
              <a:defRPr lang="en-US" sz="15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1pPr>
            <a:lvl2pPr marL="358775" indent="-215900" algn="l" defTabSz="684213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2pPr>
            <a:lvl3pPr marL="431800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3pPr>
            <a:lvl4pPr marL="503238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4pPr>
            <a:lvl5pPr marL="574675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en-US" sz="1050" dirty="0">
              <a:solidFill>
                <a:srgbClr val="004BA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293174" y="1853267"/>
            <a:ext cx="5374237" cy="22006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400" dirty="0" smtClean="0">
                <a:latin typeface="CiscoSans" charset="0"/>
                <a:ea typeface="CiscoSans" charset="0"/>
                <a:cs typeface="CiscoSans" charset="0"/>
              </a:rPr>
              <a:t>Gather Weather Data RWIS &amp; DSRC</a:t>
            </a:r>
            <a:endParaRPr lang="en-US" sz="1400" dirty="0">
              <a:latin typeface="CiscoSans" charset="0"/>
              <a:ea typeface="CiscoSans" charset="0"/>
              <a:cs typeface="CiscoSans" charset="0"/>
            </a:endParaRP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400" dirty="0" smtClean="0">
                <a:latin typeface="CiscoSans" charset="0"/>
                <a:ea typeface="CiscoSans" charset="0"/>
                <a:cs typeface="CiscoSans" charset="0"/>
              </a:rPr>
              <a:t>Translate data to relevant information for travelers </a:t>
            </a:r>
            <a:endParaRPr lang="en-US" sz="1400" dirty="0">
              <a:latin typeface="CiscoSans" charset="0"/>
              <a:ea typeface="CiscoSans" charset="0"/>
              <a:cs typeface="CiscoSans" charset="0"/>
            </a:endParaRP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400" dirty="0" smtClean="0">
                <a:latin typeface="CiscoSans" charset="0"/>
                <a:ea typeface="CiscoSans" charset="0"/>
                <a:cs typeface="CiscoSans" charset="0"/>
              </a:rPr>
              <a:t>Leverage DMS and DSRC Messaging to relay weather related safety information to drivers and vehicles</a:t>
            </a:r>
            <a:endParaRPr lang="en-US" sz="1400" dirty="0" smtClean="0">
              <a:latin typeface="CiscoSans" charset="0"/>
              <a:ea typeface="CiscoSans" charset="0"/>
              <a:cs typeface="CiscoSans" charset="0"/>
            </a:endParaRP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400" dirty="0" smtClean="0">
                <a:latin typeface="CiscoSans" charset="0"/>
                <a:ea typeface="CiscoSans" charset="0"/>
                <a:cs typeface="CiscoSans" charset="0"/>
              </a:rPr>
              <a:t>Provide real-time status to TMC</a:t>
            </a:r>
            <a:endParaRPr lang="en-US" sz="1400" dirty="0" smtClean="0">
              <a:latin typeface="CiscoSans" charset="0"/>
              <a:ea typeface="CiscoSans" charset="0"/>
              <a:cs typeface="CiscoSans" charset="0"/>
            </a:endParaRP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400" dirty="0" smtClean="0">
                <a:latin typeface="CiscoSans" charset="0"/>
                <a:ea typeface="CiscoSans" charset="0"/>
                <a:cs typeface="CiscoSans" charset="0"/>
              </a:rPr>
              <a:t>Potentially integrate real-time “Floating Car Data” as an output to appropriate applications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400" dirty="0" smtClean="0">
                <a:latin typeface="CiscoSans" charset="0"/>
                <a:ea typeface="CiscoSans" charset="0"/>
                <a:cs typeface="CiscoSans" charset="0"/>
              </a:rPr>
              <a:t>Visualize data in TMC Operations</a:t>
            </a:r>
            <a:endParaRPr lang="en-US" sz="1400" dirty="0" smtClean="0">
              <a:latin typeface="CiscoSans" charset="0"/>
              <a:ea typeface="CiscoSans" charset="0"/>
              <a:cs typeface="CiscoSans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91662" y="822984"/>
            <a:ext cx="44555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+mn-lt"/>
              </a:rPr>
              <a:t>Roadway Weather </a:t>
            </a:r>
            <a:r>
              <a:rPr lang="mr-IN" dirty="0" smtClean="0">
                <a:latin typeface="+mn-lt"/>
              </a:rPr>
              <a:t>–</a:t>
            </a:r>
            <a:r>
              <a:rPr lang="en-US" dirty="0" smtClean="0">
                <a:latin typeface="+mn-lt"/>
              </a:rPr>
              <a:t> Roadway Interaction</a:t>
            </a:r>
            <a:endParaRPr lang="en-US" dirty="0" smtClean="0">
              <a:latin typeface="+mn-lt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8810" y="1500949"/>
            <a:ext cx="1604877" cy="2631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9017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37766" y="407059"/>
            <a:ext cx="8345488" cy="41592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pc="-67" dirty="0"/>
              <a:t>3</a:t>
            </a:r>
            <a:r>
              <a:rPr lang="en-US" spc="-67" dirty="0" smtClean="0"/>
              <a:t>. Stationary Work Zone </a:t>
            </a:r>
            <a:endParaRPr lang="en-US" spc="-67" dirty="0"/>
          </a:p>
        </p:txBody>
      </p:sp>
      <p:sp>
        <p:nvSpPr>
          <p:cNvPr id="63" name="Text Placeholder 6"/>
          <p:cNvSpPr txBox="1">
            <a:spLocks/>
          </p:cNvSpPr>
          <p:nvPr/>
        </p:nvSpPr>
        <p:spPr>
          <a:xfrm>
            <a:off x="4792935" y="3135964"/>
            <a:ext cx="3872386" cy="981906"/>
          </a:xfrm>
          <a:prstGeom prst="rect">
            <a:avLst/>
          </a:prstGeom>
        </p:spPr>
        <p:txBody>
          <a:bodyPr/>
          <a:lstStyle>
            <a:lvl1pPr marL="169863" indent="-169863" algn="l" defTabSz="684213" rtl="0" eaLnBrk="1" fontAlgn="base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charset="0"/>
              <a:buChar char="•"/>
              <a:defRPr lang="en-US" sz="15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1pPr>
            <a:lvl2pPr marL="358775" indent="-215900" algn="l" defTabSz="684213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2pPr>
            <a:lvl3pPr marL="431800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3pPr>
            <a:lvl4pPr marL="503238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4pPr>
            <a:lvl5pPr marL="574675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en-US" sz="1050" dirty="0">
              <a:solidFill>
                <a:srgbClr val="004BA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332930" y="1853267"/>
            <a:ext cx="5374237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400" dirty="0" smtClean="0">
                <a:latin typeface="CiscoSans" charset="0"/>
                <a:ea typeface="CiscoSans" charset="0"/>
                <a:cs typeface="CiscoSans" charset="0"/>
              </a:rPr>
              <a:t>Gather site data using edge compute technologies and allow for data driven decision making </a:t>
            </a:r>
            <a:endParaRPr lang="en-US" sz="1400" dirty="0">
              <a:latin typeface="CiscoSans" charset="0"/>
              <a:ea typeface="CiscoSans" charset="0"/>
              <a:cs typeface="CiscoSans" charset="0"/>
            </a:endParaRP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400" dirty="0" smtClean="0">
                <a:latin typeface="CiscoSans" charset="0"/>
                <a:ea typeface="CiscoSans" charset="0"/>
                <a:cs typeface="CiscoSans" charset="0"/>
              </a:rPr>
              <a:t>Monitoring and insights for construction safety planning</a:t>
            </a:r>
            <a:endParaRPr lang="en-US" sz="1400" dirty="0">
              <a:latin typeface="CiscoSans" charset="0"/>
              <a:ea typeface="CiscoSans" charset="0"/>
              <a:cs typeface="CiscoSans" charset="0"/>
            </a:endParaRP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400" dirty="0" smtClean="0">
                <a:latin typeface="CiscoSans" charset="0"/>
                <a:ea typeface="CiscoSans" charset="0"/>
                <a:cs typeface="CiscoSans" charset="0"/>
              </a:rPr>
              <a:t>Real-time roadway monitoring for construction zone and worker safety</a:t>
            </a:r>
            <a:endParaRPr lang="en-US" sz="1400" dirty="0" smtClean="0">
              <a:latin typeface="CiscoSans" charset="0"/>
              <a:ea typeface="CiscoSans" charset="0"/>
              <a:cs typeface="CiscoSans" charset="0"/>
            </a:endParaRP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400" dirty="0" smtClean="0">
                <a:latin typeface="CiscoSans" charset="0"/>
                <a:ea typeface="CiscoSans" charset="0"/>
                <a:cs typeface="CiscoSans" charset="0"/>
              </a:rPr>
              <a:t>Alert interaction in an “Imminent Danger” situation</a:t>
            </a:r>
            <a:endParaRPr lang="en-US" sz="1400" dirty="0" smtClean="0">
              <a:latin typeface="CiscoSans" charset="0"/>
              <a:ea typeface="CiscoSans" charset="0"/>
              <a:cs typeface="CiscoSans" charset="0"/>
            </a:endParaRP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400" dirty="0" smtClean="0">
                <a:latin typeface="CiscoSans" charset="0"/>
                <a:ea typeface="CiscoSans" charset="0"/>
                <a:cs typeface="CiscoSans" charset="0"/>
              </a:rPr>
              <a:t>Leverage multiple sensors to gather vehicle speeds and interact with roadside and vehicle messaging to decrease speed and improve work zone safety</a:t>
            </a:r>
            <a:endParaRPr lang="en-US" sz="1400" dirty="0" smtClean="0">
              <a:latin typeface="CiscoSans" charset="0"/>
              <a:ea typeface="CiscoSans" charset="0"/>
              <a:cs typeface="CiscoSans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91662" y="822984"/>
            <a:ext cx="49426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+mn-lt"/>
              </a:rPr>
              <a:t>Site and Worker Safety </a:t>
            </a:r>
            <a:r>
              <a:rPr lang="mr-IN" dirty="0" smtClean="0">
                <a:latin typeface="+mn-lt"/>
              </a:rPr>
              <a:t>–</a:t>
            </a:r>
            <a:r>
              <a:rPr lang="en-US" dirty="0" smtClean="0">
                <a:latin typeface="+mn-lt"/>
              </a:rPr>
              <a:t> Digital Awareness </a:t>
            </a:r>
            <a:endParaRPr lang="en-US" dirty="0" smtClean="0">
              <a:latin typeface="+mn-lt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802" y="1883084"/>
            <a:ext cx="3204067" cy="226460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/>
          <a:srcRect l="38586" t="9695" r="34023" b="13296"/>
          <a:stretch/>
        </p:blipFill>
        <p:spPr>
          <a:xfrm>
            <a:off x="1103243" y="3744294"/>
            <a:ext cx="2504661" cy="955784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367748" y="4883137"/>
            <a:ext cx="4572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800" dirty="0"/>
              <a:t>http://</a:t>
            </a:r>
            <a:r>
              <a:rPr lang="en-US" sz="800" dirty="0" err="1"/>
              <a:t>www.michigan.gov</a:t>
            </a:r>
            <a:r>
              <a:rPr lang="en-US" sz="800" dirty="0"/>
              <a:t>/</a:t>
            </a:r>
            <a:r>
              <a:rPr lang="en-US" sz="800" dirty="0" err="1"/>
              <a:t>msp</a:t>
            </a:r>
            <a:r>
              <a:rPr lang="en-US" sz="800" dirty="0"/>
              <a:t>/0,4643,7-123-72297_64773_41646---,00.html</a:t>
            </a:r>
          </a:p>
        </p:txBody>
      </p:sp>
    </p:spTree>
    <p:extLst>
      <p:ext uri="{BB962C8B-B14F-4D97-AF65-F5344CB8AC3E}">
        <p14:creationId xmlns:p14="http://schemas.microsoft.com/office/powerpoint/2010/main" val="1797086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37766" y="407059"/>
            <a:ext cx="8345488" cy="41592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pc="-67" dirty="0"/>
              <a:t>4</a:t>
            </a:r>
            <a:r>
              <a:rPr lang="en-US" spc="-67" dirty="0" smtClean="0"/>
              <a:t>. Mobile Work Zone</a:t>
            </a:r>
            <a:endParaRPr lang="en-US" spc="-67" dirty="0"/>
          </a:p>
        </p:txBody>
      </p:sp>
      <p:sp>
        <p:nvSpPr>
          <p:cNvPr id="63" name="Text Placeholder 6"/>
          <p:cNvSpPr txBox="1">
            <a:spLocks/>
          </p:cNvSpPr>
          <p:nvPr/>
        </p:nvSpPr>
        <p:spPr>
          <a:xfrm>
            <a:off x="4792935" y="3135964"/>
            <a:ext cx="3872386" cy="981906"/>
          </a:xfrm>
          <a:prstGeom prst="rect">
            <a:avLst/>
          </a:prstGeom>
        </p:spPr>
        <p:txBody>
          <a:bodyPr/>
          <a:lstStyle>
            <a:lvl1pPr marL="169863" indent="-169863" algn="l" defTabSz="684213" rtl="0" eaLnBrk="1" fontAlgn="base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charset="0"/>
              <a:buChar char="•"/>
              <a:defRPr lang="en-US" sz="15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1pPr>
            <a:lvl2pPr marL="358775" indent="-215900" algn="l" defTabSz="684213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2pPr>
            <a:lvl3pPr marL="431800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3pPr>
            <a:lvl4pPr marL="503238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4pPr>
            <a:lvl5pPr marL="574675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en-US" sz="1050" dirty="0">
              <a:solidFill>
                <a:srgbClr val="004BA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452198" y="1853267"/>
            <a:ext cx="5374237" cy="26314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400" dirty="0" smtClean="0">
                <a:latin typeface="CiscoSans" charset="0"/>
                <a:ea typeface="CiscoSans" charset="0"/>
                <a:cs typeface="CiscoSans" charset="0"/>
              </a:rPr>
              <a:t>Similar to Stationary Work Zone: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400" dirty="0" smtClean="0">
                <a:latin typeface="CiscoSans" charset="0"/>
                <a:ea typeface="CiscoSans" charset="0"/>
                <a:cs typeface="CiscoSans" charset="0"/>
              </a:rPr>
              <a:t>Attenuator Mounted System </a:t>
            </a:r>
            <a:endParaRPr lang="en-US" sz="1400" dirty="0">
              <a:latin typeface="CiscoSans" charset="0"/>
              <a:ea typeface="CiscoSans" charset="0"/>
              <a:cs typeface="CiscoSans" charset="0"/>
            </a:endParaRP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400" dirty="0" smtClean="0">
                <a:latin typeface="CiscoSans" charset="0"/>
                <a:ea typeface="CiscoSans" charset="0"/>
                <a:cs typeface="CiscoSans" charset="0"/>
              </a:rPr>
              <a:t>Gather </a:t>
            </a:r>
            <a:r>
              <a:rPr lang="en-US" sz="1400" dirty="0">
                <a:latin typeface="CiscoSans" charset="0"/>
                <a:ea typeface="CiscoSans" charset="0"/>
                <a:cs typeface="CiscoSans" charset="0"/>
              </a:rPr>
              <a:t>site data using edge compute technologies and allow for data driven decision making 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400" dirty="0" smtClean="0">
                <a:latin typeface="CiscoSans" charset="0"/>
                <a:ea typeface="CiscoSans" charset="0"/>
                <a:cs typeface="CiscoSans" charset="0"/>
              </a:rPr>
              <a:t>Real-time </a:t>
            </a:r>
            <a:r>
              <a:rPr lang="en-US" sz="1400" dirty="0">
                <a:latin typeface="CiscoSans" charset="0"/>
                <a:ea typeface="CiscoSans" charset="0"/>
                <a:cs typeface="CiscoSans" charset="0"/>
              </a:rPr>
              <a:t>roadway monitoring for construction zone and worker safety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400" dirty="0">
                <a:latin typeface="CiscoSans" charset="0"/>
                <a:ea typeface="CiscoSans" charset="0"/>
                <a:cs typeface="CiscoSans" charset="0"/>
              </a:rPr>
              <a:t>Alert interaction in an “Imminent Danger” situation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400" dirty="0">
                <a:latin typeface="CiscoSans" charset="0"/>
                <a:ea typeface="CiscoSans" charset="0"/>
                <a:cs typeface="CiscoSans" charset="0"/>
              </a:rPr>
              <a:t>Leverage multiple sensors to </a:t>
            </a:r>
            <a:r>
              <a:rPr lang="en-US" sz="1400" dirty="0" smtClean="0">
                <a:latin typeface="CiscoSans" charset="0"/>
                <a:ea typeface="CiscoSans" charset="0"/>
                <a:cs typeface="CiscoSans" charset="0"/>
              </a:rPr>
              <a:t>gather </a:t>
            </a:r>
            <a:r>
              <a:rPr lang="en-US" sz="1400" dirty="0">
                <a:latin typeface="CiscoSans" charset="0"/>
                <a:ea typeface="CiscoSans" charset="0"/>
                <a:cs typeface="CiscoSans" charset="0"/>
              </a:rPr>
              <a:t>vehicle speeds and interact with roadside and vehicle messaging to decrease speed and improve work zone safet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H="1">
            <a:off x="230750" y="1602409"/>
            <a:ext cx="3221448" cy="2882348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891662" y="822984"/>
            <a:ext cx="49426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+mn-lt"/>
              </a:rPr>
              <a:t>Site and Worker Safety </a:t>
            </a:r>
            <a:r>
              <a:rPr lang="mr-IN" dirty="0" smtClean="0">
                <a:latin typeface="+mn-lt"/>
              </a:rPr>
              <a:t>–</a:t>
            </a:r>
            <a:r>
              <a:rPr lang="en-US" dirty="0" smtClean="0">
                <a:latin typeface="+mn-lt"/>
              </a:rPr>
              <a:t> Digital Awareness </a:t>
            </a:r>
            <a:endParaRPr lang="en-US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3874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Table 64"/>
          <p:cNvGraphicFramePr>
            <a:graphicFrameLocks noGrp="1"/>
          </p:cNvGraphicFramePr>
          <p:nvPr>
            <p:extLst/>
          </p:nvPr>
        </p:nvGraphicFramePr>
        <p:xfrm>
          <a:off x="320712" y="1264008"/>
          <a:ext cx="8506806" cy="3291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35602"/>
                <a:gridCol w="2835602"/>
                <a:gridCol w="2835602"/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 smtClean="0">
                          <a:solidFill>
                            <a:schemeClr val="bg2"/>
                          </a:solidFill>
                          <a:latin typeface="CiscoSans" charset="0"/>
                          <a:ea typeface="CiscoSans" charset="0"/>
                          <a:cs typeface="CiscoSans" charset="0"/>
                        </a:rPr>
                        <a:t>Interchange</a:t>
                      </a:r>
                      <a:endParaRPr lang="en-US" sz="1200" b="0" dirty="0">
                        <a:solidFill>
                          <a:schemeClr val="bg2"/>
                        </a:solidFill>
                        <a:latin typeface="CiscoSans" charset="0"/>
                        <a:ea typeface="CiscoSans" charset="0"/>
                        <a:cs typeface="CiscoSans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6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bg2"/>
                          </a:solidFill>
                          <a:latin typeface="CiscoSans" charset="0"/>
                          <a:ea typeface="CiscoSans" charset="0"/>
                          <a:cs typeface="CiscoSans" charset="0"/>
                        </a:rPr>
                        <a:t>Stationary</a:t>
                      </a:r>
                      <a:r>
                        <a:rPr lang="en-US" sz="1200" b="0" baseline="0" dirty="0" smtClean="0">
                          <a:solidFill>
                            <a:schemeClr val="bg2"/>
                          </a:solidFill>
                          <a:latin typeface="CiscoSans" charset="0"/>
                          <a:ea typeface="CiscoSans" charset="0"/>
                          <a:cs typeface="CiscoSans" charset="0"/>
                        </a:rPr>
                        <a:t> WZ</a:t>
                      </a:r>
                      <a:endParaRPr lang="en-US" sz="1200" b="0" dirty="0" smtClean="0">
                        <a:solidFill>
                          <a:schemeClr val="bg2"/>
                        </a:solidFill>
                        <a:latin typeface="CiscoSans" charset="0"/>
                        <a:ea typeface="CiscoSans" charset="0"/>
                        <a:cs typeface="CiscoSans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6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bg2"/>
                          </a:solidFill>
                          <a:latin typeface="CiscoSans" charset="0"/>
                          <a:ea typeface="CiscoSans" charset="0"/>
                          <a:cs typeface="CiscoSans" charset="0"/>
                        </a:rPr>
                        <a:t>Mobile WZ</a:t>
                      </a:r>
                      <a:endParaRPr lang="en-US" sz="1200" b="0" dirty="0" smtClean="0">
                        <a:solidFill>
                          <a:schemeClr val="bg2"/>
                        </a:solidFill>
                        <a:latin typeface="CiscoSans" charset="0"/>
                        <a:ea typeface="CiscoSans" charset="0"/>
                        <a:cs typeface="CiscoSans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6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 smtClean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6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 smtClean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3" name="Text Placeholder 6"/>
          <p:cNvSpPr txBox="1">
            <a:spLocks/>
          </p:cNvSpPr>
          <p:nvPr/>
        </p:nvSpPr>
        <p:spPr>
          <a:xfrm>
            <a:off x="4792935" y="3135964"/>
            <a:ext cx="3872386" cy="981906"/>
          </a:xfrm>
          <a:prstGeom prst="rect">
            <a:avLst/>
          </a:prstGeom>
        </p:spPr>
        <p:txBody>
          <a:bodyPr/>
          <a:lstStyle>
            <a:lvl1pPr marL="169863" indent="-169863" algn="l" defTabSz="684213" rtl="0" eaLnBrk="1" fontAlgn="base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charset="0"/>
              <a:buChar char="•"/>
              <a:defRPr lang="en-US" sz="15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1pPr>
            <a:lvl2pPr marL="358775" indent="-215900" algn="l" defTabSz="684213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2pPr>
            <a:lvl3pPr marL="431800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3pPr>
            <a:lvl4pPr marL="503238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4pPr>
            <a:lvl5pPr marL="574675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en-US" sz="1050" dirty="0">
              <a:solidFill>
                <a:srgbClr val="004BA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itle 6"/>
          <p:cNvSpPr>
            <a:spLocks noGrp="1"/>
          </p:cNvSpPr>
          <p:nvPr>
            <p:ph type="title"/>
          </p:nvPr>
        </p:nvSpPr>
        <p:spPr>
          <a:xfrm>
            <a:off x="437766" y="407059"/>
            <a:ext cx="8345488" cy="41592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pc="-67" dirty="0" smtClean="0"/>
              <a:t>Location Components</a:t>
            </a:r>
            <a:endParaRPr lang="en-US" spc="-67" dirty="0"/>
          </a:p>
        </p:txBody>
      </p:sp>
      <p:sp>
        <p:nvSpPr>
          <p:cNvPr id="44" name="TextBox 43"/>
          <p:cNvSpPr txBox="1"/>
          <p:nvPr/>
        </p:nvSpPr>
        <p:spPr>
          <a:xfrm>
            <a:off x="320713" y="1684301"/>
            <a:ext cx="2810114" cy="26314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 smtClean="0">
                <a:latin typeface="CiscoSans" charset="0"/>
                <a:ea typeface="CiscoSans" charset="0"/>
                <a:cs typeface="CiscoSans" charset="0"/>
              </a:rPr>
              <a:t>Edge Computing  - CGR1240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 smtClean="0">
                <a:latin typeface="CiscoSans" charset="0"/>
                <a:ea typeface="CiscoSans" charset="0"/>
                <a:cs typeface="CiscoSans" charset="0"/>
              </a:rPr>
              <a:t>CGR Edge Compute Module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 smtClean="0">
                <a:latin typeface="CiscoSans" charset="0"/>
                <a:ea typeface="CiscoSans" charset="0"/>
                <a:cs typeface="CiscoSans" charset="0"/>
              </a:rPr>
              <a:t>CGR LTE Connectivity Module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 smtClean="0">
                <a:latin typeface="CiscoSans" charset="0"/>
                <a:ea typeface="CiscoSans" charset="0"/>
                <a:cs typeface="CiscoSans" charset="0"/>
              </a:rPr>
              <a:t>Cisco Kinetic Fog Computing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 smtClean="0">
                <a:latin typeface="CiscoSans" charset="0"/>
                <a:ea typeface="CiscoSans" charset="0"/>
                <a:cs typeface="CiscoSans" charset="0"/>
              </a:rPr>
              <a:t>Cisco Kinetic Digital Platform Ops Center</a:t>
            </a:r>
            <a:endParaRPr lang="en-US" sz="1000" dirty="0">
              <a:latin typeface="CiscoSans" charset="0"/>
              <a:ea typeface="CiscoSans" charset="0"/>
              <a:cs typeface="CiscoSans" charset="0"/>
            </a:endParaRP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 err="1" smtClean="0">
                <a:latin typeface="CiscoSans" charset="0"/>
                <a:ea typeface="CiscoSans" charset="0"/>
                <a:cs typeface="CiscoSans" charset="0"/>
              </a:rPr>
              <a:t>Quantergy</a:t>
            </a:r>
            <a:r>
              <a:rPr lang="en-US" sz="1000" dirty="0" smtClean="0">
                <a:latin typeface="CiscoSans" charset="0"/>
                <a:ea typeface="CiscoSans" charset="0"/>
                <a:cs typeface="CiscoSans" charset="0"/>
              </a:rPr>
              <a:t> Lidar 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 smtClean="0">
                <a:latin typeface="CiscoSans" charset="0"/>
                <a:ea typeface="CiscoSans" charset="0"/>
                <a:cs typeface="CiscoSans" charset="0"/>
              </a:rPr>
              <a:t>Roadside Camera</a:t>
            </a:r>
            <a:endParaRPr lang="en-US" sz="1000" dirty="0" smtClean="0">
              <a:latin typeface="CiscoSans" charset="0"/>
              <a:ea typeface="CiscoSans" charset="0"/>
              <a:cs typeface="CiscoSans" charset="0"/>
            </a:endParaRP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 err="1" smtClean="0">
                <a:latin typeface="CiscoSans" charset="0"/>
                <a:ea typeface="CiscoSans" charset="0"/>
                <a:cs typeface="CiscoSans" charset="0"/>
              </a:rPr>
              <a:t>Cohda</a:t>
            </a:r>
            <a:r>
              <a:rPr lang="en-US" sz="1000" dirty="0" smtClean="0">
                <a:latin typeface="CiscoSans" charset="0"/>
                <a:ea typeface="CiscoSans" charset="0"/>
                <a:cs typeface="CiscoSans" charset="0"/>
              </a:rPr>
              <a:t> DSRC RSU gateway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 err="1" smtClean="0">
                <a:latin typeface="CiscoSans" charset="0"/>
                <a:ea typeface="CiscoSans" charset="0"/>
                <a:cs typeface="CiscoSans" charset="0"/>
              </a:rPr>
              <a:t>DSLink</a:t>
            </a:r>
            <a:r>
              <a:rPr lang="en-US" sz="1000" dirty="0" err="1" smtClean="0">
                <a:latin typeface="CiscoSans" charset="0"/>
                <a:ea typeface="CiscoSans" charset="0"/>
                <a:cs typeface="CiscoSans" charset="0"/>
              </a:rPr>
              <a:t>’s</a:t>
            </a:r>
            <a:r>
              <a:rPr lang="en-US" sz="1000" dirty="0" smtClean="0">
                <a:latin typeface="CiscoSans" charset="0"/>
                <a:ea typeface="CiscoSans" charset="0"/>
                <a:cs typeface="CiscoSans" charset="0"/>
              </a:rPr>
              <a:t> for specified components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 smtClean="0">
                <a:latin typeface="CiscoSans" charset="0"/>
                <a:ea typeface="CiscoSans" charset="0"/>
                <a:cs typeface="CiscoSans" charset="0"/>
              </a:rPr>
              <a:t>Customized Micro Service for Traffic Monitoring and Safety</a:t>
            </a:r>
            <a:endParaRPr lang="en-US" sz="1000" dirty="0" smtClean="0">
              <a:latin typeface="CiscoSans" charset="0"/>
              <a:ea typeface="CiscoSans" charset="0"/>
              <a:cs typeface="CiscoSans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3130827" y="1594183"/>
            <a:ext cx="2810114" cy="27853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>
                <a:latin typeface="CiscoSans" charset="0"/>
                <a:ea typeface="CiscoSans" charset="0"/>
                <a:cs typeface="CiscoSans" charset="0"/>
              </a:rPr>
              <a:t>Edge Computing  - CGR1240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>
                <a:latin typeface="CiscoSans" charset="0"/>
                <a:ea typeface="CiscoSans" charset="0"/>
                <a:cs typeface="CiscoSans" charset="0"/>
              </a:rPr>
              <a:t>CGR Edge Compute Module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>
                <a:latin typeface="CiscoSans" charset="0"/>
                <a:ea typeface="CiscoSans" charset="0"/>
                <a:cs typeface="CiscoSans" charset="0"/>
              </a:rPr>
              <a:t>CGR LTE Connectivity Module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>
                <a:latin typeface="CiscoSans" charset="0"/>
                <a:ea typeface="CiscoSans" charset="0"/>
                <a:cs typeface="CiscoSans" charset="0"/>
              </a:rPr>
              <a:t>Cisco Kinetic Fog Computing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>
                <a:latin typeface="CiscoSans" charset="0"/>
                <a:ea typeface="CiscoSans" charset="0"/>
                <a:cs typeface="CiscoSans" charset="0"/>
              </a:rPr>
              <a:t>Cisco Kinetic Digital Platform Ops Center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 err="1">
                <a:latin typeface="CiscoSans" charset="0"/>
                <a:ea typeface="CiscoSans" charset="0"/>
                <a:cs typeface="CiscoSans" charset="0"/>
              </a:rPr>
              <a:t>Quantergy</a:t>
            </a:r>
            <a:r>
              <a:rPr lang="en-US" sz="1000" dirty="0">
                <a:latin typeface="CiscoSans" charset="0"/>
                <a:ea typeface="CiscoSans" charset="0"/>
                <a:cs typeface="CiscoSans" charset="0"/>
              </a:rPr>
              <a:t> Lidar </a:t>
            </a:r>
            <a:endParaRPr lang="en-US" sz="1000" dirty="0" smtClean="0">
              <a:latin typeface="CiscoSans" charset="0"/>
              <a:ea typeface="CiscoSans" charset="0"/>
              <a:cs typeface="CiscoSans" charset="0"/>
            </a:endParaRP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 smtClean="0">
                <a:latin typeface="CiscoSans" charset="0"/>
                <a:ea typeface="CiscoSans" charset="0"/>
                <a:cs typeface="CiscoSans" charset="0"/>
              </a:rPr>
              <a:t>Roadside Camera</a:t>
            </a:r>
            <a:endParaRPr lang="en-US" sz="1000" dirty="0">
              <a:latin typeface="CiscoSans" charset="0"/>
              <a:ea typeface="CiscoSans" charset="0"/>
              <a:cs typeface="CiscoSans" charset="0"/>
            </a:endParaRP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 err="1">
                <a:latin typeface="CiscoSans" charset="0"/>
                <a:ea typeface="CiscoSans" charset="0"/>
                <a:cs typeface="CiscoSans" charset="0"/>
              </a:rPr>
              <a:t>Cohda</a:t>
            </a:r>
            <a:r>
              <a:rPr lang="en-US" sz="1000" dirty="0">
                <a:latin typeface="CiscoSans" charset="0"/>
                <a:ea typeface="CiscoSans" charset="0"/>
                <a:cs typeface="CiscoSans" charset="0"/>
              </a:rPr>
              <a:t> DSRC RSU gateway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 err="1">
                <a:latin typeface="CiscoSans" charset="0"/>
                <a:ea typeface="CiscoSans" charset="0"/>
                <a:cs typeface="CiscoSans" charset="0"/>
              </a:rPr>
              <a:t>DSLink’s</a:t>
            </a:r>
            <a:r>
              <a:rPr lang="en-US" sz="1000" dirty="0">
                <a:latin typeface="CiscoSans" charset="0"/>
                <a:ea typeface="CiscoSans" charset="0"/>
                <a:cs typeface="CiscoSans" charset="0"/>
              </a:rPr>
              <a:t> for specified components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>
                <a:latin typeface="CiscoSans" charset="0"/>
                <a:ea typeface="CiscoSans" charset="0"/>
                <a:cs typeface="CiscoSans" charset="0"/>
              </a:rPr>
              <a:t>Customized Micro Service for </a:t>
            </a:r>
            <a:r>
              <a:rPr lang="en-US" sz="1000" dirty="0" smtClean="0">
                <a:latin typeface="CiscoSans" charset="0"/>
                <a:ea typeface="CiscoSans" charset="0"/>
                <a:cs typeface="CiscoSans" charset="0"/>
              </a:rPr>
              <a:t>Weather &amp; Road condition monitoring and vehicle Feedback</a:t>
            </a:r>
            <a:endParaRPr lang="en-US" sz="1000" dirty="0">
              <a:latin typeface="CiscoSans" charset="0"/>
              <a:ea typeface="CiscoSans" charset="0"/>
              <a:cs typeface="CiscoSans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5940941" y="1684301"/>
            <a:ext cx="2810114" cy="30931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>
                <a:latin typeface="CiscoSans" charset="0"/>
                <a:ea typeface="CiscoSans" charset="0"/>
                <a:cs typeface="CiscoSans" charset="0"/>
              </a:rPr>
              <a:t>Edge Computing  - CGR1240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>
                <a:latin typeface="CiscoSans" charset="0"/>
                <a:ea typeface="CiscoSans" charset="0"/>
                <a:cs typeface="CiscoSans" charset="0"/>
              </a:rPr>
              <a:t>CGR Edge Compute Module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>
                <a:latin typeface="CiscoSans" charset="0"/>
                <a:ea typeface="CiscoSans" charset="0"/>
                <a:cs typeface="CiscoSans" charset="0"/>
              </a:rPr>
              <a:t>CGR LTE Connectivity Module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>
                <a:latin typeface="CiscoSans" charset="0"/>
                <a:ea typeface="CiscoSans" charset="0"/>
                <a:cs typeface="CiscoSans" charset="0"/>
              </a:rPr>
              <a:t>Cisco Kinetic Fog Computing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>
                <a:latin typeface="CiscoSans" charset="0"/>
                <a:ea typeface="CiscoSans" charset="0"/>
                <a:cs typeface="CiscoSans" charset="0"/>
              </a:rPr>
              <a:t>Cisco Kinetic Digital Platform Ops Center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 err="1">
                <a:latin typeface="CiscoSans" charset="0"/>
                <a:ea typeface="CiscoSans" charset="0"/>
                <a:cs typeface="CiscoSans" charset="0"/>
              </a:rPr>
              <a:t>Quantergy</a:t>
            </a:r>
            <a:r>
              <a:rPr lang="en-US" sz="1000" dirty="0">
                <a:latin typeface="CiscoSans" charset="0"/>
                <a:ea typeface="CiscoSans" charset="0"/>
                <a:cs typeface="CiscoSans" charset="0"/>
              </a:rPr>
              <a:t> </a:t>
            </a:r>
            <a:r>
              <a:rPr lang="en-US" sz="1000" dirty="0" smtClean="0">
                <a:latin typeface="CiscoSans" charset="0"/>
                <a:ea typeface="CiscoSans" charset="0"/>
                <a:cs typeface="CiscoSans" charset="0"/>
              </a:rPr>
              <a:t>Lidar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 smtClean="0">
                <a:latin typeface="CiscoSans" charset="0"/>
                <a:ea typeface="CiscoSans" charset="0"/>
                <a:cs typeface="CiscoSans" charset="0"/>
              </a:rPr>
              <a:t>Roadside Camera </a:t>
            </a:r>
            <a:endParaRPr lang="en-US" sz="1000" dirty="0">
              <a:latin typeface="CiscoSans" charset="0"/>
              <a:ea typeface="CiscoSans" charset="0"/>
              <a:cs typeface="CiscoSans" charset="0"/>
            </a:endParaRP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 err="1">
                <a:latin typeface="CiscoSans" charset="0"/>
                <a:ea typeface="CiscoSans" charset="0"/>
                <a:cs typeface="CiscoSans" charset="0"/>
              </a:rPr>
              <a:t>Cohda</a:t>
            </a:r>
            <a:r>
              <a:rPr lang="en-US" sz="1000" dirty="0">
                <a:latin typeface="CiscoSans" charset="0"/>
                <a:ea typeface="CiscoSans" charset="0"/>
                <a:cs typeface="CiscoSans" charset="0"/>
              </a:rPr>
              <a:t> DSRC RSU gateway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 err="1">
                <a:latin typeface="CiscoSans" charset="0"/>
                <a:ea typeface="CiscoSans" charset="0"/>
                <a:cs typeface="CiscoSans" charset="0"/>
              </a:rPr>
              <a:t>DSLink’s</a:t>
            </a:r>
            <a:r>
              <a:rPr lang="en-US" sz="1000" dirty="0">
                <a:latin typeface="CiscoSans" charset="0"/>
                <a:ea typeface="CiscoSans" charset="0"/>
                <a:cs typeface="CiscoSans" charset="0"/>
              </a:rPr>
              <a:t> for specified components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>
                <a:latin typeface="CiscoSans" charset="0"/>
                <a:ea typeface="CiscoSans" charset="0"/>
                <a:cs typeface="CiscoSans" charset="0"/>
              </a:rPr>
              <a:t>Customized Micro Service for specified </a:t>
            </a:r>
            <a:r>
              <a:rPr lang="en-US" sz="1000" dirty="0" smtClean="0">
                <a:latin typeface="CiscoSans" charset="0"/>
                <a:ea typeface="CiscoSans" charset="0"/>
                <a:cs typeface="CiscoSans" charset="0"/>
              </a:rPr>
              <a:t>application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 smtClean="0">
                <a:latin typeface="CiscoSans" charset="0"/>
                <a:ea typeface="CiscoSans" charset="0"/>
                <a:cs typeface="CiscoSans" charset="0"/>
              </a:rPr>
              <a:t>Mobile: DSRC OBU 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 smtClean="0">
                <a:latin typeface="CiscoSans" charset="0"/>
                <a:ea typeface="CiscoSans" charset="0"/>
                <a:cs typeface="CiscoSans" charset="0"/>
              </a:rPr>
              <a:t>Mobile: IR829</a:t>
            </a:r>
            <a:endParaRPr lang="en-US" sz="1000" dirty="0">
              <a:latin typeface="CiscoSans" charset="0"/>
              <a:ea typeface="CiscoSans" charset="0"/>
              <a:cs typeface="Cisco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657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Table 6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5256910"/>
              </p:ext>
            </p:extLst>
          </p:nvPr>
        </p:nvGraphicFramePr>
        <p:xfrm>
          <a:off x="320712" y="1264008"/>
          <a:ext cx="8506806" cy="3291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35602"/>
                <a:gridCol w="2835602"/>
                <a:gridCol w="2835602"/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 smtClean="0">
                          <a:solidFill>
                            <a:schemeClr val="bg2"/>
                          </a:solidFill>
                          <a:latin typeface="CiscoSans" charset="0"/>
                          <a:ea typeface="CiscoSans" charset="0"/>
                          <a:cs typeface="CiscoSans" charset="0"/>
                        </a:rPr>
                        <a:t>Interchange</a:t>
                      </a:r>
                      <a:endParaRPr lang="en-US" sz="1200" b="0" dirty="0">
                        <a:solidFill>
                          <a:schemeClr val="bg2"/>
                        </a:solidFill>
                        <a:latin typeface="CiscoSans" charset="0"/>
                        <a:ea typeface="CiscoSans" charset="0"/>
                        <a:cs typeface="CiscoSans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6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bg2"/>
                          </a:solidFill>
                          <a:latin typeface="CiscoSans" charset="0"/>
                          <a:ea typeface="CiscoSans" charset="0"/>
                          <a:cs typeface="CiscoSans" charset="0"/>
                        </a:rPr>
                        <a:t>Stationary</a:t>
                      </a:r>
                      <a:r>
                        <a:rPr lang="en-US" sz="1200" b="0" baseline="0" dirty="0" smtClean="0">
                          <a:solidFill>
                            <a:schemeClr val="bg2"/>
                          </a:solidFill>
                          <a:latin typeface="CiscoSans" charset="0"/>
                          <a:ea typeface="CiscoSans" charset="0"/>
                          <a:cs typeface="CiscoSans" charset="0"/>
                        </a:rPr>
                        <a:t> WZ</a:t>
                      </a:r>
                      <a:endParaRPr lang="en-US" sz="1200" b="0" dirty="0" smtClean="0">
                        <a:solidFill>
                          <a:schemeClr val="bg2"/>
                        </a:solidFill>
                        <a:latin typeface="CiscoSans" charset="0"/>
                        <a:ea typeface="CiscoSans" charset="0"/>
                        <a:cs typeface="CiscoSans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6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bg2"/>
                          </a:solidFill>
                          <a:latin typeface="CiscoSans" charset="0"/>
                          <a:ea typeface="CiscoSans" charset="0"/>
                          <a:cs typeface="CiscoSans" charset="0"/>
                        </a:rPr>
                        <a:t>Stationary and Mobile WZ</a:t>
                      </a:r>
                      <a:endParaRPr lang="en-US" sz="1200" b="0" dirty="0" smtClean="0">
                        <a:solidFill>
                          <a:schemeClr val="bg2"/>
                        </a:solidFill>
                        <a:latin typeface="CiscoSans" charset="0"/>
                        <a:ea typeface="CiscoSans" charset="0"/>
                        <a:cs typeface="CiscoSans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6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 smtClean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6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 smtClean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3" name="Text Placeholder 6"/>
          <p:cNvSpPr txBox="1">
            <a:spLocks/>
          </p:cNvSpPr>
          <p:nvPr/>
        </p:nvSpPr>
        <p:spPr>
          <a:xfrm>
            <a:off x="4792935" y="3135964"/>
            <a:ext cx="3872386" cy="981906"/>
          </a:xfrm>
          <a:prstGeom prst="rect">
            <a:avLst/>
          </a:prstGeom>
        </p:spPr>
        <p:txBody>
          <a:bodyPr/>
          <a:lstStyle>
            <a:lvl1pPr marL="169863" indent="-169863" algn="l" defTabSz="684213" rtl="0" eaLnBrk="1" fontAlgn="base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charset="0"/>
              <a:buChar char="•"/>
              <a:defRPr lang="en-US" sz="15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1pPr>
            <a:lvl2pPr marL="358775" indent="-215900" algn="l" defTabSz="684213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2pPr>
            <a:lvl3pPr marL="431800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3pPr>
            <a:lvl4pPr marL="503238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4pPr>
            <a:lvl5pPr marL="574675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en-US" sz="1050" dirty="0">
              <a:solidFill>
                <a:srgbClr val="004BA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itle 6"/>
          <p:cNvSpPr>
            <a:spLocks noGrp="1"/>
          </p:cNvSpPr>
          <p:nvPr>
            <p:ph type="title"/>
          </p:nvPr>
        </p:nvSpPr>
        <p:spPr>
          <a:xfrm>
            <a:off x="437766" y="407059"/>
            <a:ext cx="8345488" cy="41592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pc="-67" dirty="0" smtClean="0"/>
              <a:t>Needs from MDOT</a:t>
            </a:r>
            <a:endParaRPr lang="en-US" spc="-67" dirty="0"/>
          </a:p>
        </p:txBody>
      </p:sp>
      <p:sp>
        <p:nvSpPr>
          <p:cNvPr id="44" name="TextBox 43"/>
          <p:cNvSpPr txBox="1"/>
          <p:nvPr/>
        </p:nvSpPr>
        <p:spPr>
          <a:xfrm>
            <a:off x="320713" y="1684301"/>
            <a:ext cx="2810114" cy="20159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 smtClean="0">
                <a:latin typeface="CiscoSans" charset="0"/>
                <a:ea typeface="CiscoSans" charset="0"/>
                <a:cs typeface="CiscoSans" charset="0"/>
              </a:rPr>
              <a:t>Fiber or Cellular VPN/APN backhaul </a:t>
            </a:r>
            <a:r>
              <a:rPr lang="en-US" sz="1000" dirty="0" smtClean="0">
                <a:latin typeface="CiscoSans" charset="0"/>
                <a:ea typeface="CiscoSans" charset="0"/>
                <a:cs typeface="CiscoSans" charset="0"/>
              </a:rPr>
              <a:t>communications to enable resiliency, data segmentation, and security </a:t>
            </a:r>
            <a:endParaRPr lang="en-US" sz="1000" dirty="0" smtClean="0">
              <a:latin typeface="CiscoSans" charset="0"/>
              <a:ea typeface="CiscoSans" charset="0"/>
              <a:cs typeface="CiscoSans" charset="0"/>
            </a:endParaRP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 smtClean="0">
                <a:latin typeface="CiscoSans" charset="0"/>
                <a:ea typeface="CiscoSans" charset="0"/>
                <a:cs typeface="CiscoSans" charset="0"/>
              </a:rPr>
              <a:t>Mounting location including power and clear line of site to roadway</a:t>
            </a:r>
            <a:endParaRPr lang="en-US" sz="1000" dirty="0">
              <a:latin typeface="CiscoSans" charset="0"/>
              <a:ea typeface="CiscoSans" charset="0"/>
              <a:cs typeface="CiscoSans" charset="0"/>
            </a:endParaRP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 smtClean="0">
                <a:latin typeface="CiscoSans" charset="0"/>
                <a:ea typeface="CiscoSans" charset="0"/>
                <a:cs typeface="CiscoSans" charset="0"/>
              </a:rPr>
              <a:t>Mounting and Connection services (crew assistance)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 smtClean="0">
                <a:latin typeface="CiscoSans" charset="0"/>
                <a:ea typeface="CiscoSans" charset="0"/>
                <a:cs typeface="CiscoSans" charset="0"/>
              </a:rPr>
              <a:t>ITS &amp; Ops, Integration Assistance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 smtClean="0">
                <a:latin typeface="CiscoSans" charset="0"/>
                <a:ea typeface="CiscoSans" charset="0"/>
                <a:cs typeface="CiscoSans" charset="0"/>
              </a:rPr>
              <a:t>Roadside DMS/VMS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 smtClean="0">
                <a:latin typeface="CiscoSans" charset="0"/>
                <a:ea typeface="CiscoSans" charset="0"/>
                <a:cs typeface="CiscoSans" charset="0"/>
              </a:rPr>
              <a:t>Roadside VSL 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3130827" y="1594183"/>
            <a:ext cx="2810114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 smtClean="0">
                <a:latin typeface="CiscoSans" charset="0"/>
                <a:ea typeface="CiscoSans" charset="0"/>
                <a:cs typeface="CiscoSans" charset="0"/>
              </a:rPr>
              <a:t>RWIS Location and Hardware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 smtClean="0">
                <a:latin typeface="CiscoSans" charset="0"/>
                <a:ea typeface="CiscoSans" charset="0"/>
                <a:cs typeface="CiscoSans" charset="0"/>
              </a:rPr>
              <a:t>Fiber </a:t>
            </a:r>
            <a:r>
              <a:rPr lang="en-US" sz="1000" dirty="0">
                <a:latin typeface="CiscoSans" charset="0"/>
                <a:ea typeface="CiscoSans" charset="0"/>
                <a:cs typeface="CiscoSans" charset="0"/>
              </a:rPr>
              <a:t>or Cellular VPN/APN backhaul communications to enable resiliency, data segmentation, and security 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>
                <a:latin typeface="CiscoSans" charset="0"/>
                <a:ea typeface="CiscoSans" charset="0"/>
                <a:cs typeface="CiscoSans" charset="0"/>
              </a:rPr>
              <a:t>Mounting location including power and clear line of site to roadway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>
                <a:latin typeface="CiscoSans" charset="0"/>
                <a:ea typeface="CiscoSans" charset="0"/>
                <a:cs typeface="CiscoSans" charset="0"/>
              </a:rPr>
              <a:t>Mounting and Connection services (crew assistance)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>
                <a:latin typeface="CiscoSans" charset="0"/>
                <a:ea typeface="CiscoSans" charset="0"/>
                <a:cs typeface="CiscoSans" charset="0"/>
              </a:rPr>
              <a:t>ITS &amp; Ops, Integration </a:t>
            </a:r>
            <a:r>
              <a:rPr lang="en-US" sz="1000" dirty="0" smtClean="0">
                <a:latin typeface="CiscoSans" charset="0"/>
                <a:ea typeface="CiscoSans" charset="0"/>
                <a:cs typeface="CiscoSans" charset="0"/>
              </a:rPr>
              <a:t>Assistance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>
                <a:latin typeface="CiscoSans" charset="0"/>
                <a:ea typeface="CiscoSans" charset="0"/>
                <a:cs typeface="CiscoSans" charset="0"/>
              </a:rPr>
              <a:t>Roadside DMS/VMS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>
                <a:latin typeface="CiscoSans" charset="0"/>
                <a:ea typeface="CiscoSans" charset="0"/>
                <a:cs typeface="CiscoSans" charset="0"/>
              </a:rPr>
              <a:t>Roadside VSL 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5940941" y="1684301"/>
            <a:ext cx="2810114" cy="3016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 smtClean="0">
                <a:latin typeface="CiscoSans" charset="0"/>
                <a:ea typeface="CiscoSans" charset="0"/>
                <a:cs typeface="CiscoSans" charset="0"/>
              </a:rPr>
              <a:t>Viable Construction Zone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>
                <a:latin typeface="CiscoSans" charset="0"/>
                <a:ea typeface="CiscoSans" charset="0"/>
                <a:cs typeface="CiscoSans" charset="0"/>
              </a:rPr>
              <a:t>Fiber or Cellular VPN/APN backhaul communications to enable resiliency, data segmentation, and security 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>
                <a:latin typeface="CiscoSans" charset="0"/>
                <a:ea typeface="CiscoSans" charset="0"/>
                <a:cs typeface="CiscoSans" charset="0"/>
              </a:rPr>
              <a:t>Mounting location including power and clear line of site to roadway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>
                <a:latin typeface="CiscoSans" charset="0"/>
                <a:ea typeface="CiscoSans" charset="0"/>
                <a:cs typeface="CiscoSans" charset="0"/>
              </a:rPr>
              <a:t>Mounting and Connection services (crew assistance)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>
                <a:latin typeface="CiscoSans" charset="0"/>
                <a:ea typeface="CiscoSans" charset="0"/>
                <a:cs typeface="CiscoSans" charset="0"/>
              </a:rPr>
              <a:t>ITS &amp; Ops, Integration </a:t>
            </a:r>
            <a:r>
              <a:rPr lang="en-US" sz="1000" dirty="0" smtClean="0">
                <a:latin typeface="CiscoSans" charset="0"/>
                <a:ea typeface="CiscoSans" charset="0"/>
                <a:cs typeface="CiscoSans" charset="0"/>
              </a:rPr>
              <a:t>Assistance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 smtClean="0">
                <a:latin typeface="CiscoSans" charset="0"/>
                <a:ea typeface="CiscoSans" charset="0"/>
                <a:cs typeface="CiscoSans" charset="0"/>
              </a:rPr>
              <a:t>Roadside </a:t>
            </a:r>
            <a:r>
              <a:rPr lang="en-US" sz="1000" dirty="0">
                <a:latin typeface="CiscoSans" charset="0"/>
                <a:ea typeface="CiscoSans" charset="0"/>
                <a:cs typeface="CiscoSans" charset="0"/>
              </a:rPr>
              <a:t>DMS/VMS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>
                <a:latin typeface="CiscoSans" charset="0"/>
                <a:ea typeface="CiscoSans" charset="0"/>
                <a:cs typeface="CiscoSans" charset="0"/>
              </a:rPr>
              <a:t>Roadside VSL 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000" dirty="0" smtClean="0">
                <a:latin typeface="CiscoSans" charset="0"/>
                <a:ea typeface="CiscoSans" charset="0"/>
                <a:cs typeface="CiscoSans" charset="0"/>
              </a:rPr>
              <a:t>Mobile: Attenuator vehicle for mounting and connectivity. OBU/OBDII/CAN-BUS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endParaRPr lang="en-US" sz="1000" dirty="0" smtClean="0">
              <a:latin typeface="CiscoSans" charset="0"/>
              <a:ea typeface="CiscoSans" charset="0"/>
              <a:cs typeface="Cisco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2992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 txBox="1">
            <a:spLocks/>
          </p:cNvSpPr>
          <p:nvPr/>
        </p:nvSpPr>
        <p:spPr bwMode="auto">
          <a:xfrm>
            <a:off x="445581" y="353146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US" sz="2800" b="0" i="0" u="none" kern="120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  <a:lvl2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2pPr>
            <a:lvl3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3pPr>
            <a:lvl4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4pPr>
            <a:lvl5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5pPr>
            <a:lvl6pPr marL="4572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9144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3716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18288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dirty="0" smtClean="0">
                <a:solidFill>
                  <a:srgbClr val="005073"/>
                </a:solidFill>
              </a:rPr>
              <a:t>Site Components- </a:t>
            </a:r>
            <a:endParaRPr lang="en-US" dirty="0">
              <a:solidFill>
                <a:srgbClr val="005073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7824" y="1084983"/>
            <a:ext cx="7521001" cy="3276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628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416424" y="484392"/>
            <a:ext cx="8537076" cy="1545646"/>
          </a:xfrm>
        </p:spPr>
        <p:txBody>
          <a:bodyPr/>
          <a:lstStyle/>
          <a:p>
            <a:r>
              <a:rPr lang="en-US" sz="4400" dirty="0" smtClean="0">
                <a:solidFill>
                  <a:schemeClr val="tx1"/>
                </a:solidFill>
              </a:rPr>
              <a:t>Real-time data decision making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70218" y="2030038"/>
            <a:ext cx="7449475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800" i="1" dirty="0" smtClean="0">
                <a:solidFill>
                  <a:srgbClr val="FFFFFF"/>
                </a:solidFill>
                <a:latin typeface="CiscoSans" panose="020B0503020201020303" pitchFamily="34" charset="0"/>
              </a:rPr>
              <a:t>Increasing Safety </a:t>
            </a:r>
          </a:p>
          <a:p>
            <a:r>
              <a:rPr lang="en-US" sz="4800" i="1" dirty="0">
                <a:solidFill>
                  <a:srgbClr val="FFFFFF"/>
                </a:solidFill>
                <a:latin typeface="CiscoSans" panose="020B0503020201020303" pitchFamily="34" charset="0"/>
              </a:rPr>
              <a:t>	</a:t>
            </a:r>
            <a:r>
              <a:rPr lang="en-US" sz="4800" i="1" dirty="0" smtClean="0">
                <a:solidFill>
                  <a:srgbClr val="FFFFFF"/>
                </a:solidFill>
                <a:latin typeface="CiscoSans" panose="020B0503020201020303" pitchFamily="34" charset="0"/>
              </a:rPr>
              <a:t>							</a:t>
            </a:r>
            <a:r>
              <a:rPr lang="en-US" sz="4800" i="1" dirty="0" smtClean="0">
                <a:solidFill>
                  <a:srgbClr val="FFFFFF"/>
                </a:solidFill>
                <a:latin typeface="CiscoSans" panose="020B0503020201020303" pitchFamily="34" charset="0"/>
              </a:rPr>
              <a:t>and Visibility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 rot="10800000">
            <a:off x="72834" y="4902873"/>
            <a:ext cx="122310" cy="169451"/>
            <a:chOff x="1038286" y="1218564"/>
            <a:chExt cx="163037" cy="225934"/>
          </a:xfrm>
          <a:noFill/>
        </p:grpSpPr>
        <p:sp>
          <p:nvSpPr>
            <p:cNvPr id="8" name="Left-Up Arrow 7"/>
            <p:cNvSpPr/>
            <p:nvPr/>
          </p:nvSpPr>
          <p:spPr>
            <a:xfrm>
              <a:off x="1038286" y="1218564"/>
              <a:ext cx="145875" cy="145885"/>
            </a:xfrm>
            <a:prstGeom prst="leftUpArrow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4894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rgbClr val="FFFFFF"/>
                </a:solidFill>
                <a:latin typeface="Arial"/>
              </a:endParaRPr>
            </a:p>
          </p:txBody>
        </p:sp>
        <p:cxnSp>
          <p:nvCxnSpPr>
            <p:cNvPr id="9" name="Straight Connector 8"/>
            <p:cNvCxnSpPr/>
            <p:nvPr/>
          </p:nvCxnSpPr>
          <p:spPr>
            <a:xfrm flipV="1">
              <a:off x="1124095" y="1295801"/>
              <a:ext cx="77228" cy="94396"/>
            </a:xfrm>
            <a:prstGeom prst="line">
              <a:avLst/>
            </a:prstGeom>
            <a:grpFill/>
            <a:ln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Oval 9"/>
            <p:cNvSpPr/>
            <p:nvPr/>
          </p:nvSpPr>
          <p:spPr>
            <a:xfrm>
              <a:off x="1055448" y="1398778"/>
              <a:ext cx="45719" cy="45720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4894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rgbClr val="FFFFFF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10125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 txBox="1">
            <a:spLocks/>
          </p:cNvSpPr>
          <p:nvPr/>
        </p:nvSpPr>
        <p:spPr bwMode="auto">
          <a:xfrm>
            <a:off x="445581" y="353146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US" sz="2800" b="0" i="0" u="none" kern="120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  <a:lvl2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2pPr>
            <a:lvl3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3pPr>
            <a:lvl4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4pPr>
            <a:lvl5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5pPr>
            <a:lvl6pPr marL="4572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9144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3716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18288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dirty="0" smtClean="0">
                <a:solidFill>
                  <a:srgbClr val="005073"/>
                </a:solidFill>
              </a:rPr>
              <a:t>Site Components- </a:t>
            </a:r>
            <a:endParaRPr lang="en-US" dirty="0">
              <a:solidFill>
                <a:srgbClr val="005073"/>
              </a:solidFill>
            </a:endParaRPr>
          </a:p>
        </p:txBody>
      </p:sp>
      <p:pic>
        <p:nvPicPr>
          <p:cNvPr id="47" name="Picture 4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5304" y="834886"/>
            <a:ext cx="5008436" cy="4121197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2703444" y="1084983"/>
            <a:ext cx="487017" cy="296556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16" name="TextBox 15"/>
          <p:cNvSpPr txBox="1"/>
          <p:nvPr/>
        </p:nvSpPr>
        <p:spPr>
          <a:xfrm>
            <a:off x="2703444" y="1084983"/>
            <a:ext cx="4870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 smtClean="0">
                <a:latin typeface="+mn-lt"/>
              </a:rPr>
              <a:t>Lidar &amp; Camera</a:t>
            </a:r>
            <a:endParaRPr lang="en-US" sz="600" dirty="0" smtClean="0">
              <a:latin typeface="+mn-lt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4885082" y="1096962"/>
            <a:ext cx="487017" cy="296556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50" name="TextBox 49"/>
          <p:cNvSpPr txBox="1"/>
          <p:nvPr/>
        </p:nvSpPr>
        <p:spPr>
          <a:xfrm>
            <a:off x="4885081" y="1116519"/>
            <a:ext cx="4870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 smtClean="0">
                <a:latin typeface="+mn-lt"/>
              </a:rPr>
              <a:t>Lidar &amp; Camera</a:t>
            </a:r>
            <a:endParaRPr lang="en-US" sz="600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34868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 txBox="1">
            <a:spLocks/>
          </p:cNvSpPr>
          <p:nvPr/>
        </p:nvSpPr>
        <p:spPr bwMode="auto">
          <a:xfrm>
            <a:off x="445581" y="353146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US" sz="2800" b="0" i="0" u="none" kern="120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  <a:lvl2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2pPr>
            <a:lvl3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3pPr>
            <a:lvl4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4pPr>
            <a:lvl5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5pPr>
            <a:lvl6pPr marL="4572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9144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3716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18288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dirty="0" smtClean="0">
                <a:solidFill>
                  <a:srgbClr val="005073"/>
                </a:solidFill>
              </a:rPr>
              <a:t>Site Components- </a:t>
            </a:r>
            <a:endParaRPr lang="en-US" dirty="0">
              <a:solidFill>
                <a:srgbClr val="005073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2793" y="881903"/>
            <a:ext cx="6780007" cy="3990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39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9985" y="272209"/>
            <a:ext cx="3420580" cy="4742645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76786" y="95114"/>
            <a:ext cx="8345488" cy="731837"/>
          </a:xfrm>
        </p:spPr>
        <p:txBody>
          <a:bodyPr/>
          <a:lstStyle/>
          <a:p>
            <a:r>
              <a:rPr lang="en-US" dirty="0" smtClean="0">
                <a:solidFill>
                  <a:schemeClr val="bg1"/>
                </a:solidFill>
                <a:latin typeface="Calibri" charset="0"/>
              </a:rPr>
              <a:t>Traction Control Intelligence</a:t>
            </a:r>
            <a:endParaRPr lang="en-US" b="0" i="0" u="none" strike="noStrike" baseline="0" dirty="0" smtClean="0">
              <a:solidFill>
                <a:schemeClr val="bg1"/>
              </a:solidFill>
              <a:latin typeface="Calibri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4690" y="2770850"/>
            <a:ext cx="4438649" cy="2006014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4690" y="890610"/>
            <a:ext cx="4438649" cy="1752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064264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 txBox="1">
            <a:spLocks/>
          </p:cNvSpPr>
          <p:nvPr/>
        </p:nvSpPr>
        <p:spPr bwMode="auto">
          <a:xfrm>
            <a:off x="445580" y="293928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US" sz="2800" b="0" i="0" u="none" kern="120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  <a:lvl2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2pPr>
            <a:lvl3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3pPr>
            <a:lvl4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4pPr>
            <a:lvl5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5pPr>
            <a:lvl6pPr marL="4572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9144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3716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18288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dirty="0" smtClean="0">
                <a:solidFill>
                  <a:srgbClr val="005073"/>
                </a:solidFill>
              </a:rPr>
              <a:t>Next Steps - </a:t>
            </a:r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63367" y="2113456"/>
            <a:ext cx="2536896" cy="2477205"/>
          </a:xfrm>
          <a:prstGeom prst="rect">
            <a:avLst/>
          </a:prstGeom>
          <a:solidFill>
            <a:schemeClr val="tx1">
              <a:lumMod val="95000"/>
              <a:alpha val="9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tIns="45720" rtlCol="0" anchor="ctr" anchorCtr="0"/>
          <a:lstStyle/>
          <a:p>
            <a:pPr algn="ctr">
              <a:tabLst>
                <a:tab pos="457189" algn="l"/>
              </a:tabLst>
            </a:pPr>
            <a:r>
              <a:rPr lang="en-US" sz="1600" dirty="0" smtClean="0">
                <a:solidFill>
                  <a:srgbClr val="00507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hysical Locations, Strategy </a:t>
            </a:r>
            <a:r>
              <a:rPr lang="en-US" sz="1600" dirty="0">
                <a:solidFill>
                  <a:srgbClr val="00507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d </a:t>
            </a:r>
            <a:r>
              <a:rPr lang="en-US" sz="1600" dirty="0" smtClean="0">
                <a:solidFill>
                  <a:srgbClr val="00507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rchitecture Review</a:t>
            </a:r>
          </a:p>
          <a:p>
            <a:pPr algn="ctr">
              <a:tabLst>
                <a:tab pos="457189" algn="l"/>
              </a:tabLst>
            </a:pPr>
            <a:endParaRPr lang="en-US" sz="1600" dirty="0" smtClean="0">
              <a:solidFill>
                <a:srgbClr val="005073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tabLst>
                <a:tab pos="457189" algn="l"/>
              </a:tabLst>
            </a:pPr>
            <a:r>
              <a:rPr lang="en-US" sz="1600" dirty="0" smtClean="0">
                <a:solidFill>
                  <a:srgbClr val="00507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ep Dive Workshop</a:t>
            </a:r>
          </a:p>
        </p:txBody>
      </p:sp>
      <p:sp>
        <p:nvSpPr>
          <p:cNvPr id="6" name="Rectangle 5"/>
          <p:cNvSpPr/>
          <p:nvPr/>
        </p:nvSpPr>
        <p:spPr>
          <a:xfrm>
            <a:off x="563367" y="1736817"/>
            <a:ext cx="2536896" cy="76449"/>
          </a:xfrm>
          <a:prstGeom prst="rect">
            <a:avLst/>
          </a:prstGeom>
          <a:solidFill>
            <a:srgbClr val="005073"/>
          </a:solidFill>
          <a:ln w="25400" cap="flat" cmpd="sng" algn="ctr">
            <a:noFill/>
            <a:prstDash val="solid"/>
          </a:ln>
          <a:effectLst/>
        </p:spPr>
        <p:txBody>
          <a:bodyPr tIns="45720" rtlCol="0" anchor="ctr" anchorCtr="0"/>
          <a:lstStyle/>
          <a:p>
            <a:pPr marL="0" marR="0" lvl="0" indent="0" algn="ctr" defTabSz="4571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224224" y="2113456"/>
            <a:ext cx="2905988" cy="2477205"/>
          </a:xfrm>
          <a:prstGeom prst="rect">
            <a:avLst/>
          </a:prstGeom>
          <a:solidFill>
            <a:schemeClr val="tx1">
              <a:lumMod val="95000"/>
              <a:alpha val="9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tIns="45720" rtlCol="0" anchor="ctr" anchorCtr="0"/>
          <a:lstStyle/>
          <a:p>
            <a:pPr algn="ctr">
              <a:tabLst>
                <a:tab pos="457189" algn="l"/>
              </a:tabLst>
            </a:pPr>
            <a:r>
              <a:rPr lang="en-US" dirty="0" smtClean="0">
                <a:solidFill>
                  <a:srgbClr val="005073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AS System Design</a:t>
            </a:r>
            <a:endParaRPr lang="en-US" sz="1200" dirty="0" smtClean="0">
              <a:solidFill>
                <a:srgbClr val="005073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50000"/>
              </a:lnSpc>
              <a:tabLst>
                <a:tab pos="457189" algn="l"/>
              </a:tabLst>
            </a:pPr>
            <a:r>
              <a:rPr lang="en-US" sz="1200" dirty="0" smtClean="0">
                <a:solidFill>
                  <a:srgbClr val="005073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Micro service </a:t>
            </a:r>
            <a:r>
              <a:rPr lang="en-US" sz="1200" dirty="0" smtClean="0">
                <a:solidFill>
                  <a:srgbClr val="005073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Workflow</a:t>
            </a:r>
          </a:p>
          <a:p>
            <a:pPr algn="ctr">
              <a:lnSpc>
                <a:spcPct val="150000"/>
              </a:lnSpc>
              <a:tabLst>
                <a:tab pos="457189" algn="l"/>
              </a:tabLst>
            </a:pPr>
            <a:r>
              <a:rPr lang="en-US" sz="1200" dirty="0" smtClean="0">
                <a:solidFill>
                  <a:srgbClr val="005073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Policy Translation</a:t>
            </a:r>
          </a:p>
          <a:p>
            <a:pPr algn="ctr">
              <a:lnSpc>
                <a:spcPct val="150000"/>
              </a:lnSpc>
              <a:tabLst>
                <a:tab pos="457189" algn="l"/>
              </a:tabLst>
            </a:pPr>
            <a:r>
              <a:rPr lang="en-US" sz="1200" dirty="0" smtClean="0">
                <a:solidFill>
                  <a:srgbClr val="005073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Data Structure</a:t>
            </a:r>
          </a:p>
          <a:p>
            <a:pPr algn="ctr">
              <a:lnSpc>
                <a:spcPct val="150000"/>
              </a:lnSpc>
              <a:tabLst>
                <a:tab pos="457189" algn="l"/>
              </a:tabLst>
            </a:pPr>
            <a:r>
              <a:rPr lang="en-US" sz="1200" dirty="0" smtClean="0">
                <a:solidFill>
                  <a:srgbClr val="005073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Security </a:t>
            </a:r>
            <a:r>
              <a:rPr lang="en-US" sz="1200" dirty="0">
                <a:solidFill>
                  <a:srgbClr val="005073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Controls </a:t>
            </a:r>
            <a:endParaRPr lang="en-US" sz="1200" dirty="0" smtClean="0">
              <a:solidFill>
                <a:srgbClr val="005073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224224" y="1740371"/>
            <a:ext cx="2905988" cy="76449"/>
          </a:xfrm>
          <a:prstGeom prst="rect">
            <a:avLst/>
          </a:prstGeom>
          <a:solidFill>
            <a:srgbClr val="005073"/>
          </a:solidFill>
          <a:ln w="25400" cap="flat" cmpd="sng" algn="ctr">
            <a:noFill/>
            <a:prstDash val="solid"/>
          </a:ln>
          <a:effectLst/>
        </p:spPr>
        <p:txBody>
          <a:bodyPr tIns="45720" rtlCol="0" anchor="ctr" anchorCtr="0"/>
          <a:lstStyle/>
          <a:p>
            <a:pPr marL="0" marR="0" lvl="0" indent="0" algn="ctr" defTabSz="4571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254173" y="2113456"/>
            <a:ext cx="2536896" cy="2477205"/>
          </a:xfrm>
          <a:prstGeom prst="rect">
            <a:avLst/>
          </a:prstGeom>
          <a:solidFill>
            <a:schemeClr val="tx1">
              <a:lumMod val="95000"/>
              <a:alpha val="9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tIns="45720" rtlCol="0" anchor="ctr" anchorCtr="0"/>
          <a:lstStyle/>
          <a:p>
            <a:pPr algn="ctr">
              <a:tabLst>
                <a:tab pos="457189" algn="l"/>
              </a:tabLst>
            </a:pPr>
            <a:r>
              <a:rPr lang="en-US" sz="1600" dirty="0" smtClean="0">
                <a:solidFill>
                  <a:srgbClr val="005073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Execution </a:t>
            </a:r>
            <a:r>
              <a:rPr lang="en-US" sz="1600" smtClean="0">
                <a:solidFill>
                  <a:srgbClr val="005073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and Implementation</a:t>
            </a:r>
            <a:endParaRPr lang="en-US" sz="1600" dirty="0" smtClean="0">
              <a:solidFill>
                <a:srgbClr val="005073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tabLst>
                <a:tab pos="457189" algn="l"/>
              </a:tabLst>
            </a:pPr>
            <a:endParaRPr lang="en-US" sz="1600" dirty="0">
              <a:solidFill>
                <a:srgbClr val="005073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254172" y="1736817"/>
            <a:ext cx="2536896" cy="76449"/>
          </a:xfrm>
          <a:prstGeom prst="rect">
            <a:avLst/>
          </a:prstGeom>
          <a:solidFill>
            <a:srgbClr val="005073"/>
          </a:solidFill>
          <a:ln w="25400" cap="flat" cmpd="sng" algn="ctr">
            <a:noFill/>
            <a:prstDash val="solid"/>
          </a:ln>
          <a:effectLst/>
        </p:spPr>
        <p:txBody>
          <a:bodyPr tIns="45720" rtlCol="0" anchor="ctr" anchorCtr="0"/>
          <a:lstStyle/>
          <a:p>
            <a:pPr marL="0" marR="0" lvl="0" indent="0" algn="ctr" defTabSz="4571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224224" y="1835271"/>
            <a:ext cx="2905988" cy="292461"/>
          </a:xfrm>
          <a:prstGeom prst="rect">
            <a:avLst/>
          </a:prstGeom>
          <a:solidFill>
            <a:schemeClr val="tx1">
              <a:lumMod val="95000"/>
              <a:alpha val="9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tIns="45720" rtlCol="0" anchor="ctr" anchorCtr="0"/>
          <a:lstStyle/>
          <a:p>
            <a:pPr algn="ctr">
              <a:tabLst>
                <a:tab pos="457189" algn="l"/>
              </a:tabLst>
            </a:pPr>
            <a:endParaRPr lang="en-US" sz="1200" dirty="0">
              <a:solidFill>
                <a:srgbClr val="005073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4280" y="1063990"/>
            <a:ext cx="1285875" cy="1285875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563367" y="1813266"/>
            <a:ext cx="2536896" cy="300190"/>
          </a:xfrm>
          <a:prstGeom prst="rect">
            <a:avLst/>
          </a:prstGeom>
          <a:solidFill>
            <a:schemeClr val="tx1">
              <a:lumMod val="95000"/>
              <a:alpha val="9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tIns="45720" rtlCol="0" anchor="ctr" anchorCtr="0"/>
          <a:lstStyle/>
          <a:p>
            <a:pPr algn="ctr">
              <a:tabLst>
                <a:tab pos="457189" algn="l"/>
              </a:tabLst>
            </a:pPr>
            <a:endParaRPr lang="en-US" sz="1200" dirty="0">
              <a:solidFill>
                <a:srgbClr val="005073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254172" y="1813266"/>
            <a:ext cx="2536896" cy="300190"/>
          </a:xfrm>
          <a:prstGeom prst="rect">
            <a:avLst/>
          </a:prstGeom>
          <a:solidFill>
            <a:schemeClr val="tx1">
              <a:lumMod val="95000"/>
              <a:alpha val="9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tIns="45720" rtlCol="0" anchor="ctr" anchorCtr="0"/>
          <a:lstStyle/>
          <a:p>
            <a:pPr algn="ctr">
              <a:tabLst>
                <a:tab pos="457189" algn="l"/>
              </a:tabLst>
            </a:pPr>
            <a:endParaRPr lang="en-US" sz="1200" dirty="0">
              <a:solidFill>
                <a:srgbClr val="005073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8877" y="1063990"/>
            <a:ext cx="1285875" cy="1285875"/>
          </a:xfrm>
          <a:prstGeom prst="rect">
            <a:avLst/>
          </a:prstGeom>
        </p:spPr>
      </p:pic>
      <p:grpSp>
        <p:nvGrpSpPr>
          <p:cNvPr id="108" name="Group 107"/>
          <p:cNvGrpSpPr/>
          <p:nvPr/>
        </p:nvGrpSpPr>
        <p:grpSpPr>
          <a:xfrm>
            <a:off x="6881375" y="1063990"/>
            <a:ext cx="1285875" cy="1285875"/>
            <a:chOff x="4968295" y="-428884"/>
            <a:chExt cx="1285875" cy="1285875"/>
          </a:xfrm>
        </p:grpSpPr>
        <p:grpSp>
          <p:nvGrpSpPr>
            <p:cNvPr id="19" name="Group 18"/>
            <p:cNvGrpSpPr/>
            <p:nvPr/>
          </p:nvGrpSpPr>
          <p:grpSpPr>
            <a:xfrm>
              <a:off x="4968295" y="-428884"/>
              <a:ext cx="1285875" cy="1285875"/>
              <a:chOff x="4968295" y="-428884"/>
              <a:chExt cx="1285875" cy="1285875"/>
            </a:xfrm>
          </p:grpSpPr>
          <p:pic>
            <p:nvPicPr>
              <p:cNvPr id="18" name="Picture 17"/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8295" y="-428884"/>
                <a:ext cx="1285875" cy="1285875"/>
              </a:xfrm>
              <a:prstGeom prst="rect">
                <a:avLst/>
              </a:prstGeom>
            </p:spPr>
          </p:pic>
          <p:sp>
            <p:nvSpPr>
              <p:cNvPr id="3" name="Rectangle 2"/>
              <p:cNvSpPr/>
              <p:nvPr/>
            </p:nvSpPr>
            <p:spPr>
              <a:xfrm>
                <a:off x="5261262" y="0"/>
                <a:ext cx="682338" cy="353146"/>
              </a:xfrm>
              <a:prstGeom prst="rect">
                <a:avLst/>
              </a:prstGeom>
              <a:solidFill>
                <a:srgbClr val="00507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/>
              </a:p>
            </p:txBody>
          </p:sp>
        </p:grpSp>
        <p:grpSp>
          <p:nvGrpSpPr>
            <p:cNvPr id="74" name="Group 10"/>
            <p:cNvGrpSpPr>
              <a:grpSpLocks noChangeAspect="1"/>
            </p:cNvGrpSpPr>
            <p:nvPr/>
          </p:nvGrpSpPr>
          <p:grpSpPr bwMode="auto">
            <a:xfrm>
              <a:off x="5691198" y="72129"/>
              <a:ext cx="271791" cy="271791"/>
              <a:chOff x="2594" y="1936"/>
              <a:chExt cx="628" cy="628"/>
            </a:xfrm>
            <a:solidFill>
              <a:srgbClr val="FFFFFF"/>
            </a:solidFill>
          </p:grpSpPr>
          <p:sp>
            <p:nvSpPr>
              <p:cNvPr id="75" name="Freeform 11"/>
              <p:cNvSpPr>
                <a:spLocks/>
              </p:cNvSpPr>
              <p:nvPr/>
            </p:nvSpPr>
            <p:spPr bwMode="auto">
              <a:xfrm>
                <a:off x="2594" y="1936"/>
                <a:ext cx="628" cy="628"/>
              </a:xfrm>
              <a:custGeom>
                <a:avLst/>
                <a:gdLst>
                  <a:gd name="T0" fmla="*/ 1255 w 1256"/>
                  <a:gd name="T1" fmla="*/ 660 h 1256"/>
                  <a:gd name="T2" fmla="*/ 1243 w 1256"/>
                  <a:gd name="T3" fmla="*/ 754 h 1256"/>
                  <a:gd name="T4" fmla="*/ 1218 w 1256"/>
                  <a:gd name="T5" fmla="*/ 845 h 1256"/>
                  <a:gd name="T6" fmla="*/ 1180 w 1256"/>
                  <a:gd name="T7" fmla="*/ 928 h 1256"/>
                  <a:gd name="T8" fmla="*/ 1132 w 1256"/>
                  <a:gd name="T9" fmla="*/ 1004 h 1256"/>
                  <a:gd name="T10" fmla="*/ 1071 w 1256"/>
                  <a:gd name="T11" fmla="*/ 1073 h 1256"/>
                  <a:gd name="T12" fmla="*/ 1004 w 1256"/>
                  <a:gd name="T13" fmla="*/ 1132 h 1256"/>
                  <a:gd name="T14" fmla="*/ 928 w 1256"/>
                  <a:gd name="T15" fmla="*/ 1181 h 1256"/>
                  <a:gd name="T16" fmla="*/ 843 w 1256"/>
                  <a:gd name="T17" fmla="*/ 1218 h 1256"/>
                  <a:gd name="T18" fmla="*/ 754 w 1256"/>
                  <a:gd name="T19" fmla="*/ 1243 h 1256"/>
                  <a:gd name="T20" fmla="*/ 660 w 1256"/>
                  <a:gd name="T21" fmla="*/ 1256 h 1256"/>
                  <a:gd name="T22" fmla="*/ 595 w 1256"/>
                  <a:gd name="T23" fmla="*/ 1256 h 1256"/>
                  <a:gd name="T24" fmla="*/ 500 w 1256"/>
                  <a:gd name="T25" fmla="*/ 1243 h 1256"/>
                  <a:gd name="T26" fmla="*/ 411 w 1256"/>
                  <a:gd name="T27" fmla="*/ 1218 h 1256"/>
                  <a:gd name="T28" fmla="*/ 328 w 1256"/>
                  <a:gd name="T29" fmla="*/ 1181 h 1256"/>
                  <a:gd name="T30" fmla="*/ 252 w 1256"/>
                  <a:gd name="T31" fmla="*/ 1132 h 1256"/>
                  <a:gd name="T32" fmla="*/ 183 w 1256"/>
                  <a:gd name="T33" fmla="*/ 1073 h 1256"/>
                  <a:gd name="T34" fmla="*/ 124 w 1256"/>
                  <a:gd name="T35" fmla="*/ 1004 h 1256"/>
                  <a:gd name="T36" fmla="*/ 75 w 1256"/>
                  <a:gd name="T37" fmla="*/ 928 h 1256"/>
                  <a:gd name="T38" fmla="*/ 36 w 1256"/>
                  <a:gd name="T39" fmla="*/ 845 h 1256"/>
                  <a:gd name="T40" fmla="*/ 13 w 1256"/>
                  <a:gd name="T41" fmla="*/ 754 h 1256"/>
                  <a:gd name="T42" fmla="*/ 0 w 1256"/>
                  <a:gd name="T43" fmla="*/ 660 h 1256"/>
                  <a:gd name="T44" fmla="*/ 0 w 1256"/>
                  <a:gd name="T45" fmla="*/ 596 h 1256"/>
                  <a:gd name="T46" fmla="*/ 13 w 1256"/>
                  <a:gd name="T47" fmla="*/ 502 h 1256"/>
                  <a:gd name="T48" fmla="*/ 36 w 1256"/>
                  <a:gd name="T49" fmla="*/ 411 h 1256"/>
                  <a:gd name="T50" fmla="*/ 75 w 1256"/>
                  <a:gd name="T51" fmla="*/ 328 h 1256"/>
                  <a:gd name="T52" fmla="*/ 124 w 1256"/>
                  <a:gd name="T53" fmla="*/ 252 h 1256"/>
                  <a:gd name="T54" fmla="*/ 183 w 1256"/>
                  <a:gd name="T55" fmla="*/ 183 h 1256"/>
                  <a:gd name="T56" fmla="*/ 252 w 1256"/>
                  <a:gd name="T57" fmla="*/ 124 h 1256"/>
                  <a:gd name="T58" fmla="*/ 328 w 1256"/>
                  <a:gd name="T59" fmla="*/ 75 h 1256"/>
                  <a:gd name="T60" fmla="*/ 411 w 1256"/>
                  <a:gd name="T61" fmla="*/ 38 h 1256"/>
                  <a:gd name="T62" fmla="*/ 500 w 1256"/>
                  <a:gd name="T63" fmla="*/ 13 h 1256"/>
                  <a:gd name="T64" fmla="*/ 595 w 1256"/>
                  <a:gd name="T65" fmla="*/ 0 h 1256"/>
                  <a:gd name="T66" fmla="*/ 660 w 1256"/>
                  <a:gd name="T67" fmla="*/ 0 h 1256"/>
                  <a:gd name="T68" fmla="*/ 754 w 1256"/>
                  <a:gd name="T69" fmla="*/ 13 h 1256"/>
                  <a:gd name="T70" fmla="*/ 843 w 1256"/>
                  <a:gd name="T71" fmla="*/ 38 h 1256"/>
                  <a:gd name="T72" fmla="*/ 928 w 1256"/>
                  <a:gd name="T73" fmla="*/ 75 h 1256"/>
                  <a:gd name="T74" fmla="*/ 1004 w 1256"/>
                  <a:gd name="T75" fmla="*/ 124 h 1256"/>
                  <a:gd name="T76" fmla="*/ 1071 w 1256"/>
                  <a:gd name="T77" fmla="*/ 183 h 1256"/>
                  <a:gd name="T78" fmla="*/ 1132 w 1256"/>
                  <a:gd name="T79" fmla="*/ 252 h 1256"/>
                  <a:gd name="T80" fmla="*/ 1180 w 1256"/>
                  <a:gd name="T81" fmla="*/ 328 h 1256"/>
                  <a:gd name="T82" fmla="*/ 1218 w 1256"/>
                  <a:gd name="T83" fmla="*/ 411 h 1256"/>
                  <a:gd name="T84" fmla="*/ 1243 w 1256"/>
                  <a:gd name="T85" fmla="*/ 502 h 1256"/>
                  <a:gd name="T86" fmla="*/ 1255 w 1256"/>
                  <a:gd name="T87" fmla="*/ 596 h 1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256" h="1256">
                    <a:moveTo>
                      <a:pt x="1256" y="628"/>
                    </a:moveTo>
                    <a:lnTo>
                      <a:pt x="1256" y="628"/>
                    </a:lnTo>
                    <a:lnTo>
                      <a:pt x="1255" y="660"/>
                    </a:lnTo>
                    <a:lnTo>
                      <a:pt x="1253" y="692"/>
                    </a:lnTo>
                    <a:lnTo>
                      <a:pt x="1248" y="724"/>
                    </a:lnTo>
                    <a:lnTo>
                      <a:pt x="1243" y="754"/>
                    </a:lnTo>
                    <a:lnTo>
                      <a:pt x="1236" y="786"/>
                    </a:lnTo>
                    <a:lnTo>
                      <a:pt x="1228" y="815"/>
                    </a:lnTo>
                    <a:lnTo>
                      <a:pt x="1218" y="845"/>
                    </a:lnTo>
                    <a:lnTo>
                      <a:pt x="1207" y="872"/>
                    </a:lnTo>
                    <a:lnTo>
                      <a:pt x="1194" y="901"/>
                    </a:lnTo>
                    <a:lnTo>
                      <a:pt x="1180" y="928"/>
                    </a:lnTo>
                    <a:lnTo>
                      <a:pt x="1165" y="953"/>
                    </a:lnTo>
                    <a:lnTo>
                      <a:pt x="1149" y="979"/>
                    </a:lnTo>
                    <a:lnTo>
                      <a:pt x="1132" y="1004"/>
                    </a:lnTo>
                    <a:lnTo>
                      <a:pt x="1113" y="1028"/>
                    </a:lnTo>
                    <a:lnTo>
                      <a:pt x="1094" y="1051"/>
                    </a:lnTo>
                    <a:lnTo>
                      <a:pt x="1071" y="1073"/>
                    </a:lnTo>
                    <a:lnTo>
                      <a:pt x="1051" y="1094"/>
                    </a:lnTo>
                    <a:lnTo>
                      <a:pt x="1027" y="1113"/>
                    </a:lnTo>
                    <a:lnTo>
                      <a:pt x="1004" y="1132"/>
                    </a:lnTo>
                    <a:lnTo>
                      <a:pt x="979" y="1149"/>
                    </a:lnTo>
                    <a:lnTo>
                      <a:pt x="953" y="1165"/>
                    </a:lnTo>
                    <a:lnTo>
                      <a:pt x="928" y="1181"/>
                    </a:lnTo>
                    <a:lnTo>
                      <a:pt x="901" y="1194"/>
                    </a:lnTo>
                    <a:lnTo>
                      <a:pt x="872" y="1207"/>
                    </a:lnTo>
                    <a:lnTo>
                      <a:pt x="843" y="1218"/>
                    </a:lnTo>
                    <a:lnTo>
                      <a:pt x="815" y="1228"/>
                    </a:lnTo>
                    <a:lnTo>
                      <a:pt x="784" y="1237"/>
                    </a:lnTo>
                    <a:lnTo>
                      <a:pt x="754" y="1243"/>
                    </a:lnTo>
                    <a:lnTo>
                      <a:pt x="724" y="1250"/>
                    </a:lnTo>
                    <a:lnTo>
                      <a:pt x="692" y="1253"/>
                    </a:lnTo>
                    <a:lnTo>
                      <a:pt x="660" y="1256"/>
                    </a:lnTo>
                    <a:lnTo>
                      <a:pt x="628" y="1256"/>
                    </a:lnTo>
                    <a:lnTo>
                      <a:pt x="628" y="1256"/>
                    </a:lnTo>
                    <a:lnTo>
                      <a:pt x="595" y="1256"/>
                    </a:lnTo>
                    <a:lnTo>
                      <a:pt x="563" y="1253"/>
                    </a:lnTo>
                    <a:lnTo>
                      <a:pt x="532" y="1250"/>
                    </a:lnTo>
                    <a:lnTo>
                      <a:pt x="500" y="1243"/>
                    </a:lnTo>
                    <a:lnTo>
                      <a:pt x="470" y="1237"/>
                    </a:lnTo>
                    <a:lnTo>
                      <a:pt x="441" y="1228"/>
                    </a:lnTo>
                    <a:lnTo>
                      <a:pt x="411" y="1218"/>
                    </a:lnTo>
                    <a:lnTo>
                      <a:pt x="382" y="1207"/>
                    </a:lnTo>
                    <a:lnTo>
                      <a:pt x="355" y="1194"/>
                    </a:lnTo>
                    <a:lnTo>
                      <a:pt x="328" y="1181"/>
                    </a:lnTo>
                    <a:lnTo>
                      <a:pt x="301" y="1165"/>
                    </a:lnTo>
                    <a:lnTo>
                      <a:pt x="276" y="1149"/>
                    </a:lnTo>
                    <a:lnTo>
                      <a:pt x="252" y="1132"/>
                    </a:lnTo>
                    <a:lnTo>
                      <a:pt x="228" y="1113"/>
                    </a:lnTo>
                    <a:lnTo>
                      <a:pt x="205" y="1094"/>
                    </a:lnTo>
                    <a:lnTo>
                      <a:pt x="183" y="1073"/>
                    </a:lnTo>
                    <a:lnTo>
                      <a:pt x="162" y="1051"/>
                    </a:lnTo>
                    <a:lnTo>
                      <a:pt x="143" y="1028"/>
                    </a:lnTo>
                    <a:lnTo>
                      <a:pt x="124" y="1004"/>
                    </a:lnTo>
                    <a:lnTo>
                      <a:pt x="107" y="979"/>
                    </a:lnTo>
                    <a:lnTo>
                      <a:pt x="91" y="953"/>
                    </a:lnTo>
                    <a:lnTo>
                      <a:pt x="75" y="928"/>
                    </a:lnTo>
                    <a:lnTo>
                      <a:pt x="60" y="901"/>
                    </a:lnTo>
                    <a:lnTo>
                      <a:pt x="49" y="872"/>
                    </a:lnTo>
                    <a:lnTo>
                      <a:pt x="36" y="845"/>
                    </a:lnTo>
                    <a:lnTo>
                      <a:pt x="27" y="815"/>
                    </a:lnTo>
                    <a:lnTo>
                      <a:pt x="19" y="786"/>
                    </a:lnTo>
                    <a:lnTo>
                      <a:pt x="13" y="754"/>
                    </a:lnTo>
                    <a:lnTo>
                      <a:pt x="6" y="724"/>
                    </a:lnTo>
                    <a:lnTo>
                      <a:pt x="3" y="692"/>
                    </a:lnTo>
                    <a:lnTo>
                      <a:pt x="0" y="660"/>
                    </a:lnTo>
                    <a:lnTo>
                      <a:pt x="0" y="628"/>
                    </a:lnTo>
                    <a:lnTo>
                      <a:pt x="0" y="628"/>
                    </a:lnTo>
                    <a:lnTo>
                      <a:pt x="0" y="596"/>
                    </a:lnTo>
                    <a:lnTo>
                      <a:pt x="3" y="564"/>
                    </a:lnTo>
                    <a:lnTo>
                      <a:pt x="6" y="532"/>
                    </a:lnTo>
                    <a:lnTo>
                      <a:pt x="13" y="502"/>
                    </a:lnTo>
                    <a:lnTo>
                      <a:pt x="19" y="470"/>
                    </a:lnTo>
                    <a:lnTo>
                      <a:pt x="27" y="441"/>
                    </a:lnTo>
                    <a:lnTo>
                      <a:pt x="36" y="411"/>
                    </a:lnTo>
                    <a:lnTo>
                      <a:pt x="49" y="384"/>
                    </a:lnTo>
                    <a:lnTo>
                      <a:pt x="60" y="355"/>
                    </a:lnTo>
                    <a:lnTo>
                      <a:pt x="75" y="328"/>
                    </a:lnTo>
                    <a:lnTo>
                      <a:pt x="91" y="303"/>
                    </a:lnTo>
                    <a:lnTo>
                      <a:pt x="107" y="277"/>
                    </a:lnTo>
                    <a:lnTo>
                      <a:pt x="124" y="252"/>
                    </a:lnTo>
                    <a:lnTo>
                      <a:pt x="143" y="228"/>
                    </a:lnTo>
                    <a:lnTo>
                      <a:pt x="162" y="205"/>
                    </a:lnTo>
                    <a:lnTo>
                      <a:pt x="183" y="183"/>
                    </a:lnTo>
                    <a:lnTo>
                      <a:pt x="205" y="162"/>
                    </a:lnTo>
                    <a:lnTo>
                      <a:pt x="228" y="143"/>
                    </a:lnTo>
                    <a:lnTo>
                      <a:pt x="252" y="124"/>
                    </a:lnTo>
                    <a:lnTo>
                      <a:pt x="276" y="107"/>
                    </a:lnTo>
                    <a:lnTo>
                      <a:pt x="301" y="91"/>
                    </a:lnTo>
                    <a:lnTo>
                      <a:pt x="328" y="75"/>
                    </a:lnTo>
                    <a:lnTo>
                      <a:pt x="355" y="62"/>
                    </a:lnTo>
                    <a:lnTo>
                      <a:pt x="382" y="49"/>
                    </a:lnTo>
                    <a:lnTo>
                      <a:pt x="411" y="38"/>
                    </a:lnTo>
                    <a:lnTo>
                      <a:pt x="441" y="28"/>
                    </a:lnTo>
                    <a:lnTo>
                      <a:pt x="470" y="19"/>
                    </a:lnTo>
                    <a:lnTo>
                      <a:pt x="500" y="13"/>
                    </a:lnTo>
                    <a:lnTo>
                      <a:pt x="532" y="6"/>
                    </a:lnTo>
                    <a:lnTo>
                      <a:pt x="563" y="3"/>
                    </a:lnTo>
                    <a:lnTo>
                      <a:pt x="595" y="0"/>
                    </a:lnTo>
                    <a:lnTo>
                      <a:pt x="628" y="0"/>
                    </a:lnTo>
                    <a:lnTo>
                      <a:pt x="628" y="0"/>
                    </a:lnTo>
                    <a:lnTo>
                      <a:pt x="660" y="0"/>
                    </a:lnTo>
                    <a:lnTo>
                      <a:pt x="692" y="3"/>
                    </a:lnTo>
                    <a:lnTo>
                      <a:pt x="724" y="6"/>
                    </a:lnTo>
                    <a:lnTo>
                      <a:pt x="754" y="13"/>
                    </a:lnTo>
                    <a:lnTo>
                      <a:pt x="784" y="19"/>
                    </a:lnTo>
                    <a:lnTo>
                      <a:pt x="815" y="28"/>
                    </a:lnTo>
                    <a:lnTo>
                      <a:pt x="843" y="38"/>
                    </a:lnTo>
                    <a:lnTo>
                      <a:pt x="872" y="49"/>
                    </a:lnTo>
                    <a:lnTo>
                      <a:pt x="901" y="62"/>
                    </a:lnTo>
                    <a:lnTo>
                      <a:pt x="928" y="75"/>
                    </a:lnTo>
                    <a:lnTo>
                      <a:pt x="953" y="91"/>
                    </a:lnTo>
                    <a:lnTo>
                      <a:pt x="979" y="107"/>
                    </a:lnTo>
                    <a:lnTo>
                      <a:pt x="1004" y="124"/>
                    </a:lnTo>
                    <a:lnTo>
                      <a:pt x="1027" y="143"/>
                    </a:lnTo>
                    <a:lnTo>
                      <a:pt x="1051" y="162"/>
                    </a:lnTo>
                    <a:lnTo>
                      <a:pt x="1071" y="183"/>
                    </a:lnTo>
                    <a:lnTo>
                      <a:pt x="1094" y="205"/>
                    </a:lnTo>
                    <a:lnTo>
                      <a:pt x="1113" y="228"/>
                    </a:lnTo>
                    <a:lnTo>
                      <a:pt x="1132" y="252"/>
                    </a:lnTo>
                    <a:lnTo>
                      <a:pt x="1149" y="277"/>
                    </a:lnTo>
                    <a:lnTo>
                      <a:pt x="1165" y="303"/>
                    </a:lnTo>
                    <a:lnTo>
                      <a:pt x="1180" y="328"/>
                    </a:lnTo>
                    <a:lnTo>
                      <a:pt x="1194" y="355"/>
                    </a:lnTo>
                    <a:lnTo>
                      <a:pt x="1207" y="384"/>
                    </a:lnTo>
                    <a:lnTo>
                      <a:pt x="1218" y="411"/>
                    </a:lnTo>
                    <a:lnTo>
                      <a:pt x="1228" y="441"/>
                    </a:lnTo>
                    <a:lnTo>
                      <a:pt x="1236" y="470"/>
                    </a:lnTo>
                    <a:lnTo>
                      <a:pt x="1243" y="502"/>
                    </a:lnTo>
                    <a:lnTo>
                      <a:pt x="1248" y="532"/>
                    </a:lnTo>
                    <a:lnTo>
                      <a:pt x="1253" y="564"/>
                    </a:lnTo>
                    <a:lnTo>
                      <a:pt x="1255" y="596"/>
                    </a:lnTo>
                    <a:lnTo>
                      <a:pt x="1256" y="628"/>
                    </a:lnTo>
                    <a:lnTo>
                      <a:pt x="1256" y="62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6" name="Freeform 13"/>
              <p:cNvSpPr>
                <a:spLocks/>
              </p:cNvSpPr>
              <p:nvPr/>
            </p:nvSpPr>
            <p:spPr bwMode="auto">
              <a:xfrm>
                <a:off x="2594" y="1936"/>
                <a:ext cx="628" cy="628"/>
              </a:xfrm>
              <a:custGeom>
                <a:avLst/>
                <a:gdLst>
                  <a:gd name="T0" fmla="*/ 1255 w 1256"/>
                  <a:gd name="T1" fmla="*/ 660 h 1256"/>
                  <a:gd name="T2" fmla="*/ 1243 w 1256"/>
                  <a:gd name="T3" fmla="*/ 754 h 1256"/>
                  <a:gd name="T4" fmla="*/ 1218 w 1256"/>
                  <a:gd name="T5" fmla="*/ 845 h 1256"/>
                  <a:gd name="T6" fmla="*/ 1180 w 1256"/>
                  <a:gd name="T7" fmla="*/ 928 h 1256"/>
                  <a:gd name="T8" fmla="*/ 1132 w 1256"/>
                  <a:gd name="T9" fmla="*/ 1004 h 1256"/>
                  <a:gd name="T10" fmla="*/ 1071 w 1256"/>
                  <a:gd name="T11" fmla="*/ 1073 h 1256"/>
                  <a:gd name="T12" fmla="*/ 1004 w 1256"/>
                  <a:gd name="T13" fmla="*/ 1132 h 1256"/>
                  <a:gd name="T14" fmla="*/ 928 w 1256"/>
                  <a:gd name="T15" fmla="*/ 1181 h 1256"/>
                  <a:gd name="T16" fmla="*/ 843 w 1256"/>
                  <a:gd name="T17" fmla="*/ 1218 h 1256"/>
                  <a:gd name="T18" fmla="*/ 754 w 1256"/>
                  <a:gd name="T19" fmla="*/ 1243 h 1256"/>
                  <a:gd name="T20" fmla="*/ 660 w 1256"/>
                  <a:gd name="T21" fmla="*/ 1256 h 1256"/>
                  <a:gd name="T22" fmla="*/ 595 w 1256"/>
                  <a:gd name="T23" fmla="*/ 1256 h 1256"/>
                  <a:gd name="T24" fmla="*/ 500 w 1256"/>
                  <a:gd name="T25" fmla="*/ 1243 h 1256"/>
                  <a:gd name="T26" fmla="*/ 411 w 1256"/>
                  <a:gd name="T27" fmla="*/ 1218 h 1256"/>
                  <a:gd name="T28" fmla="*/ 328 w 1256"/>
                  <a:gd name="T29" fmla="*/ 1181 h 1256"/>
                  <a:gd name="T30" fmla="*/ 252 w 1256"/>
                  <a:gd name="T31" fmla="*/ 1132 h 1256"/>
                  <a:gd name="T32" fmla="*/ 183 w 1256"/>
                  <a:gd name="T33" fmla="*/ 1073 h 1256"/>
                  <a:gd name="T34" fmla="*/ 124 w 1256"/>
                  <a:gd name="T35" fmla="*/ 1004 h 1256"/>
                  <a:gd name="T36" fmla="*/ 75 w 1256"/>
                  <a:gd name="T37" fmla="*/ 928 h 1256"/>
                  <a:gd name="T38" fmla="*/ 36 w 1256"/>
                  <a:gd name="T39" fmla="*/ 845 h 1256"/>
                  <a:gd name="T40" fmla="*/ 13 w 1256"/>
                  <a:gd name="T41" fmla="*/ 754 h 1256"/>
                  <a:gd name="T42" fmla="*/ 0 w 1256"/>
                  <a:gd name="T43" fmla="*/ 660 h 1256"/>
                  <a:gd name="T44" fmla="*/ 0 w 1256"/>
                  <a:gd name="T45" fmla="*/ 596 h 1256"/>
                  <a:gd name="T46" fmla="*/ 13 w 1256"/>
                  <a:gd name="T47" fmla="*/ 502 h 1256"/>
                  <a:gd name="T48" fmla="*/ 36 w 1256"/>
                  <a:gd name="T49" fmla="*/ 411 h 1256"/>
                  <a:gd name="T50" fmla="*/ 75 w 1256"/>
                  <a:gd name="T51" fmla="*/ 328 h 1256"/>
                  <a:gd name="T52" fmla="*/ 124 w 1256"/>
                  <a:gd name="T53" fmla="*/ 252 h 1256"/>
                  <a:gd name="T54" fmla="*/ 183 w 1256"/>
                  <a:gd name="T55" fmla="*/ 183 h 1256"/>
                  <a:gd name="T56" fmla="*/ 252 w 1256"/>
                  <a:gd name="T57" fmla="*/ 124 h 1256"/>
                  <a:gd name="T58" fmla="*/ 328 w 1256"/>
                  <a:gd name="T59" fmla="*/ 75 h 1256"/>
                  <a:gd name="T60" fmla="*/ 411 w 1256"/>
                  <a:gd name="T61" fmla="*/ 38 h 1256"/>
                  <a:gd name="T62" fmla="*/ 500 w 1256"/>
                  <a:gd name="T63" fmla="*/ 13 h 1256"/>
                  <a:gd name="T64" fmla="*/ 595 w 1256"/>
                  <a:gd name="T65" fmla="*/ 0 h 1256"/>
                  <a:gd name="T66" fmla="*/ 660 w 1256"/>
                  <a:gd name="T67" fmla="*/ 0 h 1256"/>
                  <a:gd name="T68" fmla="*/ 754 w 1256"/>
                  <a:gd name="T69" fmla="*/ 13 h 1256"/>
                  <a:gd name="T70" fmla="*/ 843 w 1256"/>
                  <a:gd name="T71" fmla="*/ 38 h 1256"/>
                  <a:gd name="T72" fmla="*/ 928 w 1256"/>
                  <a:gd name="T73" fmla="*/ 75 h 1256"/>
                  <a:gd name="T74" fmla="*/ 1004 w 1256"/>
                  <a:gd name="T75" fmla="*/ 124 h 1256"/>
                  <a:gd name="T76" fmla="*/ 1071 w 1256"/>
                  <a:gd name="T77" fmla="*/ 183 h 1256"/>
                  <a:gd name="T78" fmla="*/ 1132 w 1256"/>
                  <a:gd name="T79" fmla="*/ 252 h 1256"/>
                  <a:gd name="T80" fmla="*/ 1180 w 1256"/>
                  <a:gd name="T81" fmla="*/ 328 h 1256"/>
                  <a:gd name="T82" fmla="*/ 1218 w 1256"/>
                  <a:gd name="T83" fmla="*/ 411 h 1256"/>
                  <a:gd name="T84" fmla="*/ 1243 w 1256"/>
                  <a:gd name="T85" fmla="*/ 502 h 1256"/>
                  <a:gd name="T86" fmla="*/ 1255 w 1256"/>
                  <a:gd name="T87" fmla="*/ 596 h 1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256" h="1256">
                    <a:moveTo>
                      <a:pt x="1256" y="628"/>
                    </a:moveTo>
                    <a:lnTo>
                      <a:pt x="1256" y="628"/>
                    </a:lnTo>
                    <a:lnTo>
                      <a:pt x="1255" y="660"/>
                    </a:lnTo>
                    <a:lnTo>
                      <a:pt x="1253" y="692"/>
                    </a:lnTo>
                    <a:lnTo>
                      <a:pt x="1248" y="724"/>
                    </a:lnTo>
                    <a:lnTo>
                      <a:pt x="1243" y="754"/>
                    </a:lnTo>
                    <a:lnTo>
                      <a:pt x="1236" y="786"/>
                    </a:lnTo>
                    <a:lnTo>
                      <a:pt x="1228" y="815"/>
                    </a:lnTo>
                    <a:lnTo>
                      <a:pt x="1218" y="845"/>
                    </a:lnTo>
                    <a:lnTo>
                      <a:pt x="1207" y="872"/>
                    </a:lnTo>
                    <a:lnTo>
                      <a:pt x="1194" y="901"/>
                    </a:lnTo>
                    <a:lnTo>
                      <a:pt x="1180" y="928"/>
                    </a:lnTo>
                    <a:lnTo>
                      <a:pt x="1165" y="953"/>
                    </a:lnTo>
                    <a:lnTo>
                      <a:pt x="1149" y="979"/>
                    </a:lnTo>
                    <a:lnTo>
                      <a:pt x="1132" y="1004"/>
                    </a:lnTo>
                    <a:lnTo>
                      <a:pt x="1113" y="1028"/>
                    </a:lnTo>
                    <a:lnTo>
                      <a:pt x="1094" y="1051"/>
                    </a:lnTo>
                    <a:lnTo>
                      <a:pt x="1071" y="1073"/>
                    </a:lnTo>
                    <a:lnTo>
                      <a:pt x="1051" y="1094"/>
                    </a:lnTo>
                    <a:lnTo>
                      <a:pt x="1027" y="1113"/>
                    </a:lnTo>
                    <a:lnTo>
                      <a:pt x="1004" y="1132"/>
                    </a:lnTo>
                    <a:lnTo>
                      <a:pt x="979" y="1149"/>
                    </a:lnTo>
                    <a:lnTo>
                      <a:pt x="953" y="1165"/>
                    </a:lnTo>
                    <a:lnTo>
                      <a:pt x="928" y="1181"/>
                    </a:lnTo>
                    <a:lnTo>
                      <a:pt x="901" y="1194"/>
                    </a:lnTo>
                    <a:lnTo>
                      <a:pt x="872" y="1207"/>
                    </a:lnTo>
                    <a:lnTo>
                      <a:pt x="843" y="1218"/>
                    </a:lnTo>
                    <a:lnTo>
                      <a:pt x="815" y="1228"/>
                    </a:lnTo>
                    <a:lnTo>
                      <a:pt x="784" y="1237"/>
                    </a:lnTo>
                    <a:lnTo>
                      <a:pt x="754" y="1243"/>
                    </a:lnTo>
                    <a:lnTo>
                      <a:pt x="724" y="1250"/>
                    </a:lnTo>
                    <a:lnTo>
                      <a:pt x="692" y="1253"/>
                    </a:lnTo>
                    <a:lnTo>
                      <a:pt x="660" y="1256"/>
                    </a:lnTo>
                    <a:lnTo>
                      <a:pt x="628" y="1256"/>
                    </a:lnTo>
                    <a:lnTo>
                      <a:pt x="628" y="1256"/>
                    </a:lnTo>
                    <a:lnTo>
                      <a:pt x="595" y="1256"/>
                    </a:lnTo>
                    <a:lnTo>
                      <a:pt x="563" y="1253"/>
                    </a:lnTo>
                    <a:lnTo>
                      <a:pt x="532" y="1250"/>
                    </a:lnTo>
                    <a:lnTo>
                      <a:pt x="500" y="1243"/>
                    </a:lnTo>
                    <a:lnTo>
                      <a:pt x="470" y="1237"/>
                    </a:lnTo>
                    <a:lnTo>
                      <a:pt x="441" y="1228"/>
                    </a:lnTo>
                    <a:lnTo>
                      <a:pt x="411" y="1218"/>
                    </a:lnTo>
                    <a:lnTo>
                      <a:pt x="382" y="1207"/>
                    </a:lnTo>
                    <a:lnTo>
                      <a:pt x="355" y="1194"/>
                    </a:lnTo>
                    <a:lnTo>
                      <a:pt x="328" y="1181"/>
                    </a:lnTo>
                    <a:lnTo>
                      <a:pt x="301" y="1165"/>
                    </a:lnTo>
                    <a:lnTo>
                      <a:pt x="276" y="1149"/>
                    </a:lnTo>
                    <a:lnTo>
                      <a:pt x="252" y="1132"/>
                    </a:lnTo>
                    <a:lnTo>
                      <a:pt x="228" y="1113"/>
                    </a:lnTo>
                    <a:lnTo>
                      <a:pt x="205" y="1094"/>
                    </a:lnTo>
                    <a:lnTo>
                      <a:pt x="183" y="1073"/>
                    </a:lnTo>
                    <a:lnTo>
                      <a:pt x="162" y="1051"/>
                    </a:lnTo>
                    <a:lnTo>
                      <a:pt x="143" y="1028"/>
                    </a:lnTo>
                    <a:lnTo>
                      <a:pt x="124" y="1004"/>
                    </a:lnTo>
                    <a:lnTo>
                      <a:pt x="107" y="979"/>
                    </a:lnTo>
                    <a:lnTo>
                      <a:pt x="91" y="953"/>
                    </a:lnTo>
                    <a:lnTo>
                      <a:pt x="75" y="928"/>
                    </a:lnTo>
                    <a:lnTo>
                      <a:pt x="60" y="901"/>
                    </a:lnTo>
                    <a:lnTo>
                      <a:pt x="49" y="872"/>
                    </a:lnTo>
                    <a:lnTo>
                      <a:pt x="36" y="845"/>
                    </a:lnTo>
                    <a:lnTo>
                      <a:pt x="27" y="815"/>
                    </a:lnTo>
                    <a:lnTo>
                      <a:pt x="19" y="786"/>
                    </a:lnTo>
                    <a:lnTo>
                      <a:pt x="13" y="754"/>
                    </a:lnTo>
                    <a:lnTo>
                      <a:pt x="6" y="724"/>
                    </a:lnTo>
                    <a:lnTo>
                      <a:pt x="3" y="692"/>
                    </a:lnTo>
                    <a:lnTo>
                      <a:pt x="0" y="660"/>
                    </a:lnTo>
                    <a:lnTo>
                      <a:pt x="0" y="628"/>
                    </a:lnTo>
                    <a:lnTo>
                      <a:pt x="0" y="628"/>
                    </a:lnTo>
                    <a:lnTo>
                      <a:pt x="0" y="596"/>
                    </a:lnTo>
                    <a:lnTo>
                      <a:pt x="3" y="564"/>
                    </a:lnTo>
                    <a:lnTo>
                      <a:pt x="6" y="532"/>
                    </a:lnTo>
                    <a:lnTo>
                      <a:pt x="13" y="502"/>
                    </a:lnTo>
                    <a:lnTo>
                      <a:pt x="19" y="470"/>
                    </a:lnTo>
                    <a:lnTo>
                      <a:pt x="27" y="441"/>
                    </a:lnTo>
                    <a:lnTo>
                      <a:pt x="36" y="411"/>
                    </a:lnTo>
                    <a:lnTo>
                      <a:pt x="49" y="384"/>
                    </a:lnTo>
                    <a:lnTo>
                      <a:pt x="60" y="355"/>
                    </a:lnTo>
                    <a:lnTo>
                      <a:pt x="75" y="328"/>
                    </a:lnTo>
                    <a:lnTo>
                      <a:pt x="91" y="303"/>
                    </a:lnTo>
                    <a:lnTo>
                      <a:pt x="107" y="277"/>
                    </a:lnTo>
                    <a:lnTo>
                      <a:pt x="124" y="252"/>
                    </a:lnTo>
                    <a:lnTo>
                      <a:pt x="143" y="228"/>
                    </a:lnTo>
                    <a:lnTo>
                      <a:pt x="162" y="205"/>
                    </a:lnTo>
                    <a:lnTo>
                      <a:pt x="183" y="183"/>
                    </a:lnTo>
                    <a:lnTo>
                      <a:pt x="205" y="162"/>
                    </a:lnTo>
                    <a:lnTo>
                      <a:pt x="228" y="143"/>
                    </a:lnTo>
                    <a:lnTo>
                      <a:pt x="252" y="124"/>
                    </a:lnTo>
                    <a:lnTo>
                      <a:pt x="276" y="107"/>
                    </a:lnTo>
                    <a:lnTo>
                      <a:pt x="301" y="91"/>
                    </a:lnTo>
                    <a:lnTo>
                      <a:pt x="328" y="75"/>
                    </a:lnTo>
                    <a:lnTo>
                      <a:pt x="355" y="62"/>
                    </a:lnTo>
                    <a:lnTo>
                      <a:pt x="382" y="49"/>
                    </a:lnTo>
                    <a:lnTo>
                      <a:pt x="411" y="38"/>
                    </a:lnTo>
                    <a:lnTo>
                      <a:pt x="441" y="28"/>
                    </a:lnTo>
                    <a:lnTo>
                      <a:pt x="470" y="19"/>
                    </a:lnTo>
                    <a:lnTo>
                      <a:pt x="500" y="13"/>
                    </a:lnTo>
                    <a:lnTo>
                      <a:pt x="532" y="6"/>
                    </a:lnTo>
                    <a:lnTo>
                      <a:pt x="563" y="3"/>
                    </a:lnTo>
                    <a:lnTo>
                      <a:pt x="595" y="0"/>
                    </a:lnTo>
                    <a:lnTo>
                      <a:pt x="628" y="0"/>
                    </a:lnTo>
                    <a:lnTo>
                      <a:pt x="628" y="0"/>
                    </a:lnTo>
                    <a:lnTo>
                      <a:pt x="660" y="0"/>
                    </a:lnTo>
                    <a:lnTo>
                      <a:pt x="692" y="3"/>
                    </a:lnTo>
                    <a:lnTo>
                      <a:pt x="724" y="6"/>
                    </a:lnTo>
                    <a:lnTo>
                      <a:pt x="754" y="13"/>
                    </a:lnTo>
                    <a:lnTo>
                      <a:pt x="784" y="19"/>
                    </a:lnTo>
                    <a:lnTo>
                      <a:pt x="815" y="28"/>
                    </a:lnTo>
                    <a:lnTo>
                      <a:pt x="843" y="38"/>
                    </a:lnTo>
                    <a:lnTo>
                      <a:pt x="872" y="49"/>
                    </a:lnTo>
                    <a:lnTo>
                      <a:pt x="901" y="62"/>
                    </a:lnTo>
                    <a:lnTo>
                      <a:pt x="928" y="75"/>
                    </a:lnTo>
                    <a:lnTo>
                      <a:pt x="953" y="91"/>
                    </a:lnTo>
                    <a:lnTo>
                      <a:pt x="979" y="107"/>
                    </a:lnTo>
                    <a:lnTo>
                      <a:pt x="1004" y="124"/>
                    </a:lnTo>
                    <a:lnTo>
                      <a:pt x="1027" y="143"/>
                    </a:lnTo>
                    <a:lnTo>
                      <a:pt x="1051" y="162"/>
                    </a:lnTo>
                    <a:lnTo>
                      <a:pt x="1071" y="183"/>
                    </a:lnTo>
                    <a:lnTo>
                      <a:pt x="1094" y="205"/>
                    </a:lnTo>
                    <a:lnTo>
                      <a:pt x="1113" y="228"/>
                    </a:lnTo>
                    <a:lnTo>
                      <a:pt x="1132" y="252"/>
                    </a:lnTo>
                    <a:lnTo>
                      <a:pt x="1149" y="277"/>
                    </a:lnTo>
                    <a:lnTo>
                      <a:pt x="1165" y="303"/>
                    </a:lnTo>
                    <a:lnTo>
                      <a:pt x="1180" y="328"/>
                    </a:lnTo>
                    <a:lnTo>
                      <a:pt x="1194" y="355"/>
                    </a:lnTo>
                    <a:lnTo>
                      <a:pt x="1207" y="384"/>
                    </a:lnTo>
                    <a:lnTo>
                      <a:pt x="1218" y="411"/>
                    </a:lnTo>
                    <a:lnTo>
                      <a:pt x="1228" y="441"/>
                    </a:lnTo>
                    <a:lnTo>
                      <a:pt x="1236" y="470"/>
                    </a:lnTo>
                    <a:lnTo>
                      <a:pt x="1243" y="502"/>
                    </a:lnTo>
                    <a:lnTo>
                      <a:pt x="1248" y="532"/>
                    </a:lnTo>
                    <a:lnTo>
                      <a:pt x="1253" y="564"/>
                    </a:lnTo>
                    <a:lnTo>
                      <a:pt x="1255" y="596"/>
                    </a:lnTo>
                    <a:lnTo>
                      <a:pt x="1256" y="628"/>
                    </a:lnTo>
                    <a:lnTo>
                      <a:pt x="1256" y="628"/>
                    </a:lnTo>
                    <a:close/>
                  </a:path>
                </a:pathLst>
              </a:custGeom>
              <a:solidFill>
                <a:srgbClr val="00BC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7" name="Freeform 14"/>
              <p:cNvSpPr>
                <a:spLocks/>
              </p:cNvSpPr>
              <p:nvPr/>
            </p:nvSpPr>
            <p:spPr bwMode="auto">
              <a:xfrm>
                <a:off x="2806" y="2122"/>
                <a:ext cx="70" cy="71"/>
              </a:xfrm>
              <a:custGeom>
                <a:avLst/>
                <a:gdLst>
                  <a:gd name="T0" fmla="*/ 105 w 140"/>
                  <a:gd name="T1" fmla="*/ 9 h 140"/>
                  <a:gd name="T2" fmla="*/ 105 w 140"/>
                  <a:gd name="T3" fmla="*/ 9 h 140"/>
                  <a:gd name="T4" fmla="*/ 118 w 140"/>
                  <a:gd name="T5" fmla="*/ 17 h 140"/>
                  <a:gd name="T6" fmla="*/ 127 w 140"/>
                  <a:gd name="T7" fmla="*/ 27 h 140"/>
                  <a:gd name="T8" fmla="*/ 134 w 140"/>
                  <a:gd name="T9" fmla="*/ 40 h 140"/>
                  <a:gd name="T10" fmla="*/ 139 w 140"/>
                  <a:gd name="T11" fmla="*/ 53 h 140"/>
                  <a:gd name="T12" fmla="*/ 140 w 140"/>
                  <a:gd name="T13" fmla="*/ 65 h 140"/>
                  <a:gd name="T14" fmla="*/ 140 w 140"/>
                  <a:gd name="T15" fmla="*/ 80 h 140"/>
                  <a:gd name="T16" fmla="*/ 137 w 140"/>
                  <a:gd name="T17" fmla="*/ 92 h 140"/>
                  <a:gd name="T18" fmla="*/ 132 w 140"/>
                  <a:gd name="T19" fmla="*/ 105 h 140"/>
                  <a:gd name="T20" fmla="*/ 132 w 140"/>
                  <a:gd name="T21" fmla="*/ 105 h 140"/>
                  <a:gd name="T22" fmla="*/ 123 w 140"/>
                  <a:gd name="T23" fmla="*/ 116 h 140"/>
                  <a:gd name="T24" fmla="*/ 113 w 140"/>
                  <a:gd name="T25" fmla="*/ 126 h 140"/>
                  <a:gd name="T26" fmla="*/ 102 w 140"/>
                  <a:gd name="T27" fmla="*/ 134 h 140"/>
                  <a:gd name="T28" fmla="*/ 89 w 140"/>
                  <a:gd name="T29" fmla="*/ 139 h 140"/>
                  <a:gd name="T30" fmla="*/ 75 w 140"/>
                  <a:gd name="T31" fmla="*/ 140 h 140"/>
                  <a:gd name="T32" fmla="*/ 62 w 140"/>
                  <a:gd name="T33" fmla="*/ 140 h 140"/>
                  <a:gd name="T34" fmla="*/ 48 w 140"/>
                  <a:gd name="T35" fmla="*/ 137 h 140"/>
                  <a:gd name="T36" fmla="*/ 35 w 140"/>
                  <a:gd name="T37" fmla="*/ 131 h 140"/>
                  <a:gd name="T38" fmla="*/ 35 w 140"/>
                  <a:gd name="T39" fmla="*/ 131 h 140"/>
                  <a:gd name="T40" fmla="*/ 24 w 140"/>
                  <a:gd name="T41" fmla="*/ 123 h 140"/>
                  <a:gd name="T42" fmla="*/ 14 w 140"/>
                  <a:gd name="T43" fmla="*/ 113 h 140"/>
                  <a:gd name="T44" fmla="*/ 8 w 140"/>
                  <a:gd name="T45" fmla="*/ 100 h 140"/>
                  <a:gd name="T46" fmla="*/ 3 w 140"/>
                  <a:gd name="T47" fmla="*/ 88 h 140"/>
                  <a:gd name="T48" fmla="*/ 0 w 140"/>
                  <a:gd name="T49" fmla="*/ 75 h 140"/>
                  <a:gd name="T50" fmla="*/ 0 w 140"/>
                  <a:gd name="T51" fmla="*/ 62 h 140"/>
                  <a:gd name="T52" fmla="*/ 3 w 140"/>
                  <a:gd name="T53" fmla="*/ 48 h 140"/>
                  <a:gd name="T54" fmla="*/ 9 w 140"/>
                  <a:gd name="T55" fmla="*/ 35 h 140"/>
                  <a:gd name="T56" fmla="*/ 9 w 140"/>
                  <a:gd name="T57" fmla="*/ 35 h 140"/>
                  <a:gd name="T58" fmla="*/ 17 w 140"/>
                  <a:gd name="T59" fmla="*/ 24 h 140"/>
                  <a:gd name="T60" fmla="*/ 29 w 140"/>
                  <a:gd name="T61" fmla="*/ 14 h 140"/>
                  <a:gd name="T62" fmla="*/ 40 w 140"/>
                  <a:gd name="T63" fmla="*/ 6 h 140"/>
                  <a:gd name="T64" fmla="*/ 53 w 140"/>
                  <a:gd name="T65" fmla="*/ 1 h 140"/>
                  <a:gd name="T66" fmla="*/ 65 w 140"/>
                  <a:gd name="T67" fmla="*/ 0 h 140"/>
                  <a:gd name="T68" fmla="*/ 80 w 140"/>
                  <a:gd name="T69" fmla="*/ 0 h 140"/>
                  <a:gd name="T70" fmla="*/ 92 w 140"/>
                  <a:gd name="T71" fmla="*/ 3 h 140"/>
                  <a:gd name="T72" fmla="*/ 105 w 140"/>
                  <a:gd name="T73" fmla="*/ 9 h 140"/>
                  <a:gd name="T74" fmla="*/ 105 w 140"/>
                  <a:gd name="T75" fmla="*/ 9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0" h="140">
                    <a:moveTo>
                      <a:pt x="105" y="9"/>
                    </a:moveTo>
                    <a:lnTo>
                      <a:pt x="105" y="9"/>
                    </a:lnTo>
                    <a:lnTo>
                      <a:pt x="118" y="17"/>
                    </a:lnTo>
                    <a:lnTo>
                      <a:pt x="127" y="27"/>
                    </a:lnTo>
                    <a:lnTo>
                      <a:pt x="134" y="40"/>
                    </a:lnTo>
                    <a:lnTo>
                      <a:pt x="139" y="53"/>
                    </a:lnTo>
                    <a:lnTo>
                      <a:pt x="140" y="65"/>
                    </a:lnTo>
                    <a:lnTo>
                      <a:pt x="140" y="80"/>
                    </a:lnTo>
                    <a:lnTo>
                      <a:pt x="137" y="92"/>
                    </a:lnTo>
                    <a:lnTo>
                      <a:pt x="132" y="105"/>
                    </a:lnTo>
                    <a:lnTo>
                      <a:pt x="132" y="105"/>
                    </a:lnTo>
                    <a:lnTo>
                      <a:pt x="123" y="116"/>
                    </a:lnTo>
                    <a:lnTo>
                      <a:pt x="113" y="126"/>
                    </a:lnTo>
                    <a:lnTo>
                      <a:pt x="102" y="134"/>
                    </a:lnTo>
                    <a:lnTo>
                      <a:pt x="89" y="139"/>
                    </a:lnTo>
                    <a:lnTo>
                      <a:pt x="75" y="140"/>
                    </a:lnTo>
                    <a:lnTo>
                      <a:pt x="62" y="140"/>
                    </a:lnTo>
                    <a:lnTo>
                      <a:pt x="48" y="137"/>
                    </a:lnTo>
                    <a:lnTo>
                      <a:pt x="35" y="131"/>
                    </a:lnTo>
                    <a:lnTo>
                      <a:pt x="35" y="131"/>
                    </a:lnTo>
                    <a:lnTo>
                      <a:pt x="24" y="123"/>
                    </a:lnTo>
                    <a:lnTo>
                      <a:pt x="14" y="113"/>
                    </a:lnTo>
                    <a:lnTo>
                      <a:pt x="8" y="100"/>
                    </a:lnTo>
                    <a:lnTo>
                      <a:pt x="3" y="88"/>
                    </a:lnTo>
                    <a:lnTo>
                      <a:pt x="0" y="75"/>
                    </a:lnTo>
                    <a:lnTo>
                      <a:pt x="0" y="62"/>
                    </a:lnTo>
                    <a:lnTo>
                      <a:pt x="3" y="48"/>
                    </a:lnTo>
                    <a:lnTo>
                      <a:pt x="9" y="35"/>
                    </a:lnTo>
                    <a:lnTo>
                      <a:pt x="9" y="35"/>
                    </a:lnTo>
                    <a:lnTo>
                      <a:pt x="17" y="24"/>
                    </a:lnTo>
                    <a:lnTo>
                      <a:pt x="29" y="14"/>
                    </a:lnTo>
                    <a:lnTo>
                      <a:pt x="40" y="6"/>
                    </a:lnTo>
                    <a:lnTo>
                      <a:pt x="53" y="1"/>
                    </a:lnTo>
                    <a:lnTo>
                      <a:pt x="65" y="0"/>
                    </a:lnTo>
                    <a:lnTo>
                      <a:pt x="80" y="0"/>
                    </a:lnTo>
                    <a:lnTo>
                      <a:pt x="92" y="3"/>
                    </a:lnTo>
                    <a:lnTo>
                      <a:pt x="105" y="9"/>
                    </a:lnTo>
                    <a:lnTo>
                      <a:pt x="105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" name="Freeform 15"/>
              <p:cNvSpPr>
                <a:spLocks/>
              </p:cNvSpPr>
              <p:nvPr/>
            </p:nvSpPr>
            <p:spPr bwMode="auto">
              <a:xfrm>
                <a:off x="2834" y="2391"/>
                <a:ext cx="70" cy="70"/>
              </a:xfrm>
              <a:custGeom>
                <a:avLst/>
                <a:gdLst>
                  <a:gd name="T0" fmla="*/ 105 w 140"/>
                  <a:gd name="T1" fmla="*/ 10 h 141"/>
                  <a:gd name="T2" fmla="*/ 105 w 140"/>
                  <a:gd name="T3" fmla="*/ 10 h 141"/>
                  <a:gd name="T4" fmla="*/ 118 w 140"/>
                  <a:gd name="T5" fmla="*/ 18 h 141"/>
                  <a:gd name="T6" fmla="*/ 126 w 140"/>
                  <a:gd name="T7" fmla="*/ 27 h 141"/>
                  <a:gd name="T8" fmla="*/ 134 w 140"/>
                  <a:gd name="T9" fmla="*/ 40 h 141"/>
                  <a:gd name="T10" fmla="*/ 138 w 140"/>
                  <a:gd name="T11" fmla="*/ 51 h 141"/>
                  <a:gd name="T12" fmla="*/ 140 w 140"/>
                  <a:gd name="T13" fmla="*/ 66 h 141"/>
                  <a:gd name="T14" fmla="*/ 140 w 140"/>
                  <a:gd name="T15" fmla="*/ 78 h 141"/>
                  <a:gd name="T16" fmla="*/ 137 w 140"/>
                  <a:gd name="T17" fmla="*/ 93 h 141"/>
                  <a:gd name="T18" fmla="*/ 130 w 140"/>
                  <a:gd name="T19" fmla="*/ 105 h 141"/>
                  <a:gd name="T20" fmla="*/ 130 w 140"/>
                  <a:gd name="T21" fmla="*/ 105 h 141"/>
                  <a:gd name="T22" fmla="*/ 122 w 140"/>
                  <a:gd name="T23" fmla="*/ 117 h 141"/>
                  <a:gd name="T24" fmla="*/ 113 w 140"/>
                  <a:gd name="T25" fmla="*/ 126 h 141"/>
                  <a:gd name="T26" fmla="*/ 102 w 140"/>
                  <a:gd name="T27" fmla="*/ 134 h 141"/>
                  <a:gd name="T28" fmla="*/ 89 w 140"/>
                  <a:gd name="T29" fmla="*/ 139 h 141"/>
                  <a:gd name="T30" fmla="*/ 75 w 140"/>
                  <a:gd name="T31" fmla="*/ 141 h 141"/>
                  <a:gd name="T32" fmla="*/ 62 w 140"/>
                  <a:gd name="T33" fmla="*/ 141 h 141"/>
                  <a:gd name="T34" fmla="*/ 48 w 140"/>
                  <a:gd name="T35" fmla="*/ 137 h 141"/>
                  <a:gd name="T36" fmla="*/ 35 w 140"/>
                  <a:gd name="T37" fmla="*/ 131 h 141"/>
                  <a:gd name="T38" fmla="*/ 35 w 140"/>
                  <a:gd name="T39" fmla="*/ 131 h 141"/>
                  <a:gd name="T40" fmla="*/ 24 w 140"/>
                  <a:gd name="T41" fmla="*/ 123 h 141"/>
                  <a:gd name="T42" fmla="*/ 14 w 140"/>
                  <a:gd name="T43" fmla="*/ 113 h 141"/>
                  <a:gd name="T44" fmla="*/ 6 w 140"/>
                  <a:gd name="T45" fmla="*/ 101 h 141"/>
                  <a:gd name="T46" fmla="*/ 1 w 140"/>
                  <a:gd name="T47" fmla="*/ 88 h 141"/>
                  <a:gd name="T48" fmla="*/ 0 w 140"/>
                  <a:gd name="T49" fmla="*/ 75 h 141"/>
                  <a:gd name="T50" fmla="*/ 0 w 140"/>
                  <a:gd name="T51" fmla="*/ 61 h 141"/>
                  <a:gd name="T52" fmla="*/ 3 w 140"/>
                  <a:gd name="T53" fmla="*/ 48 h 141"/>
                  <a:gd name="T54" fmla="*/ 9 w 140"/>
                  <a:gd name="T55" fmla="*/ 35 h 141"/>
                  <a:gd name="T56" fmla="*/ 9 w 140"/>
                  <a:gd name="T57" fmla="*/ 35 h 141"/>
                  <a:gd name="T58" fmla="*/ 17 w 140"/>
                  <a:gd name="T59" fmla="*/ 24 h 141"/>
                  <a:gd name="T60" fmla="*/ 27 w 140"/>
                  <a:gd name="T61" fmla="*/ 15 h 141"/>
                  <a:gd name="T62" fmla="*/ 40 w 140"/>
                  <a:gd name="T63" fmla="*/ 7 h 141"/>
                  <a:gd name="T64" fmla="*/ 52 w 140"/>
                  <a:gd name="T65" fmla="*/ 2 h 141"/>
                  <a:gd name="T66" fmla="*/ 65 w 140"/>
                  <a:gd name="T67" fmla="*/ 0 h 141"/>
                  <a:gd name="T68" fmla="*/ 79 w 140"/>
                  <a:gd name="T69" fmla="*/ 0 h 141"/>
                  <a:gd name="T70" fmla="*/ 92 w 140"/>
                  <a:gd name="T71" fmla="*/ 3 h 141"/>
                  <a:gd name="T72" fmla="*/ 105 w 140"/>
                  <a:gd name="T73" fmla="*/ 10 h 141"/>
                  <a:gd name="T74" fmla="*/ 105 w 140"/>
                  <a:gd name="T75" fmla="*/ 10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0" h="141">
                    <a:moveTo>
                      <a:pt x="105" y="10"/>
                    </a:moveTo>
                    <a:lnTo>
                      <a:pt x="105" y="10"/>
                    </a:lnTo>
                    <a:lnTo>
                      <a:pt x="118" y="18"/>
                    </a:lnTo>
                    <a:lnTo>
                      <a:pt x="126" y="27"/>
                    </a:lnTo>
                    <a:lnTo>
                      <a:pt x="134" y="40"/>
                    </a:lnTo>
                    <a:lnTo>
                      <a:pt x="138" y="51"/>
                    </a:lnTo>
                    <a:lnTo>
                      <a:pt x="140" y="66"/>
                    </a:lnTo>
                    <a:lnTo>
                      <a:pt x="140" y="78"/>
                    </a:lnTo>
                    <a:lnTo>
                      <a:pt x="137" y="93"/>
                    </a:lnTo>
                    <a:lnTo>
                      <a:pt x="130" y="105"/>
                    </a:lnTo>
                    <a:lnTo>
                      <a:pt x="130" y="105"/>
                    </a:lnTo>
                    <a:lnTo>
                      <a:pt x="122" y="117"/>
                    </a:lnTo>
                    <a:lnTo>
                      <a:pt x="113" y="126"/>
                    </a:lnTo>
                    <a:lnTo>
                      <a:pt x="102" y="134"/>
                    </a:lnTo>
                    <a:lnTo>
                      <a:pt x="89" y="139"/>
                    </a:lnTo>
                    <a:lnTo>
                      <a:pt x="75" y="141"/>
                    </a:lnTo>
                    <a:lnTo>
                      <a:pt x="62" y="141"/>
                    </a:lnTo>
                    <a:lnTo>
                      <a:pt x="48" y="137"/>
                    </a:lnTo>
                    <a:lnTo>
                      <a:pt x="35" y="131"/>
                    </a:lnTo>
                    <a:lnTo>
                      <a:pt x="35" y="131"/>
                    </a:lnTo>
                    <a:lnTo>
                      <a:pt x="24" y="123"/>
                    </a:lnTo>
                    <a:lnTo>
                      <a:pt x="14" y="113"/>
                    </a:lnTo>
                    <a:lnTo>
                      <a:pt x="6" y="101"/>
                    </a:lnTo>
                    <a:lnTo>
                      <a:pt x="1" y="88"/>
                    </a:lnTo>
                    <a:lnTo>
                      <a:pt x="0" y="75"/>
                    </a:lnTo>
                    <a:lnTo>
                      <a:pt x="0" y="61"/>
                    </a:lnTo>
                    <a:lnTo>
                      <a:pt x="3" y="48"/>
                    </a:lnTo>
                    <a:lnTo>
                      <a:pt x="9" y="35"/>
                    </a:lnTo>
                    <a:lnTo>
                      <a:pt x="9" y="35"/>
                    </a:lnTo>
                    <a:lnTo>
                      <a:pt x="17" y="24"/>
                    </a:lnTo>
                    <a:lnTo>
                      <a:pt x="27" y="15"/>
                    </a:lnTo>
                    <a:lnTo>
                      <a:pt x="40" y="7"/>
                    </a:lnTo>
                    <a:lnTo>
                      <a:pt x="52" y="2"/>
                    </a:lnTo>
                    <a:lnTo>
                      <a:pt x="65" y="0"/>
                    </a:lnTo>
                    <a:lnTo>
                      <a:pt x="79" y="0"/>
                    </a:lnTo>
                    <a:lnTo>
                      <a:pt x="92" y="3"/>
                    </a:lnTo>
                    <a:lnTo>
                      <a:pt x="105" y="10"/>
                    </a:lnTo>
                    <a:lnTo>
                      <a:pt x="105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" name="Freeform 16"/>
              <p:cNvSpPr>
                <a:spLocks/>
              </p:cNvSpPr>
              <p:nvPr/>
            </p:nvSpPr>
            <p:spPr bwMode="auto">
              <a:xfrm>
                <a:off x="2674" y="2282"/>
                <a:ext cx="70" cy="71"/>
              </a:xfrm>
              <a:custGeom>
                <a:avLst/>
                <a:gdLst>
                  <a:gd name="T0" fmla="*/ 105 w 141"/>
                  <a:gd name="T1" fmla="*/ 9 h 142"/>
                  <a:gd name="T2" fmla="*/ 105 w 141"/>
                  <a:gd name="T3" fmla="*/ 9 h 142"/>
                  <a:gd name="T4" fmla="*/ 117 w 141"/>
                  <a:gd name="T5" fmla="*/ 17 h 142"/>
                  <a:gd name="T6" fmla="*/ 126 w 141"/>
                  <a:gd name="T7" fmla="*/ 28 h 142"/>
                  <a:gd name="T8" fmla="*/ 134 w 141"/>
                  <a:gd name="T9" fmla="*/ 40 h 142"/>
                  <a:gd name="T10" fmla="*/ 139 w 141"/>
                  <a:gd name="T11" fmla="*/ 52 h 142"/>
                  <a:gd name="T12" fmla="*/ 141 w 141"/>
                  <a:gd name="T13" fmla="*/ 65 h 142"/>
                  <a:gd name="T14" fmla="*/ 141 w 141"/>
                  <a:gd name="T15" fmla="*/ 80 h 142"/>
                  <a:gd name="T16" fmla="*/ 137 w 141"/>
                  <a:gd name="T17" fmla="*/ 92 h 142"/>
                  <a:gd name="T18" fmla="*/ 131 w 141"/>
                  <a:gd name="T19" fmla="*/ 107 h 142"/>
                  <a:gd name="T20" fmla="*/ 131 w 141"/>
                  <a:gd name="T21" fmla="*/ 107 h 142"/>
                  <a:gd name="T22" fmla="*/ 123 w 141"/>
                  <a:gd name="T23" fmla="*/ 118 h 142"/>
                  <a:gd name="T24" fmla="*/ 113 w 141"/>
                  <a:gd name="T25" fmla="*/ 127 h 142"/>
                  <a:gd name="T26" fmla="*/ 101 w 141"/>
                  <a:gd name="T27" fmla="*/ 134 h 142"/>
                  <a:gd name="T28" fmla="*/ 88 w 141"/>
                  <a:gd name="T29" fmla="*/ 139 h 142"/>
                  <a:gd name="T30" fmla="*/ 75 w 141"/>
                  <a:gd name="T31" fmla="*/ 142 h 142"/>
                  <a:gd name="T32" fmla="*/ 62 w 141"/>
                  <a:gd name="T33" fmla="*/ 140 h 142"/>
                  <a:gd name="T34" fmla="*/ 48 w 141"/>
                  <a:gd name="T35" fmla="*/ 139 h 142"/>
                  <a:gd name="T36" fmla="*/ 35 w 141"/>
                  <a:gd name="T37" fmla="*/ 132 h 142"/>
                  <a:gd name="T38" fmla="*/ 35 w 141"/>
                  <a:gd name="T39" fmla="*/ 132 h 142"/>
                  <a:gd name="T40" fmla="*/ 24 w 141"/>
                  <a:gd name="T41" fmla="*/ 124 h 142"/>
                  <a:gd name="T42" fmla="*/ 15 w 141"/>
                  <a:gd name="T43" fmla="*/ 113 h 142"/>
                  <a:gd name="T44" fmla="*/ 7 w 141"/>
                  <a:gd name="T45" fmla="*/ 102 h 142"/>
                  <a:gd name="T46" fmla="*/ 2 w 141"/>
                  <a:gd name="T47" fmla="*/ 89 h 142"/>
                  <a:gd name="T48" fmla="*/ 0 w 141"/>
                  <a:gd name="T49" fmla="*/ 76 h 142"/>
                  <a:gd name="T50" fmla="*/ 0 w 141"/>
                  <a:gd name="T51" fmla="*/ 62 h 142"/>
                  <a:gd name="T52" fmla="*/ 3 w 141"/>
                  <a:gd name="T53" fmla="*/ 49 h 142"/>
                  <a:gd name="T54" fmla="*/ 10 w 141"/>
                  <a:gd name="T55" fmla="*/ 35 h 142"/>
                  <a:gd name="T56" fmla="*/ 10 w 141"/>
                  <a:gd name="T57" fmla="*/ 35 h 142"/>
                  <a:gd name="T58" fmla="*/ 18 w 141"/>
                  <a:gd name="T59" fmla="*/ 24 h 142"/>
                  <a:gd name="T60" fmla="*/ 27 w 141"/>
                  <a:gd name="T61" fmla="*/ 14 h 142"/>
                  <a:gd name="T62" fmla="*/ 40 w 141"/>
                  <a:gd name="T63" fmla="*/ 8 h 142"/>
                  <a:gd name="T64" fmla="*/ 53 w 141"/>
                  <a:gd name="T65" fmla="*/ 3 h 142"/>
                  <a:gd name="T66" fmla="*/ 66 w 141"/>
                  <a:gd name="T67" fmla="*/ 0 h 142"/>
                  <a:gd name="T68" fmla="*/ 78 w 141"/>
                  <a:gd name="T69" fmla="*/ 1 h 142"/>
                  <a:gd name="T70" fmla="*/ 93 w 141"/>
                  <a:gd name="T71" fmla="*/ 5 h 142"/>
                  <a:gd name="T72" fmla="*/ 105 w 141"/>
                  <a:gd name="T73" fmla="*/ 9 h 142"/>
                  <a:gd name="T74" fmla="*/ 105 w 141"/>
                  <a:gd name="T75" fmla="*/ 9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1" h="142">
                    <a:moveTo>
                      <a:pt x="105" y="9"/>
                    </a:moveTo>
                    <a:lnTo>
                      <a:pt x="105" y="9"/>
                    </a:lnTo>
                    <a:lnTo>
                      <a:pt x="117" y="17"/>
                    </a:lnTo>
                    <a:lnTo>
                      <a:pt x="126" y="28"/>
                    </a:lnTo>
                    <a:lnTo>
                      <a:pt x="134" y="40"/>
                    </a:lnTo>
                    <a:lnTo>
                      <a:pt x="139" y="52"/>
                    </a:lnTo>
                    <a:lnTo>
                      <a:pt x="141" y="65"/>
                    </a:lnTo>
                    <a:lnTo>
                      <a:pt x="141" y="80"/>
                    </a:lnTo>
                    <a:lnTo>
                      <a:pt x="137" y="92"/>
                    </a:lnTo>
                    <a:lnTo>
                      <a:pt x="131" y="107"/>
                    </a:lnTo>
                    <a:lnTo>
                      <a:pt x="131" y="107"/>
                    </a:lnTo>
                    <a:lnTo>
                      <a:pt x="123" y="118"/>
                    </a:lnTo>
                    <a:lnTo>
                      <a:pt x="113" y="127"/>
                    </a:lnTo>
                    <a:lnTo>
                      <a:pt x="101" y="134"/>
                    </a:lnTo>
                    <a:lnTo>
                      <a:pt x="88" y="139"/>
                    </a:lnTo>
                    <a:lnTo>
                      <a:pt x="75" y="142"/>
                    </a:lnTo>
                    <a:lnTo>
                      <a:pt x="62" y="140"/>
                    </a:lnTo>
                    <a:lnTo>
                      <a:pt x="48" y="139"/>
                    </a:lnTo>
                    <a:lnTo>
                      <a:pt x="35" y="132"/>
                    </a:lnTo>
                    <a:lnTo>
                      <a:pt x="35" y="132"/>
                    </a:lnTo>
                    <a:lnTo>
                      <a:pt x="24" y="124"/>
                    </a:lnTo>
                    <a:lnTo>
                      <a:pt x="15" y="113"/>
                    </a:lnTo>
                    <a:lnTo>
                      <a:pt x="7" y="102"/>
                    </a:lnTo>
                    <a:lnTo>
                      <a:pt x="2" y="89"/>
                    </a:lnTo>
                    <a:lnTo>
                      <a:pt x="0" y="76"/>
                    </a:lnTo>
                    <a:lnTo>
                      <a:pt x="0" y="62"/>
                    </a:lnTo>
                    <a:lnTo>
                      <a:pt x="3" y="49"/>
                    </a:lnTo>
                    <a:lnTo>
                      <a:pt x="10" y="35"/>
                    </a:lnTo>
                    <a:lnTo>
                      <a:pt x="10" y="35"/>
                    </a:lnTo>
                    <a:lnTo>
                      <a:pt x="18" y="24"/>
                    </a:lnTo>
                    <a:lnTo>
                      <a:pt x="27" y="14"/>
                    </a:lnTo>
                    <a:lnTo>
                      <a:pt x="40" y="8"/>
                    </a:lnTo>
                    <a:lnTo>
                      <a:pt x="53" y="3"/>
                    </a:lnTo>
                    <a:lnTo>
                      <a:pt x="66" y="0"/>
                    </a:lnTo>
                    <a:lnTo>
                      <a:pt x="78" y="1"/>
                    </a:lnTo>
                    <a:lnTo>
                      <a:pt x="93" y="5"/>
                    </a:lnTo>
                    <a:lnTo>
                      <a:pt x="105" y="9"/>
                    </a:lnTo>
                    <a:lnTo>
                      <a:pt x="105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" name="Freeform 17"/>
              <p:cNvSpPr>
                <a:spLocks/>
              </p:cNvSpPr>
              <p:nvPr/>
            </p:nvSpPr>
            <p:spPr bwMode="auto">
              <a:xfrm>
                <a:off x="2869" y="1968"/>
                <a:ext cx="71" cy="70"/>
              </a:xfrm>
              <a:custGeom>
                <a:avLst/>
                <a:gdLst>
                  <a:gd name="T0" fmla="*/ 107 w 142"/>
                  <a:gd name="T1" fmla="*/ 9 h 140"/>
                  <a:gd name="T2" fmla="*/ 107 w 142"/>
                  <a:gd name="T3" fmla="*/ 9 h 140"/>
                  <a:gd name="T4" fmla="*/ 118 w 142"/>
                  <a:gd name="T5" fmla="*/ 17 h 140"/>
                  <a:gd name="T6" fmla="*/ 127 w 142"/>
                  <a:gd name="T7" fmla="*/ 27 h 140"/>
                  <a:gd name="T8" fmla="*/ 134 w 142"/>
                  <a:gd name="T9" fmla="*/ 38 h 140"/>
                  <a:gd name="T10" fmla="*/ 139 w 142"/>
                  <a:gd name="T11" fmla="*/ 51 h 140"/>
                  <a:gd name="T12" fmla="*/ 142 w 142"/>
                  <a:gd name="T13" fmla="*/ 65 h 140"/>
                  <a:gd name="T14" fmla="*/ 140 w 142"/>
                  <a:gd name="T15" fmla="*/ 78 h 140"/>
                  <a:gd name="T16" fmla="*/ 137 w 142"/>
                  <a:gd name="T17" fmla="*/ 92 h 140"/>
                  <a:gd name="T18" fmla="*/ 132 w 142"/>
                  <a:gd name="T19" fmla="*/ 105 h 140"/>
                  <a:gd name="T20" fmla="*/ 132 w 142"/>
                  <a:gd name="T21" fmla="*/ 105 h 140"/>
                  <a:gd name="T22" fmla="*/ 124 w 142"/>
                  <a:gd name="T23" fmla="*/ 116 h 140"/>
                  <a:gd name="T24" fmla="*/ 113 w 142"/>
                  <a:gd name="T25" fmla="*/ 126 h 140"/>
                  <a:gd name="T26" fmla="*/ 102 w 142"/>
                  <a:gd name="T27" fmla="*/ 133 h 140"/>
                  <a:gd name="T28" fmla="*/ 89 w 142"/>
                  <a:gd name="T29" fmla="*/ 138 h 140"/>
                  <a:gd name="T30" fmla="*/ 76 w 142"/>
                  <a:gd name="T31" fmla="*/ 140 h 140"/>
                  <a:gd name="T32" fmla="*/ 62 w 142"/>
                  <a:gd name="T33" fmla="*/ 140 h 140"/>
                  <a:gd name="T34" fmla="*/ 48 w 142"/>
                  <a:gd name="T35" fmla="*/ 137 h 140"/>
                  <a:gd name="T36" fmla="*/ 35 w 142"/>
                  <a:gd name="T37" fmla="*/ 130 h 140"/>
                  <a:gd name="T38" fmla="*/ 35 w 142"/>
                  <a:gd name="T39" fmla="*/ 130 h 140"/>
                  <a:gd name="T40" fmla="*/ 24 w 142"/>
                  <a:gd name="T41" fmla="*/ 122 h 140"/>
                  <a:gd name="T42" fmla="*/ 14 w 142"/>
                  <a:gd name="T43" fmla="*/ 113 h 140"/>
                  <a:gd name="T44" fmla="*/ 8 w 142"/>
                  <a:gd name="T45" fmla="*/ 100 h 140"/>
                  <a:gd name="T46" fmla="*/ 3 w 142"/>
                  <a:gd name="T47" fmla="*/ 87 h 140"/>
                  <a:gd name="T48" fmla="*/ 0 w 142"/>
                  <a:gd name="T49" fmla="*/ 74 h 140"/>
                  <a:gd name="T50" fmla="*/ 0 w 142"/>
                  <a:gd name="T51" fmla="*/ 60 h 140"/>
                  <a:gd name="T52" fmla="*/ 3 w 142"/>
                  <a:gd name="T53" fmla="*/ 47 h 140"/>
                  <a:gd name="T54" fmla="*/ 9 w 142"/>
                  <a:gd name="T55" fmla="*/ 35 h 140"/>
                  <a:gd name="T56" fmla="*/ 9 w 142"/>
                  <a:gd name="T57" fmla="*/ 35 h 140"/>
                  <a:gd name="T58" fmla="*/ 17 w 142"/>
                  <a:gd name="T59" fmla="*/ 22 h 140"/>
                  <a:gd name="T60" fmla="*/ 29 w 142"/>
                  <a:gd name="T61" fmla="*/ 14 h 140"/>
                  <a:gd name="T62" fmla="*/ 40 w 142"/>
                  <a:gd name="T63" fmla="*/ 6 h 140"/>
                  <a:gd name="T64" fmla="*/ 52 w 142"/>
                  <a:gd name="T65" fmla="*/ 1 h 140"/>
                  <a:gd name="T66" fmla="*/ 65 w 142"/>
                  <a:gd name="T67" fmla="*/ 0 h 140"/>
                  <a:gd name="T68" fmla="*/ 80 w 142"/>
                  <a:gd name="T69" fmla="*/ 0 h 140"/>
                  <a:gd name="T70" fmla="*/ 92 w 142"/>
                  <a:gd name="T71" fmla="*/ 3 h 140"/>
                  <a:gd name="T72" fmla="*/ 107 w 142"/>
                  <a:gd name="T73" fmla="*/ 9 h 140"/>
                  <a:gd name="T74" fmla="*/ 107 w 142"/>
                  <a:gd name="T75" fmla="*/ 9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2" h="140">
                    <a:moveTo>
                      <a:pt x="107" y="9"/>
                    </a:moveTo>
                    <a:lnTo>
                      <a:pt x="107" y="9"/>
                    </a:lnTo>
                    <a:lnTo>
                      <a:pt x="118" y="17"/>
                    </a:lnTo>
                    <a:lnTo>
                      <a:pt x="127" y="27"/>
                    </a:lnTo>
                    <a:lnTo>
                      <a:pt x="134" y="38"/>
                    </a:lnTo>
                    <a:lnTo>
                      <a:pt x="139" y="51"/>
                    </a:lnTo>
                    <a:lnTo>
                      <a:pt x="142" y="65"/>
                    </a:lnTo>
                    <a:lnTo>
                      <a:pt x="140" y="78"/>
                    </a:lnTo>
                    <a:lnTo>
                      <a:pt x="137" y="92"/>
                    </a:lnTo>
                    <a:lnTo>
                      <a:pt x="132" y="105"/>
                    </a:lnTo>
                    <a:lnTo>
                      <a:pt x="132" y="105"/>
                    </a:lnTo>
                    <a:lnTo>
                      <a:pt x="124" y="116"/>
                    </a:lnTo>
                    <a:lnTo>
                      <a:pt x="113" y="126"/>
                    </a:lnTo>
                    <a:lnTo>
                      <a:pt x="102" y="133"/>
                    </a:lnTo>
                    <a:lnTo>
                      <a:pt x="89" y="138"/>
                    </a:lnTo>
                    <a:lnTo>
                      <a:pt x="76" y="140"/>
                    </a:lnTo>
                    <a:lnTo>
                      <a:pt x="62" y="140"/>
                    </a:lnTo>
                    <a:lnTo>
                      <a:pt x="48" y="137"/>
                    </a:lnTo>
                    <a:lnTo>
                      <a:pt x="35" y="130"/>
                    </a:lnTo>
                    <a:lnTo>
                      <a:pt x="35" y="130"/>
                    </a:lnTo>
                    <a:lnTo>
                      <a:pt x="24" y="122"/>
                    </a:lnTo>
                    <a:lnTo>
                      <a:pt x="14" y="113"/>
                    </a:lnTo>
                    <a:lnTo>
                      <a:pt x="8" y="100"/>
                    </a:lnTo>
                    <a:lnTo>
                      <a:pt x="3" y="87"/>
                    </a:lnTo>
                    <a:lnTo>
                      <a:pt x="0" y="74"/>
                    </a:lnTo>
                    <a:lnTo>
                      <a:pt x="0" y="60"/>
                    </a:lnTo>
                    <a:lnTo>
                      <a:pt x="3" y="47"/>
                    </a:lnTo>
                    <a:lnTo>
                      <a:pt x="9" y="35"/>
                    </a:lnTo>
                    <a:lnTo>
                      <a:pt x="9" y="35"/>
                    </a:lnTo>
                    <a:lnTo>
                      <a:pt x="17" y="22"/>
                    </a:lnTo>
                    <a:lnTo>
                      <a:pt x="29" y="14"/>
                    </a:lnTo>
                    <a:lnTo>
                      <a:pt x="40" y="6"/>
                    </a:lnTo>
                    <a:lnTo>
                      <a:pt x="52" y="1"/>
                    </a:lnTo>
                    <a:lnTo>
                      <a:pt x="65" y="0"/>
                    </a:lnTo>
                    <a:lnTo>
                      <a:pt x="80" y="0"/>
                    </a:lnTo>
                    <a:lnTo>
                      <a:pt x="92" y="3"/>
                    </a:lnTo>
                    <a:lnTo>
                      <a:pt x="107" y="9"/>
                    </a:lnTo>
                    <a:lnTo>
                      <a:pt x="107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1" name="Freeform 18"/>
              <p:cNvSpPr>
                <a:spLocks/>
              </p:cNvSpPr>
              <p:nvPr/>
            </p:nvSpPr>
            <p:spPr bwMode="auto">
              <a:xfrm>
                <a:off x="3015" y="2045"/>
                <a:ext cx="70" cy="71"/>
              </a:xfrm>
              <a:custGeom>
                <a:avLst/>
                <a:gdLst>
                  <a:gd name="T0" fmla="*/ 105 w 140"/>
                  <a:gd name="T1" fmla="*/ 10 h 142"/>
                  <a:gd name="T2" fmla="*/ 105 w 140"/>
                  <a:gd name="T3" fmla="*/ 10 h 142"/>
                  <a:gd name="T4" fmla="*/ 118 w 140"/>
                  <a:gd name="T5" fmla="*/ 18 h 142"/>
                  <a:gd name="T6" fmla="*/ 127 w 140"/>
                  <a:gd name="T7" fmla="*/ 29 h 142"/>
                  <a:gd name="T8" fmla="*/ 134 w 140"/>
                  <a:gd name="T9" fmla="*/ 40 h 142"/>
                  <a:gd name="T10" fmla="*/ 138 w 140"/>
                  <a:gd name="T11" fmla="*/ 53 h 142"/>
                  <a:gd name="T12" fmla="*/ 140 w 140"/>
                  <a:gd name="T13" fmla="*/ 66 h 142"/>
                  <a:gd name="T14" fmla="*/ 140 w 140"/>
                  <a:gd name="T15" fmla="*/ 80 h 142"/>
                  <a:gd name="T16" fmla="*/ 137 w 140"/>
                  <a:gd name="T17" fmla="*/ 93 h 142"/>
                  <a:gd name="T18" fmla="*/ 132 w 140"/>
                  <a:gd name="T19" fmla="*/ 107 h 142"/>
                  <a:gd name="T20" fmla="*/ 132 w 140"/>
                  <a:gd name="T21" fmla="*/ 107 h 142"/>
                  <a:gd name="T22" fmla="*/ 122 w 140"/>
                  <a:gd name="T23" fmla="*/ 118 h 142"/>
                  <a:gd name="T24" fmla="*/ 113 w 140"/>
                  <a:gd name="T25" fmla="*/ 128 h 142"/>
                  <a:gd name="T26" fmla="*/ 102 w 140"/>
                  <a:gd name="T27" fmla="*/ 134 h 142"/>
                  <a:gd name="T28" fmla="*/ 89 w 140"/>
                  <a:gd name="T29" fmla="*/ 139 h 142"/>
                  <a:gd name="T30" fmla="*/ 75 w 140"/>
                  <a:gd name="T31" fmla="*/ 142 h 142"/>
                  <a:gd name="T32" fmla="*/ 62 w 140"/>
                  <a:gd name="T33" fmla="*/ 141 h 142"/>
                  <a:gd name="T34" fmla="*/ 47 w 140"/>
                  <a:gd name="T35" fmla="*/ 137 h 142"/>
                  <a:gd name="T36" fmla="*/ 35 w 140"/>
                  <a:gd name="T37" fmla="*/ 133 h 142"/>
                  <a:gd name="T38" fmla="*/ 35 w 140"/>
                  <a:gd name="T39" fmla="*/ 133 h 142"/>
                  <a:gd name="T40" fmla="*/ 24 w 140"/>
                  <a:gd name="T41" fmla="*/ 123 h 142"/>
                  <a:gd name="T42" fmla="*/ 14 w 140"/>
                  <a:gd name="T43" fmla="*/ 113 h 142"/>
                  <a:gd name="T44" fmla="*/ 6 w 140"/>
                  <a:gd name="T45" fmla="*/ 102 h 142"/>
                  <a:gd name="T46" fmla="*/ 1 w 140"/>
                  <a:gd name="T47" fmla="*/ 90 h 142"/>
                  <a:gd name="T48" fmla="*/ 0 w 140"/>
                  <a:gd name="T49" fmla="*/ 75 h 142"/>
                  <a:gd name="T50" fmla="*/ 0 w 140"/>
                  <a:gd name="T51" fmla="*/ 62 h 142"/>
                  <a:gd name="T52" fmla="*/ 3 w 140"/>
                  <a:gd name="T53" fmla="*/ 48 h 142"/>
                  <a:gd name="T54" fmla="*/ 9 w 140"/>
                  <a:gd name="T55" fmla="*/ 35 h 142"/>
                  <a:gd name="T56" fmla="*/ 9 w 140"/>
                  <a:gd name="T57" fmla="*/ 35 h 142"/>
                  <a:gd name="T58" fmla="*/ 17 w 140"/>
                  <a:gd name="T59" fmla="*/ 24 h 142"/>
                  <a:gd name="T60" fmla="*/ 28 w 140"/>
                  <a:gd name="T61" fmla="*/ 15 h 142"/>
                  <a:gd name="T62" fmla="*/ 40 w 140"/>
                  <a:gd name="T63" fmla="*/ 8 h 142"/>
                  <a:gd name="T64" fmla="*/ 52 w 140"/>
                  <a:gd name="T65" fmla="*/ 3 h 142"/>
                  <a:gd name="T66" fmla="*/ 65 w 140"/>
                  <a:gd name="T67" fmla="*/ 0 h 142"/>
                  <a:gd name="T68" fmla="*/ 79 w 140"/>
                  <a:gd name="T69" fmla="*/ 0 h 142"/>
                  <a:gd name="T70" fmla="*/ 92 w 140"/>
                  <a:gd name="T71" fmla="*/ 3 h 142"/>
                  <a:gd name="T72" fmla="*/ 105 w 140"/>
                  <a:gd name="T73" fmla="*/ 10 h 142"/>
                  <a:gd name="T74" fmla="*/ 105 w 140"/>
                  <a:gd name="T75" fmla="*/ 10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0" h="142">
                    <a:moveTo>
                      <a:pt x="105" y="10"/>
                    </a:moveTo>
                    <a:lnTo>
                      <a:pt x="105" y="10"/>
                    </a:lnTo>
                    <a:lnTo>
                      <a:pt x="118" y="18"/>
                    </a:lnTo>
                    <a:lnTo>
                      <a:pt x="127" y="29"/>
                    </a:lnTo>
                    <a:lnTo>
                      <a:pt x="134" y="40"/>
                    </a:lnTo>
                    <a:lnTo>
                      <a:pt x="138" y="53"/>
                    </a:lnTo>
                    <a:lnTo>
                      <a:pt x="140" y="66"/>
                    </a:lnTo>
                    <a:lnTo>
                      <a:pt x="140" y="80"/>
                    </a:lnTo>
                    <a:lnTo>
                      <a:pt x="137" y="93"/>
                    </a:lnTo>
                    <a:lnTo>
                      <a:pt x="132" y="107"/>
                    </a:lnTo>
                    <a:lnTo>
                      <a:pt x="132" y="107"/>
                    </a:lnTo>
                    <a:lnTo>
                      <a:pt x="122" y="118"/>
                    </a:lnTo>
                    <a:lnTo>
                      <a:pt x="113" y="128"/>
                    </a:lnTo>
                    <a:lnTo>
                      <a:pt x="102" y="134"/>
                    </a:lnTo>
                    <a:lnTo>
                      <a:pt x="89" y="139"/>
                    </a:lnTo>
                    <a:lnTo>
                      <a:pt x="75" y="142"/>
                    </a:lnTo>
                    <a:lnTo>
                      <a:pt x="62" y="141"/>
                    </a:lnTo>
                    <a:lnTo>
                      <a:pt x="47" y="137"/>
                    </a:lnTo>
                    <a:lnTo>
                      <a:pt x="35" y="133"/>
                    </a:lnTo>
                    <a:lnTo>
                      <a:pt x="35" y="133"/>
                    </a:lnTo>
                    <a:lnTo>
                      <a:pt x="24" y="123"/>
                    </a:lnTo>
                    <a:lnTo>
                      <a:pt x="14" y="113"/>
                    </a:lnTo>
                    <a:lnTo>
                      <a:pt x="6" y="102"/>
                    </a:lnTo>
                    <a:lnTo>
                      <a:pt x="1" y="90"/>
                    </a:lnTo>
                    <a:lnTo>
                      <a:pt x="0" y="75"/>
                    </a:lnTo>
                    <a:lnTo>
                      <a:pt x="0" y="62"/>
                    </a:lnTo>
                    <a:lnTo>
                      <a:pt x="3" y="48"/>
                    </a:lnTo>
                    <a:lnTo>
                      <a:pt x="9" y="35"/>
                    </a:lnTo>
                    <a:lnTo>
                      <a:pt x="9" y="35"/>
                    </a:lnTo>
                    <a:lnTo>
                      <a:pt x="17" y="24"/>
                    </a:lnTo>
                    <a:lnTo>
                      <a:pt x="28" y="15"/>
                    </a:lnTo>
                    <a:lnTo>
                      <a:pt x="40" y="8"/>
                    </a:lnTo>
                    <a:lnTo>
                      <a:pt x="52" y="3"/>
                    </a:lnTo>
                    <a:lnTo>
                      <a:pt x="65" y="0"/>
                    </a:lnTo>
                    <a:lnTo>
                      <a:pt x="79" y="0"/>
                    </a:lnTo>
                    <a:lnTo>
                      <a:pt x="92" y="3"/>
                    </a:lnTo>
                    <a:lnTo>
                      <a:pt x="105" y="10"/>
                    </a:lnTo>
                    <a:lnTo>
                      <a:pt x="105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2" name="Freeform 19"/>
              <p:cNvSpPr>
                <a:spLocks/>
              </p:cNvSpPr>
              <p:nvPr/>
            </p:nvSpPr>
            <p:spPr bwMode="auto">
              <a:xfrm>
                <a:off x="2708" y="2153"/>
                <a:ext cx="120" cy="162"/>
              </a:xfrm>
              <a:custGeom>
                <a:avLst/>
                <a:gdLst>
                  <a:gd name="T0" fmla="*/ 225 w 241"/>
                  <a:gd name="T1" fmla="*/ 74 h 326"/>
                  <a:gd name="T2" fmla="*/ 225 w 241"/>
                  <a:gd name="T3" fmla="*/ 74 h 326"/>
                  <a:gd name="T4" fmla="*/ 233 w 241"/>
                  <a:gd name="T5" fmla="*/ 37 h 326"/>
                  <a:gd name="T6" fmla="*/ 241 w 241"/>
                  <a:gd name="T7" fmla="*/ 0 h 326"/>
                  <a:gd name="T8" fmla="*/ 241 w 241"/>
                  <a:gd name="T9" fmla="*/ 0 h 326"/>
                  <a:gd name="T10" fmla="*/ 201 w 241"/>
                  <a:gd name="T11" fmla="*/ 32 h 326"/>
                  <a:gd name="T12" fmla="*/ 164 w 241"/>
                  <a:gd name="T13" fmla="*/ 66 h 326"/>
                  <a:gd name="T14" fmla="*/ 131 w 241"/>
                  <a:gd name="T15" fmla="*/ 101 h 326"/>
                  <a:gd name="T16" fmla="*/ 100 w 241"/>
                  <a:gd name="T17" fmla="*/ 138 h 326"/>
                  <a:gd name="T18" fmla="*/ 72 w 241"/>
                  <a:gd name="T19" fmla="*/ 174 h 326"/>
                  <a:gd name="T20" fmla="*/ 44 w 241"/>
                  <a:gd name="T21" fmla="*/ 213 h 326"/>
                  <a:gd name="T22" fmla="*/ 21 w 241"/>
                  <a:gd name="T23" fmla="*/ 251 h 326"/>
                  <a:gd name="T24" fmla="*/ 0 w 241"/>
                  <a:gd name="T25" fmla="*/ 287 h 326"/>
                  <a:gd name="T26" fmla="*/ 0 w 241"/>
                  <a:gd name="T27" fmla="*/ 287 h 326"/>
                  <a:gd name="T28" fmla="*/ 33 w 241"/>
                  <a:gd name="T29" fmla="*/ 326 h 326"/>
                  <a:gd name="T30" fmla="*/ 33 w 241"/>
                  <a:gd name="T31" fmla="*/ 326 h 326"/>
                  <a:gd name="T32" fmla="*/ 51 w 241"/>
                  <a:gd name="T33" fmla="*/ 294 h 326"/>
                  <a:gd name="T34" fmla="*/ 70 w 241"/>
                  <a:gd name="T35" fmla="*/ 260 h 326"/>
                  <a:gd name="T36" fmla="*/ 92 w 241"/>
                  <a:gd name="T37" fmla="*/ 228 h 326"/>
                  <a:gd name="T38" fmla="*/ 115 w 241"/>
                  <a:gd name="T39" fmla="*/ 197 h 326"/>
                  <a:gd name="T40" fmla="*/ 140 w 241"/>
                  <a:gd name="T41" fmla="*/ 165 h 326"/>
                  <a:gd name="T42" fmla="*/ 166 w 241"/>
                  <a:gd name="T43" fmla="*/ 133 h 326"/>
                  <a:gd name="T44" fmla="*/ 194 w 241"/>
                  <a:gd name="T45" fmla="*/ 103 h 326"/>
                  <a:gd name="T46" fmla="*/ 225 w 241"/>
                  <a:gd name="T47" fmla="*/ 74 h 326"/>
                  <a:gd name="T48" fmla="*/ 225 w 241"/>
                  <a:gd name="T49" fmla="*/ 74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41" h="326">
                    <a:moveTo>
                      <a:pt x="225" y="74"/>
                    </a:moveTo>
                    <a:lnTo>
                      <a:pt x="225" y="74"/>
                    </a:lnTo>
                    <a:lnTo>
                      <a:pt x="233" y="37"/>
                    </a:lnTo>
                    <a:lnTo>
                      <a:pt x="241" y="0"/>
                    </a:lnTo>
                    <a:lnTo>
                      <a:pt x="241" y="0"/>
                    </a:lnTo>
                    <a:lnTo>
                      <a:pt x="201" y="32"/>
                    </a:lnTo>
                    <a:lnTo>
                      <a:pt x="164" y="66"/>
                    </a:lnTo>
                    <a:lnTo>
                      <a:pt x="131" y="101"/>
                    </a:lnTo>
                    <a:lnTo>
                      <a:pt x="100" y="138"/>
                    </a:lnTo>
                    <a:lnTo>
                      <a:pt x="72" y="174"/>
                    </a:lnTo>
                    <a:lnTo>
                      <a:pt x="44" y="213"/>
                    </a:lnTo>
                    <a:lnTo>
                      <a:pt x="21" y="251"/>
                    </a:lnTo>
                    <a:lnTo>
                      <a:pt x="0" y="287"/>
                    </a:lnTo>
                    <a:lnTo>
                      <a:pt x="0" y="287"/>
                    </a:lnTo>
                    <a:lnTo>
                      <a:pt x="33" y="326"/>
                    </a:lnTo>
                    <a:lnTo>
                      <a:pt x="33" y="326"/>
                    </a:lnTo>
                    <a:lnTo>
                      <a:pt x="51" y="294"/>
                    </a:lnTo>
                    <a:lnTo>
                      <a:pt x="70" y="260"/>
                    </a:lnTo>
                    <a:lnTo>
                      <a:pt x="92" y="228"/>
                    </a:lnTo>
                    <a:lnTo>
                      <a:pt x="115" y="197"/>
                    </a:lnTo>
                    <a:lnTo>
                      <a:pt x="140" y="165"/>
                    </a:lnTo>
                    <a:lnTo>
                      <a:pt x="166" y="133"/>
                    </a:lnTo>
                    <a:lnTo>
                      <a:pt x="194" y="103"/>
                    </a:lnTo>
                    <a:lnTo>
                      <a:pt x="225" y="74"/>
                    </a:lnTo>
                    <a:lnTo>
                      <a:pt x="225" y="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3" name="Freeform 20"/>
              <p:cNvSpPr>
                <a:spLocks/>
              </p:cNvSpPr>
              <p:nvPr/>
            </p:nvSpPr>
            <p:spPr bwMode="auto">
              <a:xfrm>
                <a:off x="2849" y="2072"/>
                <a:ext cx="195" cy="94"/>
              </a:xfrm>
              <a:custGeom>
                <a:avLst/>
                <a:gdLst>
                  <a:gd name="T0" fmla="*/ 19 w 391"/>
                  <a:gd name="T1" fmla="*/ 120 h 189"/>
                  <a:gd name="T2" fmla="*/ 19 w 391"/>
                  <a:gd name="T3" fmla="*/ 120 h 189"/>
                  <a:gd name="T4" fmla="*/ 10 w 391"/>
                  <a:gd name="T5" fmla="*/ 154 h 189"/>
                  <a:gd name="T6" fmla="*/ 0 w 391"/>
                  <a:gd name="T7" fmla="*/ 189 h 189"/>
                  <a:gd name="T8" fmla="*/ 0 w 391"/>
                  <a:gd name="T9" fmla="*/ 189 h 189"/>
                  <a:gd name="T10" fmla="*/ 24 w 391"/>
                  <a:gd name="T11" fmla="*/ 173 h 189"/>
                  <a:gd name="T12" fmla="*/ 48 w 391"/>
                  <a:gd name="T13" fmla="*/ 158 h 189"/>
                  <a:gd name="T14" fmla="*/ 72 w 391"/>
                  <a:gd name="T15" fmla="*/ 144 h 189"/>
                  <a:gd name="T16" fmla="*/ 96 w 391"/>
                  <a:gd name="T17" fmla="*/ 131 h 189"/>
                  <a:gd name="T18" fmla="*/ 145 w 391"/>
                  <a:gd name="T19" fmla="*/ 107 h 189"/>
                  <a:gd name="T20" fmla="*/ 196 w 391"/>
                  <a:gd name="T21" fmla="*/ 88 h 189"/>
                  <a:gd name="T22" fmla="*/ 246 w 391"/>
                  <a:gd name="T23" fmla="*/ 72 h 189"/>
                  <a:gd name="T24" fmla="*/ 295 w 391"/>
                  <a:gd name="T25" fmla="*/ 58 h 189"/>
                  <a:gd name="T26" fmla="*/ 344 w 391"/>
                  <a:gd name="T27" fmla="*/ 48 h 189"/>
                  <a:gd name="T28" fmla="*/ 391 w 391"/>
                  <a:gd name="T29" fmla="*/ 40 h 189"/>
                  <a:gd name="T30" fmla="*/ 391 w 391"/>
                  <a:gd name="T31" fmla="*/ 40 h 189"/>
                  <a:gd name="T32" fmla="*/ 365 w 391"/>
                  <a:gd name="T33" fmla="*/ 20 h 189"/>
                  <a:gd name="T34" fmla="*/ 340 w 391"/>
                  <a:gd name="T35" fmla="*/ 0 h 189"/>
                  <a:gd name="T36" fmla="*/ 340 w 391"/>
                  <a:gd name="T37" fmla="*/ 0 h 189"/>
                  <a:gd name="T38" fmla="*/ 301 w 391"/>
                  <a:gd name="T39" fmla="*/ 8 h 189"/>
                  <a:gd name="T40" fmla="*/ 262 w 391"/>
                  <a:gd name="T41" fmla="*/ 18 h 189"/>
                  <a:gd name="T42" fmla="*/ 220 w 391"/>
                  <a:gd name="T43" fmla="*/ 29 h 189"/>
                  <a:gd name="T44" fmla="*/ 180 w 391"/>
                  <a:gd name="T45" fmla="*/ 43 h 189"/>
                  <a:gd name="T46" fmla="*/ 139 w 391"/>
                  <a:gd name="T47" fmla="*/ 59 h 189"/>
                  <a:gd name="T48" fmla="*/ 99 w 391"/>
                  <a:gd name="T49" fmla="*/ 77 h 189"/>
                  <a:gd name="T50" fmla="*/ 59 w 391"/>
                  <a:gd name="T51" fmla="*/ 98 h 189"/>
                  <a:gd name="T52" fmla="*/ 19 w 391"/>
                  <a:gd name="T53" fmla="*/ 120 h 189"/>
                  <a:gd name="T54" fmla="*/ 19 w 391"/>
                  <a:gd name="T55" fmla="*/ 120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91" h="189">
                    <a:moveTo>
                      <a:pt x="19" y="120"/>
                    </a:moveTo>
                    <a:lnTo>
                      <a:pt x="19" y="120"/>
                    </a:lnTo>
                    <a:lnTo>
                      <a:pt x="10" y="154"/>
                    </a:lnTo>
                    <a:lnTo>
                      <a:pt x="0" y="189"/>
                    </a:lnTo>
                    <a:lnTo>
                      <a:pt x="0" y="189"/>
                    </a:lnTo>
                    <a:lnTo>
                      <a:pt x="24" y="173"/>
                    </a:lnTo>
                    <a:lnTo>
                      <a:pt x="48" y="158"/>
                    </a:lnTo>
                    <a:lnTo>
                      <a:pt x="72" y="144"/>
                    </a:lnTo>
                    <a:lnTo>
                      <a:pt x="96" y="131"/>
                    </a:lnTo>
                    <a:lnTo>
                      <a:pt x="145" y="107"/>
                    </a:lnTo>
                    <a:lnTo>
                      <a:pt x="196" y="88"/>
                    </a:lnTo>
                    <a:lnTo>
                      <a:pt x="246" y="72"/>
                    </a:lnTo>
                    <a:lnTo>
                      <a:pt x="295" y="58"/>
                    </a:lnTo>
                    <a:lnTo>
                      <a:pt x="344" y="48"/>
                    </a:lnTo>
                    <a:lnTo>
                      <a:pt x="391" y="40"/>
                    </a:lnTo>
                    <a:lnTo>
                      <a:pt x="391" y="40"/>
                    </a:lnTo>
                    <a:lnTo>
                      <a:pt x="365" y="20"/>
                    </a:lnTo>
                    <a:lnTo>
                      <a:pt x="340" y="0"/>
                    </a:lnTo>
                    <a:lnTo>
                      <a:pt x="340" y="0"/>
                    </a:lnTo>
                    <a:lnTo>
                      <a:pt x="301" y="8"/>
                    </a:lnTo>
                    <a:lnTo>
                      <a:pt x="262" y="18"/>
                    </a:lnTo>
                    <a:lnTo>
                      <a:pt x="220" y="29"/>
                    </a:lnTo>
                    <a:lnTo>
                      <a:pt x="180" y="43"/>
                    </a:lnTo>
                    <a:lnTo>
                      <a:pt x="139" y="59"/>
                    </a:lnTo>
                    <a:lnTo>
                      <a:pt x="99" y="77"/>
                    </a:lnTo>
                    <a:lnTo>
                      <a:pt x="59" y="98"/>
                    </a:lnTo>
                    <a:lnTo>
                      <a:pt x="19" y="120"/>
                    </a:lnTo>
                    <a:lnTo>
                      <a:pt x="19" y="1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4" name="Freeform 21"/>
              <p:cNvSpPr>
                <a:spLocks/>
              </p:cNvSpPr>
              <p:nvPr/>
            </p:nvSpPr>
            <p:spPr bwMode="auto">
              <a:xfrm>
                <a:off x="3051" y="2061"/>
                <a:ext cx="125" cy="27"/>
              </a:xfrm>
              <a:custGeom>
                <a:avLst/>
                <a:gdLst>
                  <a:gd name="T0" fmla="*/ 0 w 251"/>
                  <a:gd name="T1" fmla="*/ 11 h 54"/>
                  <a:gd name="T2" fmla="*/ 0 w 251"/>
                  <a:gd name="T3" fmla="*/ 11 h 54"/>
                  <a:gd name="T4" fmla="*/ 34 w 251"/>
                  <a:gd name="T5" fmla="*/ 40 h 54"/>
                  <a:gd name="T6" fmla="*/ 34 w 251"/>
                  <a:gd name="T7" fmla="*/ 40 h 54"/>
                  <a:gd name="T8" fmla="*/ 48 w 251"/>
                  <a:gd name="T9" fmla="*/ 54 h 54"/>
                  <a:gd name="T10" fmla="*/ 48 w 251"/>
                  <a:gd name="T11" fmla="*/ 54 h 54"/>
                  <a:gd name="T12" fmla="*/ 83 w 251"/>
                  <a:gd name="T13" fmla="*/ 51 h 54"/>
                  <a:gd name="T14" fmla="*/ 117 w 251"/>
                  <a:gd name="T15" fmla="*/ 50 h 54"/>
                  <a:gd name="T16" fmla="*/ 174 w 251"/>
                  <a:gd name="T17" fmla="*/ 48 h 54"/>
                  <a:gd name="T18" fmla="*/ 220 w 251"/>
                  <a:gd name="T19" fmla="*/ 48 h 54"/>
                  <a:gd name="T20" fmla="*/ 251 w 251"/>
                  <a:gd name="T21" fmla="*/ 51 h 54"/>
                  <a:gd name="T22" fmla="*/ 251 w 251"/>
                  <a:gd name="T23" fmla="*/ 51 h 54"/>
                  <a:gd name="T24" fmla="*/ 235 w 251"/>
                  <a:gd name="T25" fmla="*/ 26 h 54"/>
                  <a:gd name="T26" fmla="*/ 217 w 251"/>
                  <a:gd name="T27" fmla="*/ 2 h 54"/>
                  <a:gd name="T28" fmla="*/ 217 w 251"/>
                  <a:gd name="T29" fmla="*/ 2 h 54"/>
                  <a:gd name="T30" fmla="*/ 176 w 251"/>
                  <a:gd name="T31" fmla="*/ 0 h 54"/>
                  <a:gd name="T32" fmla="*/ 125 w 251"/>
                  <a:gd name="T33" fmla="*/ 2 h 54"/>
                  <a:gd name="T34" fmla="*/ 66 w 251"/>
                  <a:gd name="T35" fmla="*/ 5 h 54"/>
                  <a:gd name="T36" fmla="*/ 0 w 251"/>
                  <a:gd name="T37" fmla="*/ 11 h 54"/>
                  <a:gd name="T38" fmla="*/ 0 w 251"/>
                  <a:gd name="T39" fmla="*/ 1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51" h="54">
                    <a:moveTo>
                      <a:pt x="0" y="11"/>
                    </a:moveTo>
                    <a:lnTo>
                      <a:pt x="0" y="11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48" y="54"/>
                    </a:lnTo>
                    <a:lnTo>
                      <a:pt x="48" y="54"/>
                    </a:lnTo>
                    <a:lnTo>
                      <a:pt x="83" y="51"/>
                    </a:lnTo>
                    <a:lnTo>
                      <a:pt x="117" y="50"/>
                    </a:lnTo>
                    <a:lnTo>
                      <a:pt x="174" y="48"/>
                    </a:lnTo>
                    <a:lnTo>
                      <a:pt x="220" y="48"/>
                    </a:lnTo>
                    <a:lnTo>
                      <a:pt x="251" y="51"/>
                    </a:lnTo>
                    <a:lnTo>
                      <a:pt x="251" y="51"/>
                    </a:lnTo>
                    <a:lnTo>
                      <a:pt x="235" y="26"/>
                    </a:lnTo>
                    <a:lnTo>
                      <a:pt x="217" y="2"/>
                    </a:lnTo>
                    <a:lnTo>
                      <a:pt x="217" y="2"/>
                    </a:lnTo>
                    <a:lnTo>
                      <a:pt x="176" y="0"/>
                    </a:lnTo>
                    <a:lnTo>
                      <a:pt x="125" y="2"/>
                    </a:lnTo>
                    <a:lnTo>
                      <a:pt x="66" y="5"/>
                    </a:lnTo>
                    <a:lnTo>
                      <a:pt x="0" y="11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5" name="Freeform 22"/>
              <p:cNvSpPr>
                <a:spLocks/>
              </p:cNvSpPr>
              <p:nvPr/>
            </p:nvSpPr>
            <p:spPr bwMode="auto">
              <a:xfrm>
                <a:off x="2653" y="2319"/>
                <a:ext cx="60" cy="138"/>
              </a:xfrm>
              <a:custGeom>
                <a:avLst/>
                <a:gdLst>
                  <a:gd name="T0" fmla="*/ 86 w 121"/>
                  <a:gd name="T1" fmla="*/ 0 h 276"/>
                  <a:gd name="T2" fmla="*/ 86 w 121"/>
                  <a:gd name="T3" fmla="*/ 0 h 276"/>
                  <a:gd name="T4" fmla="*/ 70 w 121"/>
                  <a:gd name="T5" fmla="*/ 33 h 276"/>
                  <a:gd name="T6" fmla="*/ 56 w 121"/>
                  <a:gd name="T7" fmla="*/ 67 h 276"/>
                  <a:gd name="T8" fmla="*/ 32 w 121"/>
                  <a:gd name="T9" fmla="*/ 127 h 276"/>
                  <a:gd name="T10" fmla="*/ 13 w 121"/>
                  <a:gd name="T11" fmla="*/ 183 h 276"/>
                  <a:gd name="T12" fmla="*/ 0 w 121"/>
                  <a:gd name="T13" fmla="*/ 228 h 276"/>
                  <a:gd name="T14" fmla="*/ 0 w 121"/>
                  <a:gd name="T15" fmla="*/ 228 h 276"/>
                  <a:gd name="T16" fmla="*/ 17 w 121"/>
                  <a:gd name="T17" fmla="*/ 252 h 276"/>
                  <a:gd name="T18" fmla="*/ 36 w 121"/>
                  <a:gd name="T19" fmla="*/ 276 h 276"/>
                  <a:gd name="T20" fmla="*/ 36 w 121"/>
                  <a:gd name="T21" fmla="*/ 276 h 276"/>
                  <a:gd name="T22" fmla="*/ 48 w 121"/>
                  <a:gd name="T23" fmla="*/ 234 h 276"/>
                  <a:gd name="T24" fmla="*/ 64 w 121"/>
                  <a:gd name="T25" fmla="*/ 180 h 276"/>
                  <a:gd name="T26" fmla="*/ 75 w 121"/>
                  <a:gd name="T27" fmla="*/ 146 h 276"/>
                  <a:gd name="T28" fmla="*/ 87 w 121"/>
                  <a:gd name="T29" fmla="*/ 113 h 276"/>
                  <a:gd name="T30" fmla="*/ 103 w 121"/>
                  <a:gd name="T31" fmla="*/ 76 h 276"/>
                  <a:gd name="T32" fmla="*/ 121 w 121"/>
                  <a:gd name="T33" fmla="*/ 38 h 276"/>
                  <a:gd name="T34" fmla="*/ 121 w 121"/>
                  <a:gd name="T35" fmla="*/ 38 h 276"/>
                  <a:gd name="T36" fmla="*/ 86 w 121"/>
                  <a:gd name="T37" fmla="*/ 0 h 276"/>
                  <a:gd name="T38" fmla="*/ 86 w 121"/>
                  <a:gd name="T39" fmla="*/ 0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1" h="276">
                    <a:moveTo>
                      <a:pt x="86" y="0"/>
                    </a:moveTo>
                    <a:lnTo>
                      <a:pt x="86" y="0"/>
                    </a:lnTo>
                    <a:lnTo>
                      <a:pt x="70" y="33"/>
                    </a:lnTo>
                    <a:lnTo>
                      <a:pt x="56" y="67"/>
                    </a:lnTo>
                    <a:lnTo>
                      <a:pt x="32" y="127"/>
                    </a:lnTo>
                    <a:lnTo>
                      <a:pt x="13" y="183"/>
                    </a:lnTo>
                    <a:lnTo>
                      <a:pt x="0" y="228"/>
                    </a:lnTo>
                    <a:lnTo>
                      <a:pt x="0" y="228"/>
                    </a:lnTo>
                    <a:lnTo>
                      <a:pt x="17" y="252"/>
                    </a:lnTo>
                    <a:lnTo>
                      <a:pt x="36" y="276"/>
                    </a:lnTo>
                    <a:lnTo>
                      <a:pt x="36" y="276"/>
                    </a:lnTo>
                    <a:lnTo>
                      <a:pt x="48" y="234"/>
                    </a:lnTo>
                    <a:lnTo>
                      <a:pt x="64" y="180"/>
                    </a:lnTo>
                    <a:lnTo>
                      <a:pt x="75" y="146"/>
                    </a:lnTo>
                    <a:lnTo>
                      <a:pt x="87" y="113"/>
                    </a:lnTo>
                    <a:lnTo>
                      <a:pt x="103" y="76"/>
                    </a:lnTo>
                    <a:lnTo>
                      <a:pt x="121" y="38"/>
                    </a:lnTo>
                    <a:lnTo>
                      <a:pt x="121" y="38"/>
                    </a:lnTo>
                    <a:lnTo>
                      <a:pt x="86" y="0"/>
                    </a:lnTo>
                    <a:lnTo>
                      <a:pt x="8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6" name="Freeform 23"/>
              <p:cNvSpPr>
                <a:spLocks/>
              </p:cNvSpPr>
              <p:nvPr/>
            </p:nvSpPr>
            <p:spPr bwMode="auto">
              <a:xfrm>
                <a:off x="2828" y="2009"/>
                <a:ext cx="83" cy="144"/>
              </a:xfrm>
              <a:custGeom>
                <a:avLst/>
                <a:gdLst>
                  <a:gd name="T0" fmla="*/ 60 w 165"/>
                  <a:gd name="T1" fmla="*/ 246 h 287"/>
                  <a:gd name="T2" fmla="*/ 60 w 165"/>
                  <a:gd name="T3" fmla="*/ 246 h 287"/>
                  <a:gd name="T4" fmla="*/ 71 w 165"/>
                  <a:gd name="T5" fmla="*/ 214 h 287"/>
                  <a:gd name="T6" fmla="*/ 82 w 165"/>
                  <a:gd name="T7" fmla="*/ 182 h 287"/>
                  <a:gd name="T8" fmla="*/ 95 w 165"/>
                  <a:gd name="T9" fmla="*/ 152 h 287"/>
                  <a:gd name="T10" fmla="*/ 108 w 165"/>
                  <a:gd name="T11" fmla="*/ 122 h 287"/>
                  <a:gd name="T12" fmla="*/ 137 w 165"/>
                  <a:gd name="T13" fmla="*/ 66 h 287"/>
                  <a:gd name="T14" fmla="*/ 165 w 165"/>
                  <a:gd name="T15" fmla="*/ 16 h 287"/>
                  <a:gd name="T16" fmla="*/ 165 w 165"/>
                  <a:gd name="T17" fmla="*/ 16 h 287"/>
                  <a:gd name="T18" fmla="*/ 118 w 165"/>
                  <a:gd name="T19" fmla="*/ 0 h 287"/>
                  <a:gd name="T20" fmla="*/ 118 w 165"/>
                  <a:gd name="T21" fmla="*/ 0 h 287"/>
                  <a:gd name="T22" fmla="*/ 102 w 165"/>
                  <a:gd name="T23" fmla="*/ 31 h 287"/>
                  <a:gd name="T24" fmla="*/ 84 w 165"/>
                  <a:gd name="T25" fmla="*/ 63 h 287"/>
                  <a:gd name="T26" fmla="*/ 67 w 165"/>
                  <a:gd name="T27" fmla="*/ 96 h 287"/>
                  <a:gd name="T28" fmla="*/ 51 w 165"/>
                  <a:gd name="T29" fmla="*/ 133 h 287"/>
                  <a:gd name="T30" fmla="*/ 36 w 165"/>
                  <a:gd name="T31" fmla="*/ 169 h 287"/>
                  <a:gd name="T32" fmla="*/ 22 w 165"/>
                  <a:gd name="T33" fmla="*/ 208 h 287"/>
                  <a:gd name="T34" fmla="*/ 9 w 165"/>
                  <a:gd name="T35" fmla="*/ 248 h 287"/>
                  <a:gd name="T36" fmla="*/ 0 w 165"/>
                  <a:gd name="T37" fmla="*/ 287 h 287"/>
                  <a:gd name="T38" fmla="*/ 0 w 165"/>
                  <a:gd name="T39" fmla="*/ 287 h 287"/>
                  <a:gd name="T40" fmla="*/ 4 w 165"/>
                  <a:gd name="T41" fmla="*/ 283 h 287"/>
                  <a:gd name="T42" fmla="*/ 4 w 165"/>
                  <a:gd name="T43" fmla="*/ 283 h 287"/>
                  <a:gd name="T44" fmla="*/ 31 w 165"/>
                  <a:gd name="T45" fmla="*/ 264 h 287"/>
                  <a:gd name="T46" fmla="*/ 60 w 165"/>
                  <a:gd name="T47" fmla="*/ 246 h 287"/>
                  <a:gd name="T48" fmla="*/ 60 w 165"/>
                  <a:gd name="T49" fmla="*/ 246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5" h="287">
                    <a:moveTo>
                      <a:pt x="60" y="246"/>
                    </a:moveTo>
                    <a:lnTo>
                      <a:pt x="60" y="246"/>
                    </a:lnTo>
                    <a:lnTo>
                      <a:pt x="71" y="214"/>
                    </a:lnTo>
                    <a:lnTo>
                      <a:pt x="82" y="182"/>
                    </a:lnTo>
                    <a:lnTo>
                      <a:pt x="95" y="152"/>
                    </a:lnTo>
                    <a:lnTo>
                      <a:pt x="108" y="122"/>
                    </a:lnTo>
                    <a:lnTo>
                      <a:pt x="137" y="66"/>
                    </a:lnTo>
                    <a:lnTo>
                      <a:pt x="165" y="16"/>
                    </a:lnTo>
                    <a:lnTo>
                      <a:pt x="165" y="16"/>
                    </a:lnTo>
                    <a:lnTo>
                      <a:pt x="118" y="0"/>
                    </a:lnTo>
                    <a:lnTo>
                      <a:pt x="118" y="0"/>
                    </a:lnTo>
                    <a:lnTo>
                      <a:pt x="102" y="31"/>
                    </a:lnTo>
                    <a:lnTo>
                      <a:pt x="84" y="63"/>
                    </a:lnTo>
                    <a:lnTo>
                      <a:pt x="67" y="96"/>
                    </a:lnTo>
                    <a:lnTo>
                      <a:pt x="51" y="133"/>
                    </a:lnTo>
                    <a:lnTo>
                      <a:pt x="36" y="169"/>
                    </a:lnTo>
                    <a:lnTo>
                      <a:pt x="22" y="208"/>
                    </a:lnTo>
                    <a:lnTo>
                      <a:pt x="9" y="248"/>
                    </a:lnTo>
                    <a:lnTo>
                      <a:pt x="0" y="287"/>
                    </a:lnTo>
                    <a:lnTo>
                      <a:pt x="0" y="287"/>
                    </a:lnTo>
                    <a:lnTo>
                      <a:pt x="4" y="283"/>
                    </a:lnTo>
                    <a:lnTo>
                      <a:pt x="4" y="283"/>
                    </a:lnTo>
                    <a:lnTo>
                      <a:pt x="31" y="264"/>
                    </a:lnTo>
                    <a:lnTo>
                      <a:pt x="60" y="246"/>
                    </a:lnTo>
                    <a:lnTo>
                      <a:pt x="60" y="2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7" name="Freeform 24"/>
              <p:cNvSpPr>
                <a:spLocks/>
              </p:cNvSpPr>
              <p:nvPr/>
            </p:nvSpPr>
            <p:spPr bwMode="auto">
              <a:xfrm>
                <a:off x="2901" y="1937"/>
                <a:ext cx="64" cy="59"/>
              </a:xfrm>
              <a:custGeom>
                <a:avLst/>
                <a:gdLst>
                  <a:gd name="T0" fmla="*/ 46 w 127"/>
                  <a:gd name="T1" fmla="*/ 118 h 118"/>
                  <a:gd name="T2" fmla="*/ 46 w 127"/>
                  <a:gd name="T3" fmla="*/ 118 h 118"/>
                  <a:gd name="T4" fmla="*/ 70 w 127"/>
                  <a:gd name="T5" fmla="*/ 83 h 118"/>
                  <a:gd name="T6" fmla="*/ 92 w 127"/>
                  <a:gd name="T7" fmla="*/ 53 h 118"/>
                  <a:gd name="T8" fmla="*/ 127 w 127"/>
                  <a:gd name="T9" fmla="*/ 6 h 118"/>
                  <a:gd name="T10" fmla="*/ 127 w 127"/>
                  <a:gd name="T11" fmla="*/ 6 h 118"/>
                  <a:gd name="T12" fmla="*/ 100 w 127"/>
                  <a:gd name="T13" fmla="*/ 3 h 118"/>
                  <a:gd name="T14" fmla="*/ 73 w 127"/>
                  <a:gd name="T15" fmla="*/ 0 h 118"/>
                  <a:gd name="T16" fmla="*/ 73 w 127"/>
                  <a:gd name="T17" fmla="*/ 0 h 118"/>
                  <a:gd name="T18" fmla="*/ 38 w 127"/>
                  <a:gd name="T19" fmla="*/ 45 h 118"/>
                  <a:gd name="T20" fmla="*/ 19 w 127"/>
                  <a:gd name="T21" fmla="*/ 72 h 118"/>
                  <a:gd name="T22" fmla="*/ 0 w 127"/>
                  <a:gd name="T23" fmla="*/ 102 h 118"/>
                  <a:gd name="T24" fmla="*/ 0 w 127"/>
                  <a:gd name="T25" fmla="*/ 102 h 118"/>
                  <a:gd name="T26" fmla="*/ 46 w 127"/>
                  <a:gd name="T27" fmla="*/ 118 h 118"/>
                  <a:gd name="T28" fmla="*/ 46 w 127"/>
                  <a:gd name="T29" fmla="*/ 11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7" h="118">
                    <a:moveTo>
                      <a:pt x="46" y="118"/>
                    </a:moveTo>
                    <a:lnTo>
                      <a:pt x="46" y="118"/>
                    </a:lnTo>
                    <a:lnTo>
                      <a:pt x="70" y="83"/>
                    </a:lnTo>
                    <a:lnTo>
                      <a:pt x="92" y="53"/>
                    </a:lnTo>
                    <a:lnTo>
                      <a:pt x="127" y="6"/>
                    </a:lnTo>
                    <a:lnTo>
                      <a:pt x="127" y="6"/>
                    </a:lnTo>
                    <a:lnTo>
                      <a:pt x="100" y="3"/>
                    </a:lnTo>
                    <a:lnTo>
                      <a:pt x="73" y="0"/>
                    </a:lnTo>
                    <a:lnTo>
                      <a:pt x="73" y="0"/>
                    </a:lnTo>
                    <a:lnTo>
                      <a:pt x="38" y="45"/>
                    </a:lnTo>
                    <a:lnTo>
                      <a:pt x="19" y="72"/>
                    </a:lnTo>
                    <a:lnTo>
                      <a:pt x="0" y="102"/>
                    </a:lnTo>
                    <a:lnTo>
                      <a:pt x="0" y="102"/>
                    </a:lnTo>
                    <a:lnTo>
                      <a:pt x="46" y="118"/>
                    </a:lnTo>
                    <a:lnTo>
                      <a:pt x="46" y="1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8" name="Freeform 25"/>
              <p:cNvSpPr>
                <a:spLocks/>
              </p:cNvSpPr>
              <p:nvPr/>
            </p:nvSpPr>
            <p:spPr bwMode="auto">
              <a:xfrm>
                <a:off x="2816" y="2166"/>
                <a:ext cx="63" cy="253"/>
              </a:xfrm>
              <a:custGeom>
                <a:avLst/>
                <a:gdLst>
                  <a:gd name="T0" fmla="*/ 8 w 126"/>
                  <a:gd name="T1" fmla="*/ 46 h 505"/>
                  <a:gd name="T2" fmla="*/ 8 w 126"/>
                  <a:gd name="T3" fmla="*/ 46 h 505"/>
                  <a:gd name="T4" fmla="*/ 4 w 126"/>
                  <a:gd name="T5" fmla="*/ 75 h 505"/>
                  <a:gd name="T6" fmla="*/ 1 w 126"/>
                  <a:gd name="T7" fmla="*/ 103 h 505"/>
                  <a:gd name="T8" fmla="*/ 0 w 126"/>
                  <a:gd name="T9" fmla="*/ 134 h 505"/>
                  <a:gd name="T10" fmla="*/ 0 w 126"/>
                  <a:gd name="T11" fmla="*/ 164 h 505"/>
                  <a:gd name="T12" fmla="*/ 0 w 126"/>
                  <a:gd name="T13" fmla="*/ 164 h 505"/>
                  <a:gd name="T14" fmla="*/ 1 w 126"/>
                  <a:gd name="T15" fmla="*/ 207 h 505"/>
                  <a:gd name="T16" fmla="*/ 4 w 126"/>
                  <a:gd name="T17" fmla="*/ 248 h 505"/>
                  <a:gd name="T18" fmla="*/ 9 w 126"/>
                  <a:gd name="T19" fmla="*/ 290 h 505"/>
                  <a:gd name="T20" fmla="*/ 17 w 126"/>
                  <a:gd name="T21" fmla="*/ 330 h 505"/>
                  <a:gd name="T22" fmla="*/ 27 w 126"/>
                  <a:gd name="T23" fmla="*/ 368 h 505"/>
                  <a:gd name="T24" fmla="*/ 38 w 126"/>
                  <a:gd name="T25" fmla="*/ 406 h 505"/>
                  <a:gd name="T26" fmla="*/ 49 w 126"/>
                  <a:gd name="T27" fmla="*/ 444 h 505"/>
                  <a:gd name="T28" fmla="*/ 63 w 126"/>
                  <a:gd name="T29" fmla="*/ 480 h 505"/>
                  <a:gd name="T30" fmla="*/ 63 w 126"/>
                  <a:gd name="T31" fmla="*/ 480 h 505"/>
                  <a:gd name="T32" fmla="*/ 94 w 126"/>
                  <a:gd name="T33" fmla="*/ 492 h 505"/>
                  <a:gd name="T34" fmla="*/ 126 w 126"/>
                  <a:gd name="T35" fmla="*/ 505 h 505"/>
                  <a:gd name="T36" fmla="*/ 126 w 126"/>
                  <a:gd name="T37" fmla="*/ 505 h 505"/>
                  <a:gd name="T38" fmla="*/ 110 w 126"/>
                  <a:gd name="T39" fmla="*/ 467 h 505"/>
                  <a:gd name="T40" fmla="*/ 94 w 126"/>
                  <a:gd name="T41" fmla="*/ 427 h 505"/>
                  <a:gd name="T42" fmla="*/ 81 w 126"/>
                  <a:gd name="T43" fmla="*/ 385 h 505"/>
                  <a:gd name="T44" fmla="*/ 70 w 126"/>
                  <a:gd name="T45" fmla="*/ 344 h 505"/>
                  <a:gd name="T46" fmla="*/ 60 w 126"/>
                  <a:gd name="T47" fmla="*/ 299 h 505"/>
                  <a:gd name="T48" fmla="*/ 52 w 126"/>
                  <a:gd name="T49" fmla="*/ 255 h 505"/>
                  <a:gd name="T50" fmla="*/ 47 w 126"/>
                  <a:gd name="T51" fmla="*/ 210 h 505"/>
                  <a:gd name="T52" fmla="*/ 46 w 126"/>
                  <a:gd name="T53" fmla="*/ 164 h 505"/>
                  <a:gd name="T54" fmla="*/ 46 w 126"/>
                  <a:gd name="T55" fmla="*/ 164 h 505"/>
                  <a:gd name="T56" fmla="*/ 47 w 126"/>
                  <a:gd name="T57" fmla="*/ 121 h 505"/>
                  <a:gd name="T58" fmla="*/ 51 w 126"/>
                  <a:gd name="T59" fmla="*/ 81 h 505"/>
                  <a:gd name="T60" fmla="*/ 57 w 126"/>
                  <a:gd name="T61" fmla="*/ 39 h 505"/>
                  <a:gd name="T62" fmla="*/ 65 w 126"/>
                  <a:gd name="T63" fmla="*/ 0 h 505"/>
                  <a:gd name="T64" fmla="*/ 65 w 126"/>
                  <a:gd name="T65" fmla="*/ 0 h 505"/>
                  <a:gd name="T66" fmla="*/ 57 w 126"/>
                  <a:gd name="T67" fmla="*/ 6 h 505"/>
                  <a:gd name="T68" fmla="*/ 57 w 126"/>
                  <a:gd name="T69" fmla="*/ 6 h 505"/>
                  <a:gd name="T70" fmla="*/ 32 w 126"/>
                  <a:gd name="T71" fmla="*/ 25 h 505"/>
                  <a:gd name="T72" fmla="*/ 8 w 126"/>
                  <a:gd name="T73" fmla="*/ 46 h 505"/>
                  <a:gd name="T74" fmla="*/ 8 w 126"/>
                  <a:gd name="T75" fmla="*/ 46 h 5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6" h="505">
                    <a:moveTo>
                      <a:pt x="8" y="46"/>
                    </a:moveTo>
                    <a:lnTo>
                      <a:pt x="8" y="46"/>
                    </a:lnTo>
                    <a:lnTo>
                      <a:pt x="4" y="75"/>
                    </a:lnTo>
                    <a:lnTo>
                      <a:pt x="1" y="103"/>
                    </a:lnTo>
                    <a:lnTo>
                      <a:pt x="0" y="134"/>
                    </a:lnTo>
                    <a:lnTo>
                      <a:pt x="0" y="164"/>
                    </a:lnTo>
                    <a:lnTo>
                      <a:pt x="0" y="164"/>
                    </a:lnTo>
                    <a:lnTo>
                      <a:pt x="1" y="207"/>
                    </a:lnTo>
                    <a:lnTo>
                      <a:pt x="4" y="248"/>
                    </a:lnTo>
                    <a:lnTo>
                      <a:pt x="9" y="290"/>
                    </a:lnTo>
                    <a:lnTo>
                      <a:pt x="17" y="330"/>
                    </a:lnTo>
                    <a:lnTo>
                      <a:pt x="27" y="368"/>
                    </a:lnTo>
                    <a:lnTo>
                      <a:pt x="38" y="406"/>
                    </a:lnTo>
                    <a:lnTo>
                      <a:pt x="49" y="444"/>
                    </a:lnTo>
                    <a:lnTo>
                      <a:pt x="63" y="480"/>
                    </a:lnTo>
                    <a:lnTo>
                      <a:pt x="63" y="480"/>
                    </a:lnTo>
                    <a:lnTo>
                      <a:pt x="94" y="492"/>
                    </a:lnTo>
                    <a:lnTo>
                      <a:pt x="126" y="505"/>
                    </a:lnTo>
                    <a:lnTo>
                      <a:pt x="126" y="505"/>
                    </a:lnTo>
                    <a:lnTo>
                      <a:pt x="110" y="467"/>
                    </a:lnTo>
                    <a:lnTo>
                      <a:pt x="94" y="427"/>
                    </a:lnTo>
                    <a:lnTo>
                      <a:pt x="81" y="385"/>
                    </a:lnTo>
                    <a:lnTo>
                      <a:pt x="70" y="344"/>
                    </a:lnTo>
                    <a:lnTo>
                      <a:pt x="60" y="299"/>
                    </a:lnTo>
                    <a:lnTo>
                      <a:pt x="52" y="255"/>
                    </a:lnTo>
                    <a:lnTo>
                      <a:pt x="47" y="210"/>
                    </a:lnTo>
                    <a:lnTo>
                      <a:pt x="46" y="164"/>
                    </a:lnTo>
                    <a:lnTo>
                      <a:pt x="46" y="164"/>
                    </a:lnTo>
                    <a:lnTo>
                      <a:pt x="47" y="121"/>
                    </a:lnTo>
                    <a:lnTo>
                      <a:pt x="51" y="81"/>
                    </a:lnTo>
                    <a:lnTo>
                      <a:pt x="57" y="39"/>
                    </a:lnTo>
                    <a:lnTo>
                      <a:pt x="65" y="0"/>
                    </a:lnTo>
                    <a:lnTo>
                      <a:pt x="65" y="0"/>
                    </a:lnTo>
                    <a:lnTo>
                      <a:pt x="57" y="6"/>
                    </a:lnTo>
                    <a:lnTo>
                      <a:pt x="57" y="6"/>
                    </a:lnTo>
                    <a:lnTo>
                      <a:pt x="32" y="25"/>
                    </a:lnTo>
                    <a:lnTo>
                      <a:pt x="8" y="46"/>
                    </a:lnTo>
                    <a:lnTo>
                      <a:pt x="8" y="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9" name="Freeform 26"/>
              <p:cNvSpPr>
                <a:spLocks/>
              </p:cNvSpPr>
              <p:nvPr/>
            </p:nvSpPr>
            <p:spPr bwMode="auto">
              <a:xfrm>
                <a:off x="2862" y="2437"/>
                <a:ext cx="105" cy="126"/>
              </a:xfrm>
              <a:custGeom>
                <a:avLst/>
                <a:gdLst>
                  <a:gd name="T0" fmla="*/ 0 w 210"/>
                  <a:gd name="T1" fmla="*/ 0 h 250"/>
                  <a:gd name="T2" fmla="*/ 0 w 210"/>
                  <a:gd name="T3" fmla="*/ 0 h 250"/>
                  <a:gd name="T4" fmla="*/ 19 w 210"/>
                  <a:gd name="T5" fmla="*/ 41 h 250"/>
                  <a:gd name="T6" fmla="*/ 41 w 210"/>
                  <a:gd name="T7" fmla="*/ 79 h 250"/>
                  <a:gd name="T8" fmla="*/ 62 w 210"/>
                  <a:gd name="T9" fmla="*/ 116 h 250"/>
                  <a:gd name="T10" fmla="*/ 82 w 210"/>
                  <a:gd name="T11" fmla="*/ 150 h 250"/>
                  <a:gd name="T12" fmla="*/ 103 w 210"/>
                  <a:gd name="T13" fmla="*/ 180 h 250"/>
                  <a:gd name="T14" fmla="*/ 122 w 210"/>
                  <a:gd name="T15" fmla="*/ 207 h 250"/>
                  <a:gd name="T16" fmla="*/ 156 w 210"/>
                  <a:gd name="T17" fmla="*/ 250 h 250"/>
                  <a:gd name="T18" fmla="*/ 156 w 210"/>
                  <a:gd name="T19" fmla="*/ 250 h 250"/>
                  <a:gd name="T20" fmla="*/ 183 w 210"/>
                  <a:gd name="T21" fmla="*/ 247 h 250"/>
                  <a:gd name="T22" fmla="*/ 210 w 210"/>
                  <a:gd name="T23" fmla="*/ 242 h 250"/>
                  <a:gd name="T24" fmla="*/ 210 w 210"/>
                  <a:gd name="T25" fmla="*/ 242 h 250"/>
                  <a:gd name="T26" fmla="*/ 183 w 210"/>
                  <a:gd name="T27" fmla="*/ 209 h 250"/>
                  <a:gd name="T28" fmla="*/ 148 w 210"/>
                  <a:gd name="T29" fmla="*/ 159 h 250"/>
                  <a:gd name="T30" fmla="*/ 127 w 210"/>
                  <a:gd name="T31" fmla="*/ 130 h 250"/>
                  <a:gd name="T32" fmla="*/ 106 w 210"/>
                  <a:gd name="T33" fmla="*/ 97 h 250"/>
                  <a:gd name="T34" fmla="*/ 84 w 210"/>
                  <a:gd name="T35" fmla="*/ 60 h 250"/>
                  <a:gd name="T36" fmla="*/ 63 w 210"/>
                  <a:gd name="T37" fmla="*/ 20 h 250"/>
                  <a:gd name="T38" fmla="*/ 63 w 210"/>
                  <a:gd name="T39" fmla="*/ 20 h 250"/>
                  <a:gd name="T40" fmla="*/ 31 w 210"/>
                  <a:gd name="T41" fmla="*/ 11 h 250"/>
                  <a:gd name="T42" fmla="*/ 0 w 210"/>
                  <a:gd name="T43" fmla="*/ 0 h 250"/>
                  <a:gd name="T44" fmla="*/ 0 w 210"/>
                  <a:gd name="T45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10" h="250">
                    <a:moveTo>
                      <a:pt x="0" y="0"/>
                    </a:moveTo>
                    <a:lnTo>
                      <a:pt x="0" y="0"/>
                    </a:lnTo>
                    <a:lnTo>
                      <a:pt x="19" y="41"/>
                    </a:lnTo>
                    <a:lnTo>
                      <a:pt x="41" y="79"/>
                    </a:lnTo>
                    <a:lnTo>
                      <a:pt x="62" y="116"/>
                    </a:lnTo>
                    <a:lnTo>
                      <a:pt x="82" y="150"/>
                    </a:lnTo>
                    <a:lnTo>
                      <a:pt x="103" y="180"/>
                    </a:lnTo>
                    <a:lnTo>
                      <a:pt x="122" y="207"/>
                    </a:lnTo>
                    <a:lnTo>
                      <a:pt x="156" y="250"/>
                    </a:lnTo>
                    <a:lnTo>
                      <a:pt x="156" y="250"/>
                    </a:lnTo>
                    <a:lnTo>
                      <a:pt x="183" y="247"/>
                    </a:lnTo>
                    <a:lnTo>
                      <a:pt x="210" y="242"/>
                    </a:lnTo>
                    <a:lnTo>
                      <a:pt x="210" y="242"/>
                    </a:lnTo>
                    <a:lnTo>
                      <a:pt x="183" y="209"/>
                    </a:lnTo>
                    <a:lnTo>
                      <a:pt x="148" y="159"/>
                    </a:lnTo>
                    <a:lnTo>
                      <a:pt x="127" y="130"/>
                    </a:lnTo>
                    <a:lnTo>
                      <a:pt x="106" y="97"/>
                    </a:lnTo>
                    <a:lnTo>
                      <a:pt x="84" y="60"/>
                    </a:lnTo>
                    <a:lnTo>
                      <a:pt x="63" y="20"/>
                    </a:lnTo>
                    <a:lnTo>
                      <a:pt x="63" y="20"/>
                    </a:lnTo>
                    <a:lnTo>
                      <a:pt x="31" y="11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0" name="Freeform 27"/>
              <p:cNvSpPr>
                <a:spLocks/>
              </p:cNvSpPr>
              <p:nvPr/>
            </p:nvSpPr>
            <p:spPr bwMode="auto">
              <a:xfrm>
                <a:off x="2820" y="2132"/>
                <a:ext cx="39" cy="57"/>
              </a:xfrm>
              <a:custGeom>
                <a:avLst/>
                <a:gdLst>
                  <a:gd name="T0" fmla="*/ 20 w 76"/>
                  <a:gd name="T1" fmla="*/ 37 h 115"/>
                  <a:gd name="T2" fmla="*/ 20 w 76"/>
                  <a:gd name="T3" fmla="*/ 37 h 115"/>
                  <a:gd name="T4" fmla="*/ 16 w 76"/>
                  <a:gd name="T5" fmla="*/ 41 h 115"/>
                  <a:gd name="T6" fmla="*/ 16 w 76"/>
                  <a:gd name="T7" fmla="*/ 41 h 115"/>
                  <a:gd name="T8" fmla="*/ 8 w 76"/>
                  <a:gd name="T9" fmla="*/ 78 h 115"/>
                  <a:gd name="T10" fmla="*/ 0 w 76"/>
                  <a:gd name="T11" fmla="*/ 115 h 115"/>
                  <a:gd name="T12" fmla="*/ 0 w 76"/>
                  <a:gd name="T13" fmla="*/ 115 h 115"/>
                  <a:gd name="T14" fmla="*/ 24 w 76"/>
                  <a:gd name="T15" fmla="*/ 94 h 115"/>
                  <a:gd name="T16" fmla="*/ 49 w 76"/>
                  <a:gd name="T17" fmla="*/ 75 h 115"/>
                  <a:gd name="T18" fmla="*/ 49 w 76"/>
                  <a:gd name="T19" fmla="*/ 75 h 115"/>
                  <a:gd name="T20" fmla="*/ 57 w 76"/>
                  <a:gd name="T21" fmla="*/ 69 h 115"/>
                  <a:gd name="T22" fmla="*/ 57 w 76"/>
                  <a:gd name="T23" fmla="*/ 69 h 115"/>
                  <a:gd name="T24" fmla="*/ 67 w 76"/>
                  <a:gd name="T25" fmla="*/ 34 h 115"/>
                  <a:gd name="T26" fmla="*/ 76 w 76"/>
                  <a:gd name="T27" fmla="*/ 0 h 115"/>
                  <a:gd name="T28" fmla="*/ 76 w 76"/>
                  <a:gd name="T29" fmla="*/ 0 h 115"/>
                  <a:gd name="T30" fmla="*/ 47 w 76"/>
                  <a:gd name="T31" fmla="*/ 18 h 115"/>
                  <a:gd name="T32" fmla="*/ 20 w 76"/>
                  <a:gd name="T33" fmla="*/ 37 h 115"/>
                  <a:gd name="T34" fmla="*/ 20 w 76"/>
                  <a:gd name="T35" fmla="*/ 3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6" h="115">
                    <a:moveTo>
                      <a:pt x="20" y="37"/>
                    </a:moveTo>
                    <a:lnTo>
                      <a:pt x="20" y="37"/>
                    </a:lnTo>
                    <a:lnTo>
                      <a:pt x="16" y="41"/>
                    </a:lnTo>
                    <a:lnTo>
                      <a:pt x="16" y="41"/>
                    </a:lnTo>
                    <a:lnTo>
                      <a:pt x="8" y="78"/>
                    </a:lnTo>
                    <a:lnTo>
                      <a:pt x="0" y="115"/>
                    </a:lnTo>
                    <a:lnTo>
                      <a:pt x="0" y="115"/>
                    </a:lnTo>
                    <a:lnTo>
                      <a:pt x="24" y="94"/>
                    </a:lnTo>
                    <a:lnTo>
                      <a:pt x="49" y="75"/>
                    </a:lnTo>
                    <a:lnTo>
                      <a:pt x="49" y="75"/>
                    </a:lnTo>
                    <a:lnTo>
                      <a:pt x="57" y="69"/>
                    </a:lnTo>
                    <a:lnTo>
                      <a:pt x="57" y="69"/>
                    </a:lnTo>
                    <a:lnTo>
                      <a:pt x="67" y="34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47" y="18"/>
                    </a:lnTo>
                    <a:lnTo>
                      <a:pt x="20" y="37"/>
                    </a:lnTo>
                    <a:lnTo>
                      <a:pt x="20" y="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1" name="Freeform 28"/>
              <p:cNvSpPr>
                <a:spLocks/>
              </p:cNvSpPr>
              <p:nvPr/>
            </p:nvSpPr>
            <p:spPr bwMode="auto">
              <a:xfrm>
                <a:off x="2879" y="2419"/>
                <a:ext cx="286" cy="49"/>
              </a:xfrm>
              <a:custGeom>
                <a:avLst/>
                <a:gdLst>
                  <a:gd name="T0" fmla="*/ 0 w 570"/>
                  <a:gd name="T1" fmla="*/ 0 h 97"/>
                  <a:gd name="T2" fmla="*/ 0 w 570"/>
                  <a:gd name="T3" fmla="*/ 0 h 97"/>
                  <a:gd name="T4" fmla="*/ 14 w 570"/>
                  <a:gd name="T5" fmla="*/ 29 h 97"/>
                  <a:gd name="T6" fmla="*/ 28 w 570"/>
                  <a:gd name="T7" fmla="*/ 57 h 97"/>
                  <a:gd name="T8" fmla="*/ 28 w 570"/>
                  <a:gd name="T9" fmla="*/ 57 h 97"/>
                  <a:gd name="T10" fmla="*/ 67 w 570"/>
                  <a:gd name="T11" fmla="*/ 69 h 97"/>
                  <a:gd name="T12" fmla="*/ 103 w 570"/>
                  <a:gd name="T13" fmla="*/ 77 h 97"/>
                  <a:gd name="T14" fmla="*/ 142 w 570"/>
                  <a:gd name="T15" fmla="*/ 83 h 97"/>
                  <a:gd name="T16" fmla="*/ 178 w 570"/>
                  <a:gd name="T17" fmla="*/ 88 h 97"/>
                  <a:gd name="T18" fmla="*/ 215 w 570"/>
                  <a:gd name="T19" fmla="*/ 93 h 97"/>
                  <a:gd name="T20" fmla="*/ 250 w 570"/>
                  <a:gd name="T21" fmla="*/ 94 h 97"/>
                  <a:gd name="T22" fmla="*/ 285 w 570"/>
                  <a:gd name="T23" fmla="*/ 96 h 97"/>
                  <a:gd name="T24" fmla="*/ 318 w 570"/>
                  <a:gd name="T25" fmla="*/ 97 h 97"/>
                  <a:gd name="T26" fmla="*/ 318 w 570"/>
                  <a:gd name="T27" fmla="*/ 97 h 97"/>
                  <a:gd name="T28" fmla="*/ 381 w 570"/>
                  <a:gd name="T29" fmla="*/ 96 h 97"/>
                  <a:gd name="T30" fmla="*/ 438 w 570"/>
                  <a:gd name="T31" fmla="*/ 91 h 97"/>
                  <a:gd name="T32" fmla="*/ 486 w 570"/>
                  <a:gd name="T33" fmla="*/ 85 h 97"/>
                  <a:gd name="T34" fmla="*/ 527 w 570"/>
                  <a:gd name="T35" fmla="*/ 80 h 97"/>
                  <a:gd name="T36" fmla="*/ 527 w 570"/>
                  <a:gd name="T37" fmla="*/ 80 h 97"/>
                  <a:gd name="T38" fmla="*/ 550 w 570"/>
                  <a:gd name="T39" fmla="*/ 53 h 97"/>
                  <a:gd name="T40" fmla="*/ 570 w 570"/>
                  <a:gd name="T41" fmla="*/ 24 h 97"/>
                  <a:gd name="T42" fmla="*/ 570 w 570"/>
                  <a:gd name="T43" fmla="*/ 22 h 97"/>
                  <a:gd name="T44" fmla="*/ 570 w 570"/>
                  <a:gd name="T45" fmla="*/ 22 h 97"/>
                  <a:gd name="T46" fmla="*/ 556 w 570"/>
                  <a:gd name="T47" fmla="*/ 26 h 97"/>
                  <a:gd name="T48" fmla="*/ 518 w 570"/>
                  <a:gd name="T49" fmla="*/ 32 h 97"/>
                  <a:gd name="T50" fmla="*/ 460 w 570"/>
                  <a:gd name="T51" fmla="*/ 40 h 97"/>
                  <a:gd name="T52" fmla="*/ 425 w 570"/>
                  <a:gd name="T53" fmla="*/ 45 h 97"/>
                  <a:gd name="T54" fmla="*/ 387 w 570"/>
                  <a:gd name="T55" fmla="*/ 46 h 97"/>
                  <a:gd name="T56" fmla="*/ 344 w 570"/>
                  <a:gd name="T57" fmla="*/ 48 h 97"/>
                  <a:gd name="T58" fmla="*/ 299 w 570"/>
                  <a:gd name="T59" fmla="*/ 48 h 97"/>
                  <a:gd name="T60" fmla="*/ 253 w 570"/>
                  <a:gd name="T61" fmla="*/ 46 h 97"/>
                  <a:gd name="T62" fmla="*/ 204 w 570"/>
                  <a:gd name="T63" fmla="*/ 43 h 97"/>
                  <a:gd name="T64" fmla="*/ 154 w 570"/>
                  <a:gd name="T65" fmla="*/ 37 h 97"/>
                  <a:gd name="T66" fmla="*/ 103 w 570"/>
                  <a:gd name="T67" fmla="*/ 27 h 97"/>
                  <a:gd name="T68" fmla="*/ 51 w 570"/>
                  <a:gd name="T69" fmla="*/ 16 h 97"/>
                  <a:gd name="T70" fmla="*/ 0 w 570"/>
                  <a:gd name="T71" fmla="*/ 0 h 97"/>
                  <a:gd name="T72" fmla="*/ 0 w 570"/>
                  <a:gd name="T73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70" h="97">
                    <a:moveTo>
                      <a:pt x="0" y="0"/>
                    </a:moveTo>
                    <a:lnTo>
                      <a:pt x="0" y="0"/>
                    </a:lnTo>
                    <a:lnTo>
                      <a:pt x="14" y="29"/>
                    </a:lnTo>
                    <a:lnTo>
                      <a:pt x="28" y="57"/>
                    </a:lnTo>
                    <a:lnTo>
                      <a:pt x="28" y="57"/>
                    </a:lnTo>
                    <a:lnTo>
                      <a:pt x="67" y="69"/>
                    </a:lnTo>
                    <a:lnTo>
                      <a:pt x="103" y="77"/>
                    </a:lnTo>
                    <a:lnTo>
                      <a:pt x="142" y="83"/>
                    </a:lnTo>
                    <a:lnTo>
                      <a:pt x="178" y="88"/>
                    </a:lnTo>
                    <a:lnTo>
                      <a:pt x="215" y="93"/>
                    </a:lnTo>
                    <a:lnTo>
                      <a:pt x="250" y="94"/>
                    </a:lnTo>
                    <a:lnTo>
                      <a:pt x="285" y="96"/>
                    </a:lnTo>
                    <a:lnTo>
                      <a:pt x="318" y="97"/>
                    </a:lnTo>
                    <a:lnTo>
                      <a:pt x="318" y="97"/>
                    </a:lnTo>
                    <a:lnTo>
                      <a:pt x="381" y="96"/>
                    </a:lnTo>
                    <a:lnTo>
                      <a:pt x="438" y="91"/>
                    </a:lnTo>
                    <a:lnTo>
                      <a:pt x="486" y="85"/>
                    </a:lnTo>
                    <a:lnTo>
                      <a:pt x="527" y="80"/>
                    </a:lnTo>
                    <a:lnTo>
                      <a:pt x="527" y="80"/>
                    </a:lnTo>
                    <a:lnTo>
                      <a:pt x="550" y="53"/>
                    </a:lnTo>
                    <a:lnTo>
                      <a:pt x="570" y="24"/>
                    </a:lnTo>
                    <a:lnTo>
                      <a:pt x="570" y="22"/>
                    </a:lnTo>
                    <a:lnTo>
                      <a:pt x="570" y="22"/>
                    </a:lnTo>
                    <a:lnTo>
                      <a:pt x="556" y="26"/>
                    </a:lnTo>
                    <a:lnTo>
                      <a:pt x="518" y="32"/>
                    </a:lnTo>
                    <a:lnTo>
                      <a:pt x="460" y="40"/>
                    </a:lnTo>
                    <a:lnTo>
                      <a:pt x="425" y="45"/>
                    </a:lnTo>
                    <a:lnTo>
                      <a:pt x="387" y="46"/>
                    </a:lnTo>
                    <a:lnTo>
                      <a:pt x="344" y="48"/>
                    </a:lnTo>
                    <a:lnTo>
                      <a:pt x="299" y="48"/>
                    </a:lnTo>
                    <a:lnTo>
                      <a:pt x="253" y="46"/>
                    </a:lnTo>
                    <a:lnTo>
                      <a:pt x="204" y="43"/>
                    </a:lnTo>
                    <a:lnTo>
                      <a:pt x="154" y="37"/>
                    </a:lnTo>
                    <a:lnTo>
                      <a:pt x="103" y="27"/>
                    </a:lnTo>
                    <a:lnTo>
                      <a:pt x="51" y="16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" name="Freeform 29"/>
              <p:cNvSpPr>
                <a:spLocks/>
              </p:cNvSpPr>
              <p:nvPr/>
            </p:nvSpPr>
            <p:spPr bwMode="auto">
              <a:xfrm>
                <a:off x="2603" y="2137"/>
                <a:ext cx="105" cy="182"/>
              </a:xfrm>
              <a:custGeom>
                <a:avLst/>
                <a:gdLst>
                  <a:gd name="T0" fmla="*/ 209 w 209"/>
                  <a:gd name="T1" fmla="*/ 318 h 365"/>
                  <a:gd name="T2" fmla="*/ 209 w 209"/>
                  <a:gd name="T3" fmla="*/ 318 h 365"/>
                  <a:gd name="T4" fmla="*/ 172 w 209"/>
                  <a:gd name="T5" fmla="*/ 272 h 365"/>
                  <a:gd name="T6" fmla="*/ 140 w 209"/>
                  <a:gd name="T7" fmla="*/ 226 h 365"/>
                  <a:gd name="T8" fmla="*/ 112 w 209"/>
                  <a:gd name="T9" fmla="*/ 180 h 365"/>
                  <a:gd name="T10" fmla="*/ 86 w 209"/>
                  <a:gd name="T11" fmla="*/ 137 h 365"/>
                  <a:gd name="T12" fmla="*/ 65 w 209"/>
                  <a:gd name="T13" fmla="*/ 95 h 365"/>
                  <a:gd name="T14" fmla="*/ 48 w 209"/>
                  <a:gd name="T15" fmla="*/ 59 h 365"/>
                  <a:gd name="T16" fmla="*/ 33 w 209"/>
                  <a:gd name="T17" fmla="*/ 27 h 365"/>
                  <a:gd name="T18" fmla="*/ 22 w 209"/>
                  <a:gd name="T19" fmla="*/ 0 h 365"/>
                  <a:gd name="T20" fmla="*/ 22 w 209"/>
                  <a:gd name="T21" fmla="*/ 0 h 365"/>
                  <a:gd name="T22" fmla="*/ 9 w 209"/>
                  <a:gd name="T23" fmla="*/ 35 h 365"/>
                  <a:gd name="T24" fmla="*/ 0 w 209"/>
                  <a:gd name="T25" fmla="*/ 70 h 365"/>
                  <a:gd name="T26" fmla="*/ 0 w 209"/>
                  <a:gd name="T27" fmla="*/ 70 h 365"/>
                  <a:gd name="T28" fmla="*/ 14 w 209"/>
                  <a:gd name="T29" fmla="*/ 100 h 365"/>
                  <a:gd name="T30" fmla="*/ 30 w 209"/>
                  <a:gd name="T31" fmla="*/ 134 h 365"/>
                  <a:gd name="T32" fmla="*/ 49 w 209"/>
                  <a:gd name="T33" fmla="*/ 169 h 365"/>
                  <a:gd name="T34" fmla="*/ 70 w 209"/>
                  <a:gd name="T35" fmla="*/ 207 h 365"/>
                  <a:gd name="T36" fmla="*/ 96 w 209"/>
                  <a:gd name="T37" fmla="*/ 245 h 365"/>
                  <a:gd name="T38" fmla="*/ 123 w 209"/>
                  <a:gd name="T39" fmla="*/ 285 h 365"/>
                  <a:gd name="T40" fmla="*/ 151 w 209"/>
                  <a:gd name="T41" fmla="*/ 325 h 365"/>
                  <a:gd name="T42" fmla="*/ 185 w 209"/>
                  <a:gd name="T43" fmla="*/ 365 h 365"/>
                  <a:gd name="T44" fmla="*/ 185 w 209"/>
                  <a:gd name="T45" fmla="*/ 365 h 365"/>
                  <a:gd name="T46" fmla="*/ 209 w 209"/>
                  <a:gd name="T47" fmla="*/ 318 h 365"/>
                  <a:gd name="T48" fmla="*/ 209 w 209"/>
                  <a:gd name="T49" fmla="*/ 318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09" h="365">
                    <a:moveTo>
                      <a:pt x="209" y="318"/>
                    </a:moveTo>
                    <a:lnTo>
                      <a:pt x="209" y="318"/>
                    </a:lnTo>
                    <a:lnTo>
                      <a:pt x="172" y="272"/>
                    </a:lnTo>
                    <a:lnTo>
                      <a:pt x="140" y="226"/>
                    </a:lnTo>
                    <a:lnTo>
                      <a:pt x="112" y="180"/>
                    </a:lnTo>
                    <a:lnTo>
                      <a:pt x="86" y="137"/>
                    </a:lnTo>
                    <a:lnTo>
                      <a:pt x="65" y="95"/>
                    </a:lnTo>
                    <a:lnTo>
                      <a:pt x="48" y="59"/>
                    </a:lnTo>
                    <a:lnTo>
                      <a:pt x="33" y="27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9" y="35"/>
                    </a:lnTo>
                    <a:lnTo>
                      <a:pt x="0" y="70"/>
                    </a:lnTo>
                    <a:lnTo>
                      <a:pt x="0" y="70"/>
                    </a:lnTo>
                    <a:lnTo>
                      <a:pt x="14" y="100"/>
                    </a:lnTo>
                    <a:lnTo>
                      <a:pt x="30" y="134"/>
                    </a:lnTo>
                    <a:lnTo>
                      <a:pt x="49" y="169"/>
                    </a:lnTo>
                    <a:lnTo>
                      <a:pt x="70" y="207"/>
                    </a:lnTo>
                    <a:lnTo>
                      <a:pt x="96" y="245"/>
                    </a:lnTo>
                    <a:lnTo>
                      <a:pt x="123" y="285"/>
                    </a:lnTo>
                    <a:lnTo>
                      <a:pt x="151" y="325"/>
                    </a:lnTo>
                    <a:lnTo>
                      <a:pt x="185" y="365"/>
                    </a:lnTo>
                    <a:lnTo>
                      <a:pt x="185" y="365"/>
                    </a:lnTo>
                    <a:lnTo>
                      <a:pt x="209" y="318"/>
                    </a:lnTo>
                    <a:lnTo>
                      <a:pt x="209" y="3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" name="Freeform 30"/>
              <p:cNvSpPr>
                <a:spLocks/>
              </p:cNvSpPr>
              <p:nvPr/>
            </p:nvSpPr>
            <p:spPr bwMode="auto">
              <a:xfrm>
                <a:off x="2713" y="2315"/>
                <a:ext cx="149" cy="122"/>
              </a:xfrm>
              <a:custGeom>
                <a:avLst/>
                <a:gdLst>
                  <a:gd name="T0" fmla="*/ 212 w 297"/>
                  <a:gd name="T1" fmla="*/ 153 h 244"/>
                  <a:gd name="T2" fmla="*/ 212 w 297"/>
                  <a:gd name="T3" fmla="*/ 153 h 244"/>
                  <a:gd name="T4" fmla="*/ 185 w 297"/>
                  <a:gd name="T5" fmla="*/ 137 h 244"/>
                  <a:gd name="T6" fmla="*/ 159 w 297"/>
                  <a:gd name="T7" fmla="*/ 119 h 244"/>
                  <a:gd name="T8" fmla="*/ 134 w 297"/>
                  <a:gd name="T9" fmla="*/ 102 h 244"/>
                  <a:gd name="T10" fmla="*/ 110 w 297"/>
                  <a:gd name="T11" fmla="*/ 83 h 244"/>
                  <a:gd name="T12" fmla="*/ 86 w 297"/>
                  <a:gd name="T13" fmla="*/ 64 h 244"/>
                  <a:gd name="T14" fmla="*/ 64 w 297"/>
                  <a:gd name="T15" fmla="*/ 43 h 244"/>
                  <a:gd name="T16" fmla="*/ 43 w 297"/>
                  <a:gd name="T17" fmla="*/ 22 h 244"/>
                  <a:gd name="T18" fmla="*/ 22 w 297"/>
                  <a:gd name="T19" fmla="*/ 0 h 244"/>
                  <a:gd name="T20" fmla="*/ 22 w 297"/>
                  <a:gd name="T21" fmla="*/ 0 h 244"/>
                  <a:gd name="T22" fmla="*/ 0 w 297"/>
                  <a:gd name="T23" fmla="*/ 46 h 244"/>
                  <a:gd name="T24" fmla="*/ 0 w 297"/>
                  <a:gd name="T25" fmla="*/ 46 h 244"/>
                  <a:gd name="T26" fmla="*/ 21 w 297"/>
                  <a:gd name="T27" fmla="*/ 67 h 244"/>
                  <a:gd name="T28" fmla="*/ 41 w 297"/>
                  <a:gd name="T29" fmla="*/ 86 h 244"/>
                  <a:gd name="T30" fmla="*/ 64 w 297"/>
                  <a:gd name="T31" fmla="*/ 107 h 244"/>
                  <a:gd name="T32" fmla="*/ 88 w 297"/>
                  <a:gd name="T33" fmla="*/ 126 h 244"/>
                  <a:gd name="T34" fmla="*/ 112 w 297"/>
                  <a:gd name="T35" fmla="*/ 143 h 244"/>
                  <a:gd name="T36" fmla="*/ 137 w 297"/>
                  <a:gd name="T37" fmla="*/ 162 h 244"/>
                  <a:gd name="T38" fmla="*/ 163 w 297"/>
                  <a:gd name="T39" fmla="*/ 178 h 244"/>
                  <a:gd name="T40" fmla="*/ 190 w 297"/>
                  <a:gd name="T41" fmla="*/ 194 h 244"/>
                  <a:gd name="T42" fmla="*/ 190 w 297"/>
                  <a:gd name="T43" fmla="*/ 194 h 244"/>
                  <a:gd name="T44" fmla="*/ 215 w 297"/>
                  <a:gd name="T45" fmla="*/ 209 h 244"/>
                  <a:gd name="T46" fmla="*/ 242 w 297"/>
                  <a:gd name="T47" fmla="*/ 221 h 244"/>
                  <a:gd name="T48" fmla="*/ 269 w 297"/>
                  <a:gd name="T49" fmla="*/ 233 h 244"/>
                  <a:gd name="T50" fmla="*/ 297 w 297"/>
                  <a:gd name="T51" fmla="*/ 244 h 244"/>
                  <a:gd name="T52" fmla="*/ 297 w 297"/>
                  <a:gd name="T53" fmla="*/ 244 h 244"/>
                  <a:gd name="T54" fmla="*/ 282 w 297"/>
                  <a:gd name="T55" fmla="*/ 213 h 244"/>
                  <a:gd name="T56" fmla="*/ 269 w 297"/>
                  <a:gd name="T57" fmla="*/ 182 h 244"/>
                  <a:gd name="T58" fmla="*/ 269 w 297"/>
                  <a:gd name="T59" fmla="*/ 182 h 244"/>
                  <a:gd name="T60" fmla="*/ 241 w 297"/>
                  <a:gd name="T61" fmla="*/ 169 h 244"/>
                  <a:gd name="T62" fmla="*/ 212 w 297"/>
                  <a:gd name="T63" fmla="*/ 153 h 244"/>
                  <a:gd name="T64" fmla="*/ 212 w 297"/>
                  <a:gd name="T65" fmla="*/ 153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97" h="244">
                    <a:moveTo>
                      <a:pt x="212" y="153"/>
                    </a:moveTo>
                    <a:lnTo>
                      <a:pt x="212" y="153"/>
                    </a:lnTo>
                    <a:lnTo>
                      <a:pt x="185" y="137"/>
                    </a:lnTo>
                    <a:lnTo>
                      <a:pt x="159" y="119"/>
                    </a:lnTo>
                    <a:lnTo>
                      <a:pt x="134" y="102"/>
                    </a:lnTo>
                    <a:lnTo>
                      <a:pt x="110" y="83"/>
                    </a:lnTo>
                    <a:lnTo>
                      <a:pt x="86" y="64"/>
                    </a:lnTo>
                    <a:lnTo>
                      <a:pt x="64" y="43"/>
                    </a:lnTo>
                    <a:lnTo>
                      <a:pt x="43" y="2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21" y="67"/>
                    </a:lnTo>
                    <a:lnTo>
                      <a:pt x="41" y="86"/>
                    </a:lnTo>
                    <a:lnTo>
                      <a:pt x="64" y="107"/>
                    </a:lnTo>
                    <a:lnTo>
                      <a:pt x="88" y="126"/>
                    </a:lnTo>
                    <a:lnTo>
                      <a:pt x="112" y="143"/>
                    </a:lnTo>
                    <a:lnTo>
                      <a:pt x="137" y="162"/>
                    </a:lnTo>
                    <a:lnTo>
                      <a:pt x="163" y="178"/>
                    </a:lnTo>
                    <a:lnTo>
                      <a:pt x="190" y="194"/>
                    </a:lnTo>
                    <a:lnTo>
                      <a:pt x="190" y="194"/>
                    </a:lnTo>
                    <a:lnTo>
                      <a:pt x="215" y="209"/>
                    </a:lnTo>
                    <a:lnTo>
                      <a:pt x="242" y="221"/>
                    </a:lnTo>
                    <a:lnTo>
                      <a:pt x="269" y="233"/>
                    </a:lnTo>
                    <a:lnTo>
                      <a:pt x="297" y="244"/>
                    </a:lnTo>
                    <a:lnTo>
                      <a:pt x="297" y="244"/>
                    </a:lnTo>
                    <a:lnTo>
                      <a:pt x="282" y="213"/>
                    </a:lnTo>
                    <a:lnTo>
                      <a:pt x="269" y="182"/>
                    </a:lnTo>
                    <a:lnTo>
                      <a:pt x="269" y="182"/>
                    </a:lnTo>
                    <a:lnTo>
                      <a:pt x="241" y="169"/>
                    </a:lnTo>
                    <a:lnTo>
                      <a:pt x="212" y="153"/>
                    </a:lnTo>
                    <a:lnTo>
                      <a:pt x="212" y="15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" name="Freeform 31"/>
              <p:cNvSpPr>
                <a:spLocks/>
              </p:cNvSpPr>
              <p:nvPr/>
            </p:nvSpPr>
            <p:spPr bwMode="auto">
              <a:xfrm>
                <a:off x="2696" y="2296"/>
                <a:ext cx="29" cy="42"/>
              </a:xfrm>
              <a:custGeom>
                <a:avLst/>
                <a:gdLst>
                  <a:gd name="T0" fmla="*/ 24 w 57"/>
                  <a:gd name="T1" fmla="*/ 0 h 85"/>
                  <a:gd name="T2" fmla="*/ 24 w 57"/>
                  <a:gd name="T3" fmla="*/ 0 h 85"/>
                  <a:gd name="T4" fmla="*/ 0 w 57"/>
                  <a:gd name="T5" fmla="*/ 47 h 85"/>
                  <a:gd name="T6" fmla="*/ 0 w 57"/>
                  <a:gd name="T7" fmla="*/ 47 h 85"/>
                  <a:gd name="T8" fmla="*/ 35 w 57"/>
                  <a:gd name="T9" fmla="*/ 85 h 85"/>
                  <a:gd name="T10" fmla="*/ 35 w 57"/>
                  <a:gd name="T11" fmla="*/ 85 h 85"/>
                  <a:gd name="T12" fmla="*/ 57 w 57"/>
                  <a:gd name="T13" fmla="*/ 39 h 85"/>
                  <a:gd name="T14" fmla="*/ 57 w 57"/>
                  <a:gd name="T15" fmla="*/ 39 h 85"/>
                  <a:gd name="T16" fmla="*/ 24 w 57"/>
                  <a:gd name="T17" fmla="*/ 0 h 85"/>
                  <a:gd name="T18" fmla="*/ 24 w 57"/>
                  <a:gd name="T19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" h="85">
                    <a:moveTo>
                      <a:pt x="24" y="0"/>
                    </a:moveTo>
                    <a:lnTo>
                      <a:pt x="24" y="0"/>
                    </a:lnTo>
                    <a:lnTo>
                      <a:pt x="0" y="47"/>
                    </a:lnTo>
                    <a:lnTo>
                      <a:pt x="0" y="47"/>
                    </a:lnTo>
                    <a:lnTo>
                      <a:pt x="35" y="85"/>
                    </a:lnTo>
                    <a:lnTo>
                      <a:pt x="35" y="85"/>
                    </a:lnTo>
                    <a:lnTo>
                      <a:pt x="57" y="39"/>
                    </a:lnTo>
                    <a:lnTo>
                      <a:pt x="57" y="39"/>
                    </a:lnTo>
                    <a:lnTo>
                      <a:pt x="24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5" name="Freeform 32"/>
              <p:cNvSpPr>
                <a:spLocks/>
              </p:cNvSpPr>
              <p:nvPr/>
            </p:nvSpPr>
            <p:spPr bwMode="auto">
              <a:xfrm>
                <a:off x="2848" y="2406"/>
                <a:ext cx="46" cy="42"/>
              </a:xfrm>
              <a:custGeom>
                <a:avLst/>
                <a:gdLst>
                  <a:gd name="T0" fmla="*/ 28 w 91"/>
                  <a:gd name="T1" fmla="*/ 62 h 82"/>
                  <a:gd name="T2" fmla="*/ 28 w 91"/>
                  <a:gd name="T3" fmla="*/ 62 h 82"/>
                  <a:gd name="T4" fmla="*/ 59 w 91"/>
                  <a:gd name="T5" fmla="*/ 73 h 82"/>
                  <a:gd name="T6" fmla="*/ 91 w 91"/>
                  <a:gd name="T7" fmla="*/ 82 h 82"/>
                  <a:gd name="T8" fmla="*/ 91 w 91"/>
                  <a:gd name="T9" fmla="*/ 82 h 82"/>
                  <a:gd name="T10" fmla="*/ 77 w 91"/>
                  <a:gd name="T11" fmla="*/ 54 h 82"/>
                  <a:gd name="T12" fmla="*/ 63 w 91"/>
                  <a:gd name="T13" fmla="*/ 25 h 82"/>
                  <a:gd name="T14" fmla="*/ 63 w 91"/>
                  <a:gd name="T15" fmla="*/ 25 h 82"/>
                  <a:gd name="T16" fmla="*/ 31 w 91"/>
                  <a:gd name="T17" fmla="*/ 12 h 82"/>
                  <a:gd name="T18" fmla="*/ 0 w 91"/>
                  <a:gd name="T19" fmla="*/ 0 h 82"/>
                  <a:gd name="T20" fmla="*/ 0 w 91"/>
                  <a:gd name="T21" fmla="*/ 0 h 82"/>
                  <a:gd name="T22" fmla="*/ 13 w 91"/>
                  <a:gd name="T23" fmla="*/ 31 h 82"/>
                  <a:gd name="T24" fmla="*/ 28 w 91"/>
                  <a:gd name="T25" fmla="*/ 62 h 82"/>
                  <a:gd name="T26" fmla="*/ 28 w 91"/>
                  <a:gd name="T27" fmla="*/ 62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1" h="82">
                    <a:moveTo>
                      <a:pt x="28" y="62"/>
                    </a:moveTo>
                    <a:lnTo>
                      <a:pt x="28" y="62"/>
                    </a:lnTo>
                    <a:lnTo>
                      <a:pt x="59" y="73"/>
                    </a:lnTo>
                    <a:lnTo>
                      <a:pt x="91" y="82"/>
                    </a:lnTo>
                    <a:lnTo>
                      <a:pt x="91" y="82"/>
                    </a:lnTo>
                    <a:lnTo>
                      <a:pt x="77" y="54"/>
                    </a:lnTo>
                    <a:lnTo>
                      <a:pt x="63" y="25"/>
                    </a:lnTo>
                    <a:lnTo>
                      <a:pt x="63" y="25"/>
                    </a:lnTo>
                    <a:lnTo>
                      <a:pt x="31" y="1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3" y="31"/>
                    </a:lnTo>
                    <a:lnTo>
                      <a:pt x="28" y="62"/>
                    </a:lnTo>
                    <a:lnTo>
                      <a:pt x="28" y="6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6" name="Freeform 33"/>
              <p:cNvSpPr>
                <a:spLocks/>
              </p:cNvSpPr>
              <p:nvPr/>
            </p:nvSpPr>
            <p:spPr bwMode="auto">
              <a:xfrm>
                <a:off x="3044" y="2088"/>
                <a:ext cx="165" cy="294"/>
              </a:xfrm>
              <a:custGeom>
                <a:avLst/>
                <a:gdLst>
                  <a:gd name="T0" fmla="*/ 60 w 328"/>
                  <a:gd name="T1" fmla="*/ 0 h 589"/>
                  <a:gd name="T2" fmla="*/ 60 w 328"/>
                  <a:gd name="T3" fmla="*/ 0 h 589"/>
                  <a:gd name="T4" fmla="*/ 0 w 328"/>
                  <a:gd name="T5" fmla="*/ 8 h 589"/>
                  <a:gd name="T6" fmla="*/ 0 w 328"/>
                  <a:gd name="T7" fmla="*/ 8 h 589"/>
                  <a:gd name="T8" fmla="*/ 14 w 328"/>
                  <a:gd name="T9" fmla="*/ 21 h 589"/>
                  <a:gd name="T10" fmla="*/ 14 w 328"/>
                  <a:gd name="T11" fmla="*/ 21 h 589"/>
                  <a:gd name="T12" fmla="*/ 49 w 328"/>
                  <a:gd name="T13" fmla="*/ 55 h 589"/>
                  <a:gd name="T14" fmla="*/ 81 w 328"/>
                  <a:gd name="T15" fmla="*/ 91 h 589"/>
                  <a:gd name="T16" fmla="*/ 111 w 328"/>
                  <a:gd name="T17" fmla="*/ 128 h 589"/>
                  <a:gd name="T18" fmla="*/ 137 w 328"/>
                  <a:gd name="T19" fmla="*/ 168 h 589"/>
                  <a:gd name="T20" fmla="*/ 162 w 328"/>
                  <a:gd name="T21" fmla="*/ 206 h 589"/>
                  <a:gd name="T22" fmla="*/ 183 w 328"/>
                  <a:gd name="T23" fmla="*/ 246 h 589"/>
                  <a:gd name="T24" fmla="*/ 204 w 328"/>
                  <a:gd name="T25" fmla="*/ 286 h 589"/>
                  <a:gd name="T26" fmla="*/ 221 w 328"/>
                  <a:gd name="T27" fmla="*/ 326 h 589"/>
                  <a:gd name="T28" fmla="*/ 236 w 328"/>
                  <a:gd name="T29" fmla="*/ 365 h 589"/>
                  <a:gd name="T30" fmla="*/ 250 w 328"/>
                  <a:gd name="T31" fmla="*/ 402 h 589"/>
                  <a:gd name="T32" fmla="*/ 261 w 328"/>
                  <a:gd name="T33" fmla="*/ 439 h 589"/>
                  <a:gd name="T34" fmla="*/ 271 w 328"/>
                  <a:gd name="T35" fmla="*/ 474 h 589"/>
                  <a:gd name="T36" fmla="*/ 287 w 328"/>
                  <a:gd name="T37" fmla="*/ 538 h 589"/>
                  <a:gd name="T38" fmla="*/ 296 w 328"/>
                  <a:gd name="T39" fmla="*/ 589 h 589"/>
                  <a:gd name="T40" fmla="*/ 296 w 328"/>
                  <a:gd name="T41" fmla="*/ 589 h 589"/>
                  <a:gd name="T42" fmla="*/ 314 w 328"/>
                  <a:gd name="T43" fmla="*/ 549 h 589"/>
                  <a:gd name="T44" fmla="*/ 328 w 328"/>
                  <a:gd name="T45" fmla="*/ 506 h 589"/>
                  <a:gd name="T46" fmla="*/ 328 w 328"/>
                  <a:gd name="T47" fmla="*/ 506 h 589"/>
                  <a:gd name="T48" fmla="*/ 314 w 328"/>
                  <a:gd name="T49" fmla="*/ 452 h 589"/>
                  <a:gd name="T50" fmla="*/ 296 w 328"/>
                  <a:gd name="T51" fmla="*/ 391 h 589"/>
                  <a:gd name="T52" fmla="*/ 285 w 328"/>
                  <a:gd name="T53" fmla="*/ 359 h 589"/>
                  <a:gd name="T54" fmla="*/ 272 w 328"/>
                  <a:gd name="T55" fmla="*/ 327 h 589"/>
                  <a:gd name="T56" fmla="*/ 260 w 328"/>
                  <a:gd name="T57" fmla="*/ 294 h 589"/>
                  <a:gd name="T58" fmla="*/ 244 w 328"/>
                  <a:gd name="T59" fmla="*/ 260 h 589"/>
                  <a:gd name="T60" fmla="*/ 226 w 328"/>
                  <a:gd name="T61" fmla="*/ 227 h 589"/>
                  <a:gd name="T62" fmla="*/ 209 w 328"/>
                  <a:gd name="T63" fmla="*/ 193 h 589"/>
                  <a:gd name="T64" fmla="*/ 188 w 328"/>
                  <a:gd name="T65" fmla="*/ 158 h 589"/>
                  <a:gd name="T66" fmla="*/ 167 w 328"/>
                  <a:gd name="T67" fmla="*/ 126 h 589"/>
                  <a:gd name="T68" fmla="*/ 143 w 328"/>
                  <a:gd name="T69" fmla="*/ 93 h 589"/>
                  <a:gd name="T70" fmla="*/ 118 w 328"/>
                  <a:gd name="T71" fmla="*/ 61 h 589"/>
                  <a:gd name="T72" fmla="*/ 91 w 328"/>
                  <a:gd name="T73" fmla="*/ 31 h 589"/>
                  <a:gd name="T74" fmla="*/ 60 w 328"/>
                  <a:gd name="T75" fmla="*/ 0 h 589"/>
                  <a:gd name="T76" fmla="*/ 60 w 328"/>
                  <a:gd name="T77" fmla="*/ 0 h 5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28" h="589">
                    <a:moveTo>
                      <a:pt x="60" y="0"/>
                    </a:moveTo>
                    <a:lnTo>
                      <a:pt x="60" y="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14" y="21"/>
                    </a:lnTo>
                    <a:lnTo>
                      <a:pt x="14" y="21"/>
                    </a:lnTo>
                    <a:lnTo>
                      <a:pt x="49" y="55"/>
                    </a:lnTo>
                    <a:lnTo>
                      <a:pt x="81" y="91"/>
                    </a:lnTo>
                    <a:lnTo>
                      <a:pt x="111" y="128"/>
                    </a:lnTo>
                    <a:lnTo>
                      <a:pt x="137" y="168"/>
                    </a:lnTo>
                    <a:lnTo>
                      <a:pt x="162" y="206"/>
                    </a:lnTo>
                    <a:lnTo>
                      <a:pt x="183" y="246"/>
                    </a:lnTo>
                    <a:lnTo>
                      <a:pt x="204" y="286"/>
                    </a:lnTo>
                    <a:lnTo>
                      <a:pt x="221" y="326"/>
                    </a:lnTo>
                    <a:lnTo>
                      <a:pt x="236" y="365"/>
                    </a:lnTo>
                    <a:lnTo>
                      <a:pt x="250" y="402"/>
                    </a:lnTo>
                    <a:lnTo>
                      <a:pt x="261" y="439"/>
                    </a:lnTo>
                    <a:lnTo>
                      <a:pt x="271" y="474"/>
                    </a:lnTo>
                    <a:lnTo>
                      <a:pt x="287" y="538"/>
                    </a:lnTo>
                    <a:lnTo>
                      <a:pt x="296" y="589"/>
                    </a:lnTo>
                    <a:lnTo>
                      <a:pt x="296" y="589"/>
                    </a:lnTo>
                    <a:lnTo>
                      <a:pt x="314" y="549"/>
                    </a:lnTo>
                    <a:lnTo>
                      <a:pt x="328" y="506"/>
                    </a:lnTo>
                    <a:lnTo>
                      <a:pt x="328" y="506"/>
                    </a:lnTo>
                    <a:lnTo>
                      <a:pt x="314" y="452"/>
                    </a:lnTo>
                    <a:lnTo>
                      <a:pt x="296" y="391"/>
                    </a:lnTo>
                    <a:lnTo>
                      <a:pt x="285" y="359"/>
                    </a:lnTo>
                    <a:lnTo>
                      <a:pt x="272" y="327"/>
                    </a:lnTo>
                    <a:lnTo>
                      <a:pt x="260" y="294"/>
                    </a:lnTo>
                    <a:lnTo>
                      <a:pt x="244" y="260"/>
                    </a:lnTo>
                    <a:lnTo>
                      <a:pt x="226" y="227"/>
                    </a:lnTo>
                    <a:lnTo>
                      <a:pt x="209" y="193"/>
                    </a:lnTo>
                    <a:lnTo>
                      <a:pt x="188" y="158"/>
                    </a:lnTo>
                    <a:lnTo>
                      <a:pt x="167" y="126"/>
                    </a:lnTo>
                    <a:lnTo>
                      <a:pt x="143" y="93"/>
                    </a:lnTo>
                    <a:lnTo>
                      <a:pt x="118" y="61"/>
                    </a:lnTo>
                    <a:lnTo>
                      <a:pt x="91" y="31"/>
                    </a:lnTo>
                    <a:lnTo>
                      <a:pt x="60" y="0"/>
                    </a:lnTo>
                    <a:lnTo>
                      <a:pt x="6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7" name="Freeform 34"/>
              <p:cNvSpPr>
                <a:spLocks/>
              </p:cNvSpPr>
              <p:nvPr/>
            </p:nvSpPr>
            <p:spPr bwMode="auto">
              <a:xfrm>
                <a:off x="2740" y="1964"/>
                <a:ext cx="161" cy="45"/>
              </a:xfrm>
              <a:custGeom>
                <a:avLst/>
                <a:gdLst>
                  <a:gd name="T0" fmla="*/ 322 w 322"/>
                  <a:gd name="T1" fmla="*/ 49 h 90"/>
                  <a:gd name="T2" fmla="*/ 322 w 322"/>
                  <a:gd name="T3" fmla="*/ 49 h 90"/>
                  <a:gd name="T4" fmla="*/ 287 w 322"/>
                  <a:gd name="T5" fmla="*/ 38 h 90"/>
                  <a:gd name="T6" fmla="*/ 253 w 322"/>
                  <a:gd name="T7" fmla="*/ 30 h 90"/>
                  <a:gd name="T8" fmla="*/ 188 w 322"/>
                  <a:gd name="T9" fmla="*/ 16 h 90"/>
                  <a:gd name="T10" fmla="*/ 129 w 322"/>
                  <a:gd name="T11" fmla="*/ 6 h 90"/>
                  <a:gd name="T12" fmla="*/ 78 w 322"/>
                  <a:gd name="T13" fmla="*/ 0 h 90"/>
                  <a:gd name="T14" fmla="*/ 78 w 322"/>
                  <a:gd name="T15" fmla="*/ 0 h 90"/>
                  <a:gd name="T16" fmla="*/ 38 w 322"/>
                  <a:gd name="T17" fmla="*/ 19 h 90"/>
                  <a:gd name="T18" fmla="*/ 0 w 322"/>
                  <a:gd name="T19" fmla="*/ 41 h 90"/>
                  <a:gd name="T20" fmla="*/ 0 w 322"/>
                  <a:gd name="T21" fmla="*/ 41 h 90"/>
                  <a:gd name="T22" fmla="*/ 51 w 322"/>
                  <a:gd name="T23" fmla="*/ 44 h 90"/>
                  <a:gd name="T24" fmla="*/ 82 w 322"/>
                  <a:gd name="T25" fmla="*/ 47 h 90"/>
                  <a:gd name="T26" fmla="*/ 119 w 322"/>
                  <a:gd name="T27" fmla="*/ 52 h 90"/>
                  <a:gd name="T28" fmla="*/ 159 w 322"/>
                  <a:gd name="T29" fmla="*/ 59 h 90"/>
                  <a:gd name="T30" fmla="*/ 202 w 322"/>
                  <a:gd name="T31" fmla="*/ 67 h 90"/>
                  <a:gd name="T32" fmla="*/ 248 w 322"/>
                  <a:gd name="T33" fmla="*/ 78 h 90"/>
                  <a:gd name="T34" fmla="*/ 295 w 322"/>
                  <a:gd name="T35" fmla="*/ 90 h 90"/>
                  <a:gd name="T36" fmla="*/ 295 w 322"/>
                  <a:gd name="T37" fmla="*/ 90 h 90"/>
                  <a:gd name="T38" fmla="*/ 322 w 322"/>
                  <a:gd name="T39" fmla="*/ 49 h 90"/>
                  <a:gd name="T40" fmla="*/ 322 w 322"/>
                  <a:gd name="T41" fmla="*/ 49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22" h="90">
                    <a:moveTo>
                      <a:pt x="322" y="49"/>
                    </a:moveTo>
                    <a:lnTo>
                      <a:pt x="322" y="49"/>
                    </a:lnTo>
                    <a:lnTo>
                      <a:pt x="287" y="38"/>
                    </a:lnTo>
                    <a:lnTo>
                      <a:pt x="253" y="30"/>
                    </a:lnTo>
                    <a:lnTo>
                      <a:pt x="188" y="16"/>
                    </a:lnTo>
                    <a:lnTo>
                      <a:pt x="129" y="6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38" y="19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51" y="44"/>
                    </a:lnTo>
                    <a:lnTo>
                      <a:pt x="82" y="47"/>
                    </a:lnTo>
                    <a:lnTo>
                      <a:pt x="119" y="52"/>
                    </a:lnTo>
                    <a:lnTo>
                      <a:pt x="159" y="59"/>
                    </a:lnTo>
                    <a:lnTo>
                      <a:pt x="202" y="67"/>
                    </a:lnTo>
                    <a:lnTo>
                      <a:pt x="248" y="78"/>
                    </a:lnTo>
                    <a:lnTo>
                      <a:pt x="295" y="90"/>
                    </a:lnTo>
                    <a:lnTo>
                      <a:pt x="295" y="90"/>
                    </a:lnTo>
                    <a:lnTo>
                      <a:pt x="322" y="49"/>
                    </a:lnTo>
                    <a:lnTo>
                      <a:pt x="322" y="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8" name="Freeform 35"/>
              <p:cNvSpPr>
                <a:spLocks/>
              </p:cNvSpPr>
              <p:nvPr/>
            </p:nvSpPr>
            <p:spPr bwMode="auto">
              <a:xfrm>
                <a:off x="2911" y="1996"/>
                <a:ext cx="140" cy="76"/>
              </a:xfrm>
              <a:custGeom>
                <a:avLst/>
                <a:gdLst>
                  <a:gd name="T0" fmla="*/ 216 w 279"/>
                  <a:gd name="T1" fmla="*/ 151 h 151"/>
                  <a:gd name="T2" fmla="*/ 216 w 279"/>
                  <a:gd name="T3" fmla="*/ 151 h 151"/>
                  <a:gd name="T4" fmla="*/ 279 w 279"/>
                  <a:gd name="T5" fmla="*/ 140 h 151"/>
                  <a:gd name="T6" fmla="*/ 279 w 279"/>
                  <a:gd name="T7" fmla="*/ 140 h 151"/>
                  <a:gd name="T8" fmla="*/ 249 w 279"/>
                  <a:gd name="T9" fmla="*/ 116 h 151"/>
                  <a:gd name="T10" fmla="*/ 219 w 279"/>
                  <a:gd name="T11" fmla="*/ 96 h 151"/>
                  <a:gd name="T12" fmla="*/ 187 w 279"/>
                  <a:gd name="T13" fmla="*/ 75 h 151"/>
                  <a:gd name="T14" fmla="*/ 155 w 279"/>
                  <a:gd name="T15" fmla="*/ 57 h 151"/>
                  <a:gd name="T16" fmla="*/ 123 w 279"/>
                  <a:gd name="T17" fmla="*/ 41 h 151"/>
                  <a:gd name="T18" fmla="*/ 90 w 279"/>
                  <a:gd name="T19" fmla="*/ 25 h 151"/>
                  <a:gd name="T20" fmla="*/ 58 w 279"/>
                  <a:gd name="T21" fmla="*/ 11 h 151"/>
                  <a:gd name="T22" fmla="*/ 26 w 279"/>
                  <a:gd name="T23" fmla="*/ 0 h 151"/>
                  <a:gd name="T24" fmla="*/ 26 w 279"/>
                  <a:gd name="T25" fmla="*/ 0 h 151"/>
                  <a:gd name="T26" fmla="*/ 0 w 279"/>
                  <a:gd name="T27" fmla="*/ 41 h 151"/>
                  <a:gd name="T28" fmla="*/ 0 w 279"/>
                  <a:gd name="T29" fmla="*/ 41 h 151"/>
                  <a:gd name="T30" fmla="*/ 55 w 279"/>
                  <a:gd name="T31" fmla="*/ 62 h 151"/>
                  <a:gd name="T32" fmla="*/ 82 w 279"/>
                  <a:gd name="T33" fmla="*/ 73 h 151"/>
                  <a:gd name="T34" fmla="*/ 109 w 279"/>
                  <a:gd name="T35" fmla="*/ 88 h 151"/>
                  <a:gd name="T36" fmla="*/ 136 w 279"/>
                  <a:gd name="T37" fmla="*/ 102 h 151"/>
                  <a:gd name="T38" fmla="*/ 163 w 279"/>
                  <a:gd name="T39" fmla="*/ 116 h 151"/>
                  <a:gd name="T40" fmla="*/ 190 w 279"/>
                  <a:gd name="T41" fmla="*/ 132 h 151"/>
                  <a:gd name="T42" fmla="*/ 216 w 279"/>
                  <a:gd name="T43" fmla="*/ 151 h 151"/>
                  <a:gd name="T44" fmla="*/ 216 w 279"/>
                  <a:gd name="T45" fmla="*/ 151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79" h="151">
                    <a:moveTo>
                      <a:pt x="216" y="151"/>
                    </a:moveTo>
                    <a:lnTo>
                      <a:pt x="216" y="151"/>
                    </a:lnTo>
                    <a:lnTo>
                      <a:pt x="279" y="140"/>
                    </a:lnTo>
                    <a:lnTo>
                      <a:pt x="279" y="140"/>
                    </a:lnTo>
                    <a:lnTo>
                      <a:pt x="249" y="116"/>
                    </a:lnTo>
                    <a:lnTo>
                      <a:pt x="219" y="96"/>
                    </a:lnTo>
                    <a:lnTo>
                      <a:pt x="187" y="75"/>
                    </a:lnTo>
                    <a:lnTo>
                      <a:pt x="155" y="57"/>
                    </a:lnTo>
                    <a:lnTo>
                      <a:pt x="123" y="41"/>
                    </a:lnTo>
                    <a:lnTo>
                      <a:pt x="90" y="25"/>
                    </a:lnTo>
                    <a:lnTo>
                      <a:pt x="58" y="11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55" y="62"/>
                    </a:lnTo>
                    <a:lnTo>
                      <a:pt x="82" y="73"/>
                    </a:lnTo>
                    <a:lnTo>
                      <a:pt x="109" y="88"/>
                    </a:lnTo>
                    <a:lnTo>
                      <a:pt x="136" y="102"/>
                    </a:lnTo>
                    <a:lnTo>
                      <a:pt x="163" y="116"/>
                    </a:lnTo>
                    <a:lnTo>
                      <a:pt x="190" y="132"/>
                    </a:lnTo>
                    <a:lnTo>
                      <a:pt x="216" y="151"/>
                    </a:lnTo>
                    <a:lnTo>
                      <a:pt x="216" y="15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9" name="Freeform 36"/>
              <p:cNvSpPr>
                <a:spLocks/>
              </p:cNvSpPr>
              <p:nvPr/>
            </p:nvSpPr>
            <p:spPr bwMode="auto">
              <a:xfrm>
                <a:off x="3019" y="2067"/>
                <a:ext cx="56" cy="25"/>
              </a:xfrm>
              <a:custGeom>
                <a:avLst/>
                <a:gdLst>
                  <a:gd name="T0" fmla="*/ 63 w 111"/>
                  <a:gd name="T1" fmla="*/ 0 h 51"/>
                  <a:gd name="T2" fmla="*/ 63 w 111"/>
                  <a:gd name="T3" fmla="*/ 0 h 51"/>
                  <a:gd name="T4" fmla="*/ 0 w 111"/>
                  <a:gd name="T5" fmla="*/ 11 h 51"/>
                  <a:gd name="T6" fmla="*/ 0 w 111"/>
                  <a:gd name="T7" fmla="*/ 11 h 51"/>
                  <a:gd name="T8" fmla="*/ 25 w 111"/>
                  <a:gd name="T9" fmla="*/ 31 h 51"/>
                  <a:gd name="T10" fmla="*/ 51 w 111"/>
                  <a:gd name="T11" fmla="*/ 51 h 51"/>
                  <a:gd name="T12" fmla="*/ 51 w 111"/>
                  <a:gd name="T13" fmla="*/ 51 h 51"/>
                  <a:gd name="T14" fmla="*/ 111 w 111"/>
                  <a:gd name="T15" fmla="*/ 43 h 51"/>
                  <a:gd name="T16" fmla="*/ 111 w 111"/>
                  <a:gd name="T17" fmla="*/ 43 h 51"/>
                  <a:gd name="T18" fmla="*/ 97 w 111"/>
                  <a:gd name="T19" fmla="*/ 29 h 51"/>
                  <a:gd name="T20" fmla="*/ 97 w 111"/>
                  <a:gd name="T21" fmla="*/ 29 h 51"/>
                  <a:gd name="T22" fmla="*/ 63 w 111"/>
                  <a:gd name="T23" fmla="*/ 0 h 51"/>
                  <a:gd name="T24" fmla="*/ 63 w 111"/>
                  <a:gd name="T25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1" h="51">
                    <a:moveTo>
                      <a:pt x="63" y="0"/>
                    </a:moveTo>
                    <a:lnTo>
                      <a:pt x="63" y="0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5" y="31"/>
                    </a:lnTo>
                    <a:lnTo>
                      <a:pt x="51" y="51"/>
                    </a:lnTo>
                    <a:lnTo>
                      <a:pt x="51" y="51"/>
                    </a:lnTo>
                    <a:lnTo>
                      <a:pt x="111" y="43"/>
                    </a:lnTo>
                    <a:lnTo>
                      <a:pt x="111" y="43"/>
                    </a:lnTo>
                    <a:lnTo>
                      <a:pt x="97" y="29"/>
                    </a:lnTo>
                    <a:lnTo>
                      <a:pt x="97" y="29"/>
                    </a:lnTo>
                    <a:lnTo>
                      <a:pt x="63" y="0"/>
                    </a:lnTo>
                    <a:lnTo>
                      <a:pt x="6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0" name="Freeform 37"/>
              <p:cNvSpPr>
                <a:spLocks/>
              </p:cNvSpPr>
              <p:nvPr/>
            </p:nvSpPr>
            <p:spPr bwMode="auto">
              <a:xfrm>
                <a:off x="2887" y="1989"/>
                <a:ext cx="37" cy="28"/>
              </a:xfrm>
              <a:custGeom>
                <a:avLst/>
                <a:gdLst>
                  <a:gd name="T0" fmla="*/ 73 w 73"/>
                  <a:gd name="T1" fmla="*/ 16 h 57"/>
                  <a:gd name="T2" fmla="*/ 73 w 73"/>
                  <a:gd name="T3" fmla="*/ 16 h 57"/>
                  <a:gd name="T4" fmla="*/ 27 w 73"/>
                  <a:gd name="T5" fmla="*/ 0 h 57"/>
                  <a:gd name="T6" fmla="*/ 27 w 73"/>
                  <a:gd name="T7" fmla="*/ 0 h 57"/>
                  <a:gd name="T8" fmla="*/ 0 w 73"/>
                  <a:gd name="T9" fmla="*/ 41 h 57"/>
                  <a:gd name="T10" fmla="*/ 0 w 73"/>
                  <a:gd name="T11" fmla="*/ 41 h 57"/>
                  <a:gd name="T12" fmla="*/ 47 w 73"/>
                  <a:gd name="T13" fmla="*/ 57 h 57"/>
                  <a:gd name="T14" fmla="*/ 47 w 73"/>
                  <a:gd name="T15" fmla="*/ 57 h 57"/>
                  <a:gd name="T16" fmla="*/ 73 w 73"/>
                  <a:gd name="T17" fmla="*/ 16 h 57"/>
                  <a:gd name="T18" fmla="*/ 73 w 73"/>
                  <a:gd name="T19" fmla="*/ 16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3" h="57">
                    <a:moveTo>
                      <a:pt x="73" y="16"/>
                    </a:moveTo>
                    <a:lnTo>
                      <a:pt x="73" y="16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47" y="57"/>
                    </a:lnTo>
                    <a:lnTo>
                      <a:pt x="47" y="57"/>
                    </a:lnTo>
                    <a:lnTo>
                      <a:pt x="73" y="16"/>
                    </a:lnTo>
                    <a:lnTo>
                      <a:pt x="73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</a:endParaRPr>
              </a:p>
            </p:txBody>
          </p:sp>
        </p:grpSp>
        <p:cxnSp>
          <p:nvCxnSpPr>
            <p:cNvPr id="104" name="Straight Connector 103"/>
            <p:cNvCxnSpPr/>
            <p:nvPr/>
          </p:nvCxnSpPr>
          <p:spPr>
            <a:xfrm>
              <a:off x="5277308" y="91458"/>
              <a:ext cx="333924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/>
            <p:cNvCxnSpPr/>
            <p:nvPr/>
          </p:nvCxnSpPr>
          <p:spPr>
            <a:xfrm>
              <a:off x="5277308" y="211247"/>
              <a:ext cx="199902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96433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790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9620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5" name="TextBox 102424"/>
          <p:cNvSpPr txBox="1"/>
          <p:nvPr/>
        </p:nvSpPr>
        <p:spPr>
          <a:xfrm>
            <a:off x="201904" y="618719"/>
            <a:ext cx="7898488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1631678" y="2498347"/>
            <a:ext cx="3840422" cy="295633"/>
          </a:xfrm>
          <a:prstGeom prst="round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854964" y="2473092"/>
            <a:ext cx="335344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schemeClr val="bg1"/>
                </a:solidFill>
              </a:rPr>
              <a:t>               </a:t>
            </a:r>
            <a:r>
              <a:rPr lang="en-US" sz="1000" dirty="0" err="1" smtClean="0">
                <a:solidFill>
                  <a:schemeClr val="bg1"/>
                </a:solidFill>
              </a:rPr>
              <a:t>IoT</a:t>
            </a:r>
            <a:r>
              <a:rPr lang="en-US" sz="1000" dirty="0" smtClean="0">
                <a:solidFill>
                  <a:schemeClr val="bg1"/>
                </a:solidFill>
              </a:rPr>
              <a:t> Data Connect Cloud Data Pipeline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2938823" y="2620262"/>
            <a:ext cx="141402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 smtClean="0">
                <a:solidFill>
                  <a:schemeClr val="bg1"/>
                </a:solidFill>
              </a:rPr>
              <a:t>MQTT/AMQP/HTTPs</a:t>
            </a:r>
            <a:endParaRPr lang="en-US" sz="700" dirty="0">
              <a:solidFill>
                <a:schemeClr val="bg1"/>
              </a:solidFill>
            </a:endParaRPr>
          </a:p>
        </p:txBody>
      </p:sp>
      <p:sp>
        <p:nvSpPr>
          <p:cNvPr id="186" name="TextBox 185"/>
          <p:cNvSpPr txBox="1"/>
          <p:nvPr/>
        </p:nvSpPr>
        <p:spPr>
          <a:xfrm>
            <a:off x="253657" y="2201589"/>
            <a:ext cx="1502194" cy="215444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chemeClr val="bg1"/>
                </a:solidFill>
              </a:rPr>
              <a:t>Tunnel Provisioning Service</a:t>
            </a:r>
            <a:endParaRPr lang="en-US" sz="800" dirty="0">
              <a:solidFill>
                <a:schemeClr val="bg1"/>
              </a:solidFill>
            </a:endParaRPr>
          </a:p>
        </p:txBody>
      </p:sp>
      <p:grpSp>
        <p:nvGrpSpPr>
          <p:cNvPr id="187" name="Group 186"/>
          <p:cNvGrpSpPr/>
          <p:nvPr/>
        </p:nvGrpSpPr>
        <p:grpSpPr>
          <a:xfrm>
            <a:off x="1787762" y="2170217"/>
            <a:ext cx="1499644" cy="338554"/>
            <a:chOff x="3643403" y="2956844"/>
            <a:chExt cx="2913419" cy="389880"/>
          </a:xfrm>
        </p:grpSpPr>
        <p:sp>
          <p:nvSpPr>
            <p:cNvPr id="188" name="Rounded Rectangle 187"/>
            <p:cNvSpPr/>
            <p:nvPr/>
          </p:nvSpPr>
          <p:spPr>
            <a:xfrm>
              <a:off x="3643403" y="2979114"/>
              <a:ext cx="2913419" cy="319229"/>
            </a:xfrm>
            <a:prstGeom prst="roundRect">
              <a:avLst/>
            </a:prstGeom>
            <a:solidFill>
              <a:srgbClr val="92D05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89" name="TextBox 188"/>
            <p:cNvSpPr txBox="1"/>
            <p:nvPr/>
          </p:nvSpPr>
          <p:spPr>
            <a:xfrm>
              <a:off x="3696519" y="2956844"/>
              <a:ext cx="2693903" cy="3898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 smtClean="0">
                  <a:solidFill>
                    <a:schemeClr val="bg1"/>
                  </a:solidFill>
                </a:rPr>
                <a:t>Gateway Management (FND)</a:t>
              </a:r>
              <a:endParaRPr lang="en-US" sz="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1849798" y="4544944"/>
            <a:ext cx="814827" cy="572534"/>
            <a:chOff x="2582670" y="4435611"/>
            <a:chExt cx="917007" cy="606381"/>
          </a:xfrm>
        </p:grpSpPr>
        <p:grpSp>
          <p:nvGrpSpPr>
            <p:cNvPr id="101" name="Group 1593"/>
            <p:cNvGrpSpPr/>
            <p:nvPr/>
          </p:nvGrpSpPr>
          <p:grpSpPr>
            <a:xfrm>
              <a:off x="2895432" y="4451480"/>
              <a:ext cx="294665" cy="294403"/>
              <a:chOff x="0" y="0"/>
              <a:chExt cx="294663" cy="294401"/>
            </a:xfrm>
          </p:grpSpPr>
          <p:sp>
            <p:nvSpPr>
              <p:cNvPr id="102" name="Shape 1591"/>
              <p:cNvSpPr/>
              <p:nvPr/>
            </p:nvSpPr>
            <p:spPr>
              <a:xfrm>
                <a:off x="-1" y="-1"/>
                <a:ext cx="294665" cy="294403"/>
              </a:xfrm>
              <a:prstGeom prst="ellipse">
                <a:avLst/>
              </a:prstGeom>
              <a:solidFill>
                <a:srgbClr val="FFFFFF"/>
              </a:solidFill>
              <a:ln w="3175" cap="flat">
                <a:solidFill>
                  <a:srgbClr val="64686E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defTabSz="413222" fontAlgn="auto" hangingPunct="0">
                  <a:spcBef>
                    <a:spcPts val="0"/>
                  </a:spcBef>
                  <a:spcAft>
                    <a:spcPts val="0"/>
                  </a:spcAft>
                  <a:defRPr sz="600">
                    <a:solidFill>
                      <a:srgbClr val="676767"/>
                    </a:solidFill>
                  </a:defRPr>
                </a:pPr>
                <a:endParaRPr sz="600" kern="0">
                  <a:solidFill>
                    <a:schemeClr val="bg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" name="Shape 1592"/>
              <p:cNvSpPr/>
              <p:nvPr/>
            </p:nvSpPr>
            <p:spPr>
              <a:xfrm>
                <a:off x="44025" y="71743"/>
                <a:ext cx="206612" cy="12965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3688" y="16000"/>
                    </a:moveTo>
                    <a:cubicBezTo>
                      <a:pt x="16577" y="8000"/>
                      <a:pt x="16577" y="8000"/>
                      <a:pt x="16577" y="8000"/>
                    </a:cubicBezTo>
                    <a:cubicBezTo>
                      <a:pt x="13688" y="0"/>
                      <a:pt x="13688" y="0"/>
                      <a:pt x="13688" y="0"/>
                    </a:cubicBezTo>
                    <a:cubicBezTo>
                      <a:pt x="7912" y="0"/>
                      <a:pt x="7912" y="0"/>
                      <a:pt x="7912" y="0"/>
                    </a:cubicBezTo>
                    <a:cubicBezTo>
                      <a:pt x="5023" y="8000"/>
                      <a:pt x="5023" y="8000"/>
                      <a:pt x="5023" y="8000"/>
                    </a:cubicBezTo>
                    <a:cubicBezTo>
                      <a:pt x="7786" y="16000"/>
                      <a:pt x="7786" y="16000"/>
                      <a:pt x="7786" y="16000"/>
                    </a:cubicBezTo>
                    <a:cubicBezTo>
                      <a:pt x="0" y="21600"/>
                      <a:pt x="0" y="21600"/>
                      <a:pt x="0" y="21600"/>
                    </a:cubicBezTo>
                    <a:cubicBezTo>
                      <a:pt x="3893" y="21600"/>
                      <a:pt x="3893" y="21600"/>
                      <a:pt x="3893" y="21600"/>
                    </a:cubicBezTo>
                    <a:cubicBezTo>
                      <a:pt x="5023" y="20200"/>
                      <a:pt x="5023" y="20200"/>
                      <a:pt x="5023" y="20200"/>
                    </a:cubicBezTo>
                    <a:cubicBezTo>
                      <a:pt x="16577" y="20200"/>
                      <a:pt x="16577" y="20200"/>
                      <a:pt x="16577" y="20200"/>
                    </a:cubicBezTo>
                    <a:cubicBezTo>
                      <a:pt x="17707" y="21600"/>
                      <a:pt x="17707" y="21600"/>
                      <a:pt x="17707" y="21600"/>
                    </a:cubicBezTo>
                    <a:cubicBezTo>
                      <a:pt x="21600" y="21600"/>
                      <a:pt x="21600" y="21600"/>
                      <a:pt x="21600" y="21600"/>
                    </a:cubicBezTo>
                    <a:cubicBezTo>
                      <a:pt x="13688" y="16000"/>
                      <a:pt x="13688" y="16000"/>
                      <a:pt x="13688" y="16000"/>
                    </a:cubicBezTo>
                    <a:close/>
                    <a:moveTo>
                      <a:pt x="13186" y="11800"/>
                    </a:moveTo>
                    <a:cubicBezTo>
                      <a:pt x="12809" y="11800"/>
                      <a:pt x="12307" y="11400"/>
                      <a:pt x="12307" y="10600"/>
                    </a:cubicBezTo>
                    <a:cubicBezTo>
                      <a:pt x="12307" y="9800"/>
                      <a:pt x="12809" y="9200"/>
                      <a:pt x="13186" y="9200"/>
                    </a:cubicBezTo>
                    <a:cubicBezTo>
                      <a:pt x="13814" y="9200"/>
                      <a:pt x="14191" y="9800"/>
                      <a:pt x="14191" y="10600"/>
                    </a:cubicBezTo>
                    <a:cubicBezTo>
                      <a:pt x="14191" y="11400"/>
                      <a:pt x="13814" y="11800"/>
                      <a:pt x="13186" y="11800"/>
                    </a:cubicBezTo>
                    <a:close/>
                    <a:moveTo>
                      <a:pt x="13186" y="16400"/>
                    </a:moveTo>
                    <a:cubicBezTo>
                      <a:pt x="8288" y="16400"/>
                      <a:pt x="8288" y="16400"/>
                      <a:pt x="8288" y="16400"/>
                    </a:cubicBezTo>
                    <a:cubicBezTo>
                      <a:pt x="8791" y="16200"/>
                      <a:pt x="8791" y="16200"/>
                      <a:pt x="8791" y="16200"/>
                    </a:cubicBezTo>
                    <a:cubicBezTo>
                      <a:pt x="12809" y="16200"/>
                      <a:pt x="12809" y="16200"/>
                      <a:pt x="12809" y="16200"/>
                    </a:cubicBezTo>
                    <a:cubicBezTo>
                      <a:pt x="13186" y="16400"/>
                      <a:pt x="13186" y="16400"/>
                      <a:pt x="13186" y="16400"/>
                    </a:cubicBezTo>
                    <a:close/>
                    <a:moveTo>
                      <a:pt x="8288" y="600"/>
                    </a:moveTo>
                    <a:cubicBezTo>
                      <a:pt x="13437" y="600"/>
                      <a:pt x="13437" y="600"/>
                      <a:pt x="13437" y="600"/>
                    </a:cubicBezTo>
                    <a:cubicBezTo>
                      <a:pt x="15949" y="7800"/>
                      <a:pt x="15949" y="7800"/>
                      <a:pt x="15949" y="7800"/>
                    </a:cubicBezTo>
                    <a:cubicBezTo>
                      <a:pt x="5777" y="7800"/>
                      <a:pt x="5777" y="7800"/>
                      <a:pt x="5777" y="7800"/>
                    </a:cubicBezTo>
                    <a:cubicBezTo>
                      <a:pt x="8288" y="600"/>
                      <a:pt x="8288" y="600"/>
                      <a:pt x="8288" y="600"/>
                    </a:cubicBezTo>
                    <a:close/>
                    <a:moveTo>
                      <a:pt x="7409" y="10600"/>
                    </a:moveTo>
                    <a:cubicBezTo>
                      <a:pt x="7409" y="9800"/>
                      <a:pt x="7786" y="9200"/>
                      <a:pt x="8414" y="9200"/>
                    </a:cubicBezTo>
                    <a:cubicBezTo>
                      <a:pt x="8916" y="9200"/>
                      <a:pt x="9419" y="9800"/>
                      <a:pt x="9419" y="10600"/>
                    </a:cubicBezTo>
                    <a:cubicBezTo>
                      <a:pt x="9419" y="11200"/>
                      <a:pt x="8916" y="11800"/>
                      <a:pt x="8414" y="11800"/>
                    </a:cubicBezTo>
                    <a:cubicBezTo>
                      <a:pt x="7786" y="11800"/>
                      <a:pt x="7409" y="11200"/>
                      <a:pt x="7409" y="10600"/>
                    </a:cubicBezTo>
                    <a:close/>
                    <a:moveTo>
                      <a:pt x="8163" y="16800"/>
                    </a:moveTo>
                    <a:cubicBezTo>
                      <a:pt x="13563" y="16800"/>
                      <a:pt x="13563" y="16800"/>
                      <a:pt x="13563" y="16800"/>
                    </a:cubicBezTo>
                    <a:cubicBezTo>
                      <a:pt x="14191" y="17600"/>
                      <a:pt x="14191" y="17600"/>
                      <a:pt x="14191" y="17600"/>
                    </a:cubicBezTo>
                    <a:cubicBezTo>
                      <a:pt x="7409" y="17600"/>
                      <a:pt x="7409" y="17600"/>
                      <a:pt x="7409" y="17600"/>
                    </a:cubicBezTo>
                    <a:cubicBezTo>
                      <a:pt x="8163" y="16800"/>
                      <a:pt x="8163" y="16800"/>
                      <a:pt x="8163" y="16800"/>
                    </a:cubicBezTo>
                    <a:close/>
                    <a:moveTo>
                      <a:pt x="5651" y="19600"/>
                    </a:moveTo>
                    <a:cubicBezTo>
                      <a:pt x="7033" y="18200"/>
                      <a:pt x="7033" y="18200"/>
                      <a:pt x="7033" y="18200"/>
                    </a:cubicBezTo>
                    <a:cubicBezTo>
                      <a:pt x="14693" y="18200"/>
                      <a:pt x="14693" y="18200"/>
                      <a:pt x="14693" y="18200"/>
                    </a:cubicBezTo>
                    <a:cubicBezTo>
                      <a:pt x="15949" y="19600"/>
                      <a:pt x="15949" y="19600"/>
                      <a:pt x="15949" y="19600"/>
                    </a:cubicBezTo>
                    <a:cubicBezTo>
                      <a:pt x="5651" y="19600"/>
                      <a:pt x="5651" y="19600"/>
                      <a:pt x="5651" y="19600"/>
                    </a:cubicBezTo>
                    <a:close/>
                  </a:path>
                </a:pathLst>
              </a:custGeom>
              <a:solidFill>
                <a:srgbClr val="64686E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defTabSz="413222" fontAlgn="auto" hangingPunct="0">
                  <a:spcBef>
                    <a:spcPts val="0"/>
                  </a:spcBef>
                  <a:spcAft>
                    <a:spcPts val="0"/>
                  </a:spcAft>
                  <a:defRPr sz="600">
                    <a:solidFill>
                      <a:srgbClr val="676767"/>
                    </a:solidFill>
                  </a:defRPr>
                </a:pPr>
                <a:endParaRPr sz="600" kern="0">
                  <a:solidFill>
                    <a:schemeClr val="bg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104" name="Group 1598"/>
            <p:cNvGrpSpPr/>
            <p:nvPr/>
          </p:nvGrpSpPr>
          <p:grpSpPr>
            <a:xfrm>
              <a:off x="3205010" y="4747589"/>
              <a:ext cx="294667" cy="294403"/>
              <a:chOff x="0" y="0"/>
              <a:chExt cx="294666" cy="294401"/>
            </a:xfrm>
          </p:grpSpPr>
          <p:sp>
            <p:nvSpPr>
              <p:cNvPr id="105" name="Shape 1594"/>
              <p:cNvSpPr/>
              <p:nvPr/>
            </p:nvSpPr>
            <p:spPr>
              <a:xfrm>
                <a:off x="-1" y="-1"/>
                <a:ext cx="294667" cy="294403"/>
              </a:xfrm>
              <a:prstGeom prst="ellipse">
                <a:avLst/>
              </a:prstGeom>
              <a:solidFill>
                <a:srgbClr val="FFFFFF"/>
              </a:solidFill>
              <a:ln w="3175" cap="flat">
                <a:solidFill>
                  <a:srgbClr val="64686E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defTabSz="413222" fontAlgn="auto" hangingPunct="0">
                  <a:spcBef>
                    <a:spcPts val="0"/>
                  </a:spcBef>
                  <a:spcAft>
                    <a:spcPts val="0"/>
                  </a:spcAft>
                  <a:defRPr sz="600">
                    <a:solidFill>
                      <a:srgbClr val="676767"/>
                    </a:solidFill>
                  </a:defRPr>
                </a:pPr>
                <a:endParaRPr sz="600" kern="0">
                  <a:solidFill>
                    <a:schemeClr val="bg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grpSp>
            <p:nvGrpSpPr>
              <p:cNvPr id="106" name="Group 1597"/>
              <p:cNvGrpSpPr/>
              <p:nvPr/>
            </p:nvGrpSpPr>
            <p:grpSpPr>
              <a:xfrm>
                <a:off x="104069" y="51197"/>
                <a:ext cx="86522" cy="182537"/>
                <a:chOff x="0" y="0"/>
                <a:chExt cx="86520" cy="182536"/>
              </a:xfrm>
            </p:grpSpPr>
            <p:sp>
              <p:nvSpPr>
                <p:cNvPr id="107" name="Shape 1595"/>
                <p:cNvSpPr/>
                <p:nvPr/>
              </p:nvSpPr>
              <p:spPr>
                <a:xfrm>
                  <a:off x="-1" y="32031"/>
                  <a:ext cx="86522" cy="15050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6800" y="0"/>
                      </a:moveTo>
                      <a:cubicBezTo>
                        <a:pt x="16800" y="0"/>
                        <a:pt x="16800" y="0"/>
                        <a:pt x="4800" y="0"/>
                      </a:cubicBezTo>
                      <a:cubicBezTo>
                        <a:pt x="2400" y="0"/>
                        <a:pt x="0" y="1210"/>
                        <a:pt x="0" y="2765"/>
                      </a:cubicBezTo>
                      <a:cubicBezTo>
                        <a:pt x="0" y="2765"/>
                        <a:pt x="0" y="2765"/>
                        <a:pt x="0" y="18662"/>
                      </a:cubicBezTo>
                      <a:cubicBezTo>
                        <a:pt x="0" y="20390"/>
                        <a:pt x="2400" y="21600"/>
                        <a:pt x="4800" y="21600"/>
                      </a:cubicBezTo>
                      <a:cubicBezTo>
                        <a:pt x="4800" y="21600"/>
                        <a:pt x="4800" y="21600"/>
                        <a:pt x="16800" y="21600"/>
                      </a:cubicBezTo>
                      <a:cubicBezTo>
                        <a:pt x="19500" y="21600"/>
                        <a:pt x="21600" y="20390"/>
                        <a:pt x="21600" y="18662"/>
                      </a:cubicBezTo>
                      <a:cubicBezTo>
                        <a:pt x="21600" y="2765"/>
                        <a:pt x="21600" y="2765"/>
                        <a:pt x="21600" y="2765"/>
                      </a:cubicBezTo>
                      <a:cubicBezTo>
                        <a:pt x="21600" y="1210"/>
                        <a:pt x="19500" y="0"/>
                        <a:pt x="16800" y="0"/>
                      </a:cubicBezTo>
                      <a:close/>
                      <a:moveTo>
                        <a:pt x="10800" y="19872"/>
                      </a:moveTo>
                      <a:cubicBezTo>
                        <a:pt x="8400" y="19872"/>
                        <a:pt x="6300" y="18662"/>
                        <a:pt x="6300" y="17107"/>
                      </a:cubicBezTo>
                      <a:cubicBezTo>
                        <a:pt x="6300" y="15552"/>
                        <a:pt x="8400" y="14342"/>
                        <a:pt x="10800" y="14342"/>
                      </a:cubicBezTo>
                      <a:cubicBezTo>
                        <a:pt x="13500" y="14342"/>
                        <a:pt x="15600" y="15552"/>
                        <a:pt x="15600" y="17107"/>
                      </a:cubicBezTo>
                      <a:cubicBezTo>
                        <a:pt x="15600" y="18662"/>
                        <a:pt x="13500" y="19872"/>
                        <a:pt x="10800" y="19872"/>
                      </a:cubicBezTo>
                      <a:close/>
                      <a:moveTo>
                        <a:pt x="10800" y="13478"/>
                      </a:moveTo>
                      <a:cubicBezTo>
                        <a:pt x="8400" y="13478"/>
                        <a:pt x="6300" y="12269"/>
                        <a:pt x="6300" y="10886"/>
                      </a:cubicBezTo>
                      <a:cubicBezTo>
                        <a:pt x="6300" y="9331"/>
                        <a:pt x="8400" y="8122"/>
                        <a:pt x="10800" y="8122"/>
                      </a:cubicBezTo>
                      <a:cubicBezTo>
                        <a:pt x="13500" y="8122"/>
                        <a:pt x="15600" y="9331"/>
                        <a:pt x="15600" y="10886"/>
                      </a:cubicBezTo>
                      <a:cubicBezTo>
                        <a:pt x="15600" y="12269"/>
                        <a:pt x="13500" y="13478"/>
                        <a:pt x="10800" y="13478"/>
                      </a:cubicBezTo>
                      <a:close/>
                      <a:moveTo>
                        <a:pt x="10800" y="6912"/>
                      </a:moveTo>
                      <a:cubicBezTo>
                        <a:pt x="8400" y="6912"/>
                        <a:pt x="6300" y="5702"/>
                        <a:pt x="6300" y="4320"/>
                      </a:cubicBezTo>
                      <a:cubicBezTo>
                        <a:pt x="6300" y="2938"/>
                        <a:pt x="8400" y="1728"/>
                        <a:pt x="10800" y="1728"/>
                      </a:cubicBezTo>
                      <a:cubicBezTo>
                        <a:pt x="13500" y="1728"/>
                        <a:pt x="15600" y="2938"/>
                        <a:pt x="15600" y="4320"/>
                      </a:cubicBezTo>
                      <a:cubicBezTo>
                        <a:pt x="15600" y="5702"/>
                        <a:pt x="13500" y="6912"/>
                        <a:pt x="10800" y="6912"/>
                      </a:cubicBezTo>
                      <a:close/>
                    </a:path>
                  </a:pathLst>
                </a:custGeom>
                <a:solidFill>
                  <a:srgbClr val="64686E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t">
                  <a:noAutofit/>
                </a:bodyPr>
                <a:lstStyle/>
                <a:p>
                  <a:pPr defTabSz="413222" fontAlgn="auto" hangingPunct="0">
                    <a:spcBef>
                      <a:spcPts val="0"/>
                    </a:spcBef>
                    <a:spcAft>
                      <a:spcPts val="0"/>
                    </a:spcAft>
                    <a:defRPr sz="600">
                      <a:solidFill>
                        <a:srgbClr val="676767"/>
                      </a:solidFill>
                    </a:defRPr>
                  </a:pPr>
                  <a:endParaRPr sz="600" kern="0">
                    <a:solidFill>
                      <a:schemeClr val="bg1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09" name="Shape 1596"/>
                <p:cNvSpPr/>
                <p:nvPr/>
              </p:nvSpPr>
              <p:spPr>
                <a:xfrm>
                  <a:off x="24937" y="-1"/>
                  <a:ext cx="37156" cy="24918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4114"/>
                      </a:moveTo>
                      <a:cubicBezTo>
                        <a:pt x="0" y="2057"/>
                        <a:pt x="4181" y="0"/>
                        <a:pt x="10452" y="0"/>
                      </a:cubicBezTo>
                      <a:cubicBezTo>
                        <a:pt x="17419" y="0"/>
                        <a:pt x="21600" y="2057"/>
                        <a:pt x="21600" y="4114"/>
                      </a:cubicBezTo>
                      <a:cubicBezTo>
                        <a:pt x="21600" y="21600"/>
                        <a:pt x="21600" y="21600"/>
                        <a:pt x="21600" y="21600"/>
                      </a:cubicBezTo>
                      <a:cubicBezTo>
                        <a:pt x="0" y="21600"/>
                        <a:pt x="0" y="21600"/>
                        <a:pt x="0" y="21600"/>
                      </a:cubicBezTo>
                      <a:cubicBezTo>
                        <a:pt x="0" y="4114"/>
                        <a:pt x="0" y="4114"/>
                        <a:pt x="0" y="4114"/>
                      </a:cubicBezTo>
                      <a:cubicBezTo>
                        <a:pt x="0" y="4114"/>
                        <a:pt x="0" y="4114"/>
                        <a:pt x="0" y="4114"/>
                      </a:cubicBezTo>
                      <a:close/>
                    </a:path>
                  </a:pathLst>
                </a:custGeom>
                <a:solidFill>
                  <a:srgbClr val="64686E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t">
                  <a:noAutofit/>
                </a:bodyPr>
                <a:lstStyle/>
                <a:p>
                  <a:pPr defTabSz="413222" fontAlgn="auto" hangingPunct="0">
                    <a:spcBef>
                      <a:spcPts val="0"/>
                    </a:spcBef>
                    <a:spcAft>
                      <a:spcPts val="0"/>
                    </a:spcAft>
                    <a:defRPr sz="600">
                      <a:solidFill>
                        <a:srgbClr val="676767"/>
                      </a:solidFill>
                    </a:defRPr>
                  </a:pPr>
                  <a:endParaRPr sz="600" kern="0">
                    <a:solidFill>
                      <a:schemeClr val="bg1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</p:grpSp>
        <p:grpSp>
          <p:nvGrpSpPr>
            <p:cNvPr id="110" name="Group 1611"/>
            <p:cNvGrpSpPr/>
            <p:nvPr/>
          </p:nvGrpSpPr>
          <p:grpSpPr>
            <a:xfrm>
              <a:off x="2595511" y="4747589"/>
              <a:ext cx="294667" cy="294403"/>
              <a:chOff x="0" y="0"/>
              <a:chExt cx="294666" cy="294401"/>
            </a:xfrm>
          </p:grpSpPr>
          <p:sp>
            <p:nvSpPr>
              <p:cNvPr id="118" name="Shape 1606"/>
              <p:cNvSpPr/>
              <p:nvPr/>
            </p:nvSpPr>
            <p:spPr>
              <a:xfrm>
                <a:off x="-1" y="-1"/>
                <a:ext cx="294667" cy="294403"/>
              </a:xfrm>
              <a:prstGeom prst="ellipse">
                <a:avLst/>
              </a:prstGeom>
              <a:solidFill>
                <a:srgbClr val="FFFFFF"/>
              </a:solidFill>
              <a:ln w="3175" cap="flat">
                <a:solidFill>
                  <a:srgbClr val="64686E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defTabSz="413222" fontAlgn="auto" hangingPunct="0">
                  <a:spcBef>
                    <a:spcPts val="0"/>
                  </a:spcBef>
                  <a:spcAft>
                    <a:spcPts val="0"/>
                  </a:spcAft>
                  <a:defRPr sz="600">
                    <a:solidFill>
                      <a:srgbClr val="676767"/>
                    </a:solidFill>
                  </a:defRPr>
                </a:pPr>
                <a:endParaRPr sz="600" kern="0">
                  <a:solidFill>
                    <a:schemeClr val="bg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grpSp>
            <p:nvGrpSpPr>
              <p:cNvPr id="119" name="Group 1610"/>
              <p:cNvGrpSpPr/>
              <p:nvPr/>
            </p:nvGrpSpPr>
            <p:grpSpPr>
              <a:xfrm>
                <a:off x="90839" y="65179"/>
                <a:ext cx="112982" cy="154572"/>
                <a:chOff x="-1" y="0"/>
                <a:chExt cx="112981" cy="154571"/>
              </a:xfrm>
            </p:grpSpPr>
            <p:sp>
              <p:nvSpPr>
                <p:cNvPr id="120" name="Shape 1607"/>
                <p:cNvSpPr/>
                <p:nvPr/>
              </p:nvSpPr>
              <p:spPr>
                <a:xfrm>
                  <a:off x="32569" y="33556"/>
                  <a:ext cx="46825" cy="46783"/>
                </a:xfrm>
                <a:prstGeom prst="ellipse">
                  <a:avLst/>
                </a:prstGeom>
                <a:solidFill>
                  <a:srgbClr val="64686E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t">
                  <a:noAutofit/>
                </a:bodyPr>
                <a:lstStyle/>
                <a:p>
                  <a:pPr defTabSz="413222" fontAlgn="auto" hangingPunct="0">
                    <a:spcBef>
                      <a:spcPts val="0"/>
                    </a:spcBef>
                    <a:spcAft>
                      <a:spcPts val="0"/>
                    </a:spcAft>
                    <a:defRPr sz="600">
                      <a:solidFill>
                        <a:srgbClr val="676767"/>
                      </a:solidFill>
                    </a:defRPr>
                  </a:pPr>
                  <a:endParaRPr sz="600" kern="0">
                    <a:solidFill>
                      <a:schemeClr val="bg1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21" name="Shape 1608"/>
                <p:cNvSpPr/>
                <p:nvPr/>
              </p:nvSpPr>
              <p:spPr>
                <a:xfrm>
                  <a:off x="7632" y="132195"/>
                  <a:ext cx="98224" cy="2237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00" y="21600"/>
                      </a:moveTo>
                      <a:cubicBezTo>
                        <a:pt x="4741" y="21600"/>
                        <a:pt x="0" y="17053"/>
                        <a:pt x="0" y="10232"/>
                      </a:cubicBezTo>
                      <a:cubicBezTo>
                        <a:pt x="0" y="5684"/>
                        <a:pt x="3161" y="1137"/>
                        <a:pt x="7376" y="0"/>
                      </a:cubicBezTo>
                      <a:cubicBezTo>
                        <a:pt x="7376" y="0"/>
                        <a:pt x="7376" y="0"/>
                        <a:pt x="7376" y="0"/>
                      </a:cubicBezTo>
                      <a:cubicBezTo>
                        <a:pt x="7376" y="2274"/>
                        <a:pt x="8956" y="3411"/>
                        <a:pt x="10800" y="3411"/>
                      </a:cubicBezTo>
                      <a:cubicBezTo>
                        <a:pt x="12380" y="3411"/>
                        <a:pt x="13961" y="2274"/>
                        <a:pt x="13961" y="0"/>
                      </a:cubicBezTo>
                      <a:cubicBezTo>
                        <a:pt x="13961" y="0"/>
                        <a:pt x="13961" y="0"/>
                        <a:pt x="13961" y="0"/>
                      </a:cubicBezTo>
                      <a:cubicBezTo>
                        <a:pt x="18439" y="1137"/>
                        <a:pt x="21600" y="5684"/>
                        <a:pt x="21600" y="10232"/>
                      </a:cubicBezTo>
                      <a:cubicBezTo>
                        <a:pt x="21600" y="17053"/>
                        <a:pt x="16859" y="21600"/>
                        <a:pt x="10800" y="21600"/>
                      </a:cubicBezTo>
                      <a:close/>
                    </a:path>
                  </a:pathLst>
                </a:custGeom>
                <a:solidFill>
                  <a:srgbClr val="64686E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t">
                  <a:noAutofit/>
                </a:bodyPr>
                <a:lstStyle/>
                <a:p>
                  <a:pPr defTabSz="413222" fontAlgn="auto" hangingPunct="0">
                    <a:spcBef>
                      <a:spcPts val="0"/>
                    </a:spcBef>
                    <a:spcAft>
                      <a:spcPts val="0"/>
                    </a:spcAft>
                    <a:defRPr sz="600">
                      <a:solidFill>
                        <a:srgbClr val="676767"/>
                      </a:solidFill>
                    </a:defRPr>
                  </a:pPr>
                  <a:endParaRPr sz="600" kern="0">
                    <a:solidFill>
                      <a:schemeClr val="bg1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22" name="Shape 1609"/>
                <p:cNvSpPr/>
                <p:nvPr/>
              </p:nvSpPr>
              <p:spPr>
                <a:xfrm>
                  <a:off x="-2" y="-1"/>
                  <a:ext cx="112983" cy="133218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2409" y="18486"/>
                      </a:moveTo>
                      <a:cubicBezTo>
                        <a:pt x="12409" y="19070"/>
                        <a:pt x="12409" y="19849"/>
                        <a:pt x="12409" y="21016"/>
                      </a:cubicBezTo>
                      <a:cubicBezTo>
                        <a:pt x="12409" y="21211"/>
                        <a:pt x="12409" y="21211"/>
                        <a:pt x="12409" y="21211"/>
                      </a:cubicBezTo>
                      <a:cubicBezTo>
                        <a:pt x="12409" y="21211"/>
                        <a:pt x="11719" y="21600"/>
                        <a:pt x="10800" y="21600"/>
                      </a:cubicBezTo>
                      <a:cubicBezTo>
                        <a:pt x="9881" y="21600"/>
                        <a:pt x="8962" y="21211"/>
                        <a:pt x="8962" y="21211"/>
                      </a:cubicBezTo>
                      <a:cubicBezTo>
                        <a:pt x="8962" y="21211"/>
                        <a:pt x="8962" y="21211"/>
                        <a:pt x="8962" y="21016"/>
                      </a:cubicBezTo>
                      <a:cubicBezTo>
                        <a:pt x="8962" y="21016"/>
                        <a:pt x="8962" y="21016"/>
                        <a:pt x="8962" y="18486"/>
                      </a:cubicBezTo>
                      <a:cubicBezTo>
                        <a:pt x="3906" y="17708"/>
                        <a:pt x="0" y="14011"/>
                        <a:pt x="0" y="9341"/>
                      </a:cubicBezTo>
                      <a:cubicBezTo>
                        <a:pt x="0" y="4476"/>
                        <a:pt x="4596" y="389"/>
                        <a:pt x="10570" y="0"/>
                      </a:cubicBezTo>
                      <a:cubicBezTo>
                        <a:pt x="10570" y="0"/>
                        <a:pt x="10570" y="0"/>
                        <a:pt x="10570" y="3892"/>
                      </a:cubicBezTo>
                      <a:cubicBezTo>
                        <a:pt x="7123" y="4086"/>
                        <a:pt x="4366" y="6422"/>
                        <a:pt x="4366" y="9341"/>
                      </a:cubicBezTo>
                      <a:cubicBezTo>
                        <a:pt x="4366" y="12259"/>
                        <a:pt x="7123" y="14789"/>
                        <a:pt x="10800" y="14789"/>
                      </a:cubicBezTo>
                      <a:cubicBezTo>
                        <a:pt x="14247" y="14789"/>
                        <a:pt x="17234" y="12259"/>
                        <a:pt x="17234" y="9341"/>
                      </a:cubicBezTo>
                      <a:cubicBezTo>
                        <a:pt x="17234" y="6422"/>
                        <a:pt x="14477" y="4086"/>
                        <a:pt x="11030" y="3892"/>
                      </a:cubicBezTo>
                      <a:cubicBezTo>
                        <a:pt x="11030" y="3892"/>
                        <a:pt x="11030" y="3892"/>
                        <a:pt x="11030" y="0"/>
                      </a:cubicBezTo>
                      <a:cubicBezTo>
                        <a:pt x="16774" y="389"/>
                        <a:pt x="21600" y="4476"/>
                        <a:pt x="21600" y="9341"/>
                      </a:cubicBezTo>
                      <a:cubicBezTo>
                        <a:pt x="21600" y="14011"/>
                        <a:pt x="17464" y="17708"/>
                        <a:pt x="12409" y="18486"/>
                      </a:cubicBezTo>
                      <a:close/>
                    </a:path>
                  </a:pathLst>
                </a:custGeom>
                <a:solidFill>
                  <a:srgbClr val="64686E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t">
                  <a:noAutofit/>
                </a:bodyPr>
                <a:lstStyle/>
                <a:p>
                  <a:pPr defTabSz="413222" fontAlgn="auto" hangingPunct="0">
                    <a:spcBef>
                      <a:spcPts val="0"/>
                    </a:spcBef>
                    <a:spcAft>
                      <a:spcPts val="0"/>
                    </a:spcAft>
                    <a:defRPr sz="600">
                      <a:solidFill>
                        <a:srgbClr val="676767"/>
                      </a:solidFill>
                    </a:defRPr>
                  </a:pPr>
                  <a:endParaRPr sz="600" kern="0">
                    <a:solidFill>
                      <a:schemeClr val="bg1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</p:grpSp>
        <p:grpSp>
          <p:nvGrpSpPr>
            <p:cNvPr id="123" name="Group 1616"/>
            <p:cNvGrpSpPr/>
            <p:nvPr/>
          </p:nvGrpSpPr>
          <p:grpSpPr>
            <a:xfrm>
              <a:off x="2897806" y="4747588"/>
              <a:ext cx="294667" cy="294403"/>
              <a:chOff x="0" y="0"/>
              <a:chExt cx="294666" cy="294401"/>
            </a:xfrm>
          </p:grpSpPr>
          <p:sp>
            <p:nvSpPr>
              <p:cNvPr id="124" name="Shape 1612"/>
              <p:cNvSpPr/>
              <p:nvPr/>
            </p:nvSpPr>
            <p:spPr>
              <a:xfrm>
                <a:off x="-1" y="-1"/>
                <a:ext cx="294667" cy="294403"/>
              </a:xfrm>
              <a:prstGeom prst="ellipse">
                <a:avLst/>
              </a:prstGeom>
              <a:solidFill>
                <a:srgbClr val="FFFFFF"/>
              </a:solidFill>
              <a:ln w="3175" cap="flat">
                <a:solidFill>
                  <a:srgbClr val="64686E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defTabSz="413222" fontAlgn="auto" hangingPunct="0">
                  <a:spcBef>
                    <a:spcPts val="0"/>
                  </a:spcBef>
                  <a:spcAft>
                    <a:spcPts val="0"/>
                  </a:spcAft>
                  <a:defRPr sz="600">
                    <a:solidFill>
                      <a:srgbClr val="676767"/>
                    </a:solidFill>
                  </a:defRPr>
                </a:pPr>
                <a:endParaRPr sz="600" kern="0">
                  <a:solidFill>
                    <a:schemeClr val="bg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grpSp>
            <p:nvGrpSpPr>
              <p:cNvPr id="125" name="Group 1615"/>
              <p:cNvGrpSpPr/>
              <p:nvPr/>
            </p:nvGrpSpPr>
            <p:grpSpPr>
              <a:xfrm>
                <a:off x="42241" y="67041"/>
                <a:ext cx="210180" cy="143892"/>
                <a:chOff x="0" y="0"/>
                <a:chExt cx="210178" cy="143891"/>
              </a:xfrm>
            </p:grpSpPr>
            <p:sp>
              <p:nvSpPr>
                <p:cNvPr id="126" name="Shape 1613"/>
                <p:cNvSpPr/>
                <p:nvPr/>
              </p:nvSpPr>
              <p:spPr>
                <a:xfrm>
                  <a:off x="-1" y="-1"/>
                  <a:ext cx="176303" cy="14389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563" h="21600" extrusionOk="0">
                      <a:moveTo>
                        <a:pt x="19396" y="14940"/>
                      </a:moveTo>
                      <a:cubicBezTo>
                        <a:pt x="18220" y="14220"/>
                        <a:pt x="18220" y="14220"/>
                        <a:pt x="18220" y="14220"/>
                      </a:cubicBezTo>
                      <a:cubicBezTo>
                        <a:pt x="17780" y="15120"/>
                        <a:pt x="17780" y="15120"/>
                        <a:pt x="17780" y="15120"/>
                      </a:cubicBezTo>
                      <a:cubicBezTo>
                        <a:pt x="17486" y="15480"/>
                        <a:pt x="17192" y="15660"/>
                        <a:pt x="17045" y="15480"/>
                      </a:cubicBezTo>
                      <a:cubicBezTo>
                        <a:pt x="12637" y="12600"/>
                        <a:pt x="12637" y="12600"/>
                        <a:pt x="12637" y="12600"/>
                      </a:cubicBezTo>
                      <a:cubicBezTo>
                        <a:pt x="2498" y="21240"/>
                        <a:pt x="2204" y="21600"/>
                        <a:pt x="2204" y="21600"/>
                      </a:cubicBezTo>
                      <a:cubicBezTo>
                        <a:pt x="1469" y="20700"/>
                        <a:pt x="441" y="18540"/>
                        <a:pt x="0" y="16740"/>
                      </a:cubicBezTo>
                      <a:cubicBezTo>
                        <a:pt x="7788" y="12780"/>
                        <a:pt x="10580" y="11340"/>
                        <a:pt x="10580" y="11340"/>
                      </a:cubicBezTo>
                      <a:cubicBezTo>
                        <a:pt x="6171" y="8460"/>
                        <a:pt x="6171" y="8460"/>
                        <a:pt x="6171" y="8460"/>
                      </a:cubicBezTo>
                      <a:cubicBezTo>
                        <a:pt x="5878" y="8280"/>
                        <a:pt x="5731" y="7740"/>
                        <a:pt x="5878" y="7560"/>
                      </a:cubicBezTo>
                      <a:cubicBezTo>
                        <a:pt x="8963" y="540"/>
                        <a:pt x="8963" y="540"/>
                        <a:pt x="8963" y="540"/>
                      </a:cubicBezTo>
                      <a:cubicBezTo>
                        <a:pt x="9110" y="0"/>
                        <a:pt x="9404" y="0"/>
                        <a:pt x="9698" y="0"/>
                      </a:cubicBezTo>
                      <a:cubicBezTo>
                        <a:pt x="20571" y="7200"/>
                        <a:pt x="20571" y="7200"/>
                        <a:pt x="20571" y="7200"/>
                      </a:cubicBezTo>
                      <a:cubicBezTo>
                        <a:pt x="20865" y="7200"/>
                        <a:pt x="21012" y="7740"/>
                        <a:pt x="20865" y="8280"/>
                      </a:cubicBezTo>
                      <a:cubicBezTo>
                        <a:pt x="20424" y="9000"/>
                        <a:pt x="20424" y="9000"/>
                        <a:pt x="20424" y="9000"/>
                      </a:cubicBezTo>
                      <a:cubicBezTo>
                        <a:pt x="21453" y="9720"/>
                        <a:pt x="21453" y="9720"/>
                        <a:pt x="21453" y="9720"/>
                      </a:cubicBezTo>
                      <a:cubicBezTo>
                        <a:pt x="21600" y="9900"/>
                        <a:pt x="21600" y="10080"/>
                        <a:pt x="21453" y="10260"/>
                      </a:cubicBezTo>
                      <a:cubicBezTo>
                        <a:pt x="19690" y="14580"/>
                        <a:pt x="19690" y="14580"/>
                        <a:pt x="19690" y="14580"/>
                      </a:cubicBezTo>
                      <a:cubicBezTo>
                        <a:pt x="19543" y="14760"/>
                        <a:pt x="19396" y="14940"/>
                        <a:pt x="19396" y="14940"/>
                      </a:cubicBezTo>
                      <a:close/>
                    </a:path>
                  </a:pathLst>
                </a:custGeom>
                <a:solidFill>
                  <a:srgbClr val="64686E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t">
                  <a:noAutofit/>
                </a:bodyPr>
                <a:lstStyle/>
                <a:p>
                  <a:pPr defTabSz="413222" fontAlgn="auto" hangingPunct="0">
                    <a:spcBef>
                      <a:spcPts val="0"/>
                    </a:spcBef>
                    <a:spcAft>
                      <a:spcPts val="0"/>
                    </a:spcAft>
                    <a:defRPr sz="600">
                      <a:solidFill>
                        <a:srgbClr val="676767"/>
                      </a:solidFill>
                    </a:defRPr>
                  </a:pPr>
                  <a:endParaRPr sz="600" kern="0">
                    <a:solidFill>
                      <a:schemeClr val="bg1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27" name="Shape 1614"/>
                <p:cNvSpPr/>
                <p:nvPr/>
              </p:nvSpPr>
              <p:spPr>
                <a:xfrm>
                  <a:off x="163356" y="63554"/>
                  <a:ext cx="46822" cy="58984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8862" y="21600"/>
                      </a:moveTo>
                      <a:cubicBezTo>
                        <a:pt x="0" y="17633"/>
                        <a:pt x="0" y="17633"/>
                        <a:pt x="0" y="17633"/>
                      </a:cubicBezTo>
                      <a:cubicBezTo>
                        <a:pt x="0" y="17633"/>
                        <a:pt x="3323" y="7053"/>
                        <a:pt x="12185" y="0"/>
                      </a:cubicBezTo>
                      <a:cubicBezTo>
                        <a:pt x="21600" y="4408"/>
                        <a:pt x="21600" y="4408"/>
                        <a:pt x="21600" y="4408"/>
                      </a:cubicBezTo>
                      <a:cubicBezTo>
                        <a:pt x="8862" y="21600"/>
                        <a:pt x="8862" y="21600"/>
                        <a:pt x="8862" y="21600"/>
                      </a:cubicBezTo>
                      <a:close/>
                    </a:path>
                  </a:pathLst>
                </a:custGeom>
                <a:solidFill>
                  <a:srgbClr val="64686E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t">
                  <a:noAutofit/>
                </a:bodyPr>
                <a:lstStyle/>
                <a:p>
                  <a:pPr defTabSz="413222" fontAlgn="auto" hangingPunct="0">
                    <a:spcBef>
                      <a:spcPts val="0"/>
                    </a:spcBef>
                    <a:spcAft>
                      <a:spcPts val="0"/>
                    </a:spcAft>
                    <a:defRPr sz="600">
                      <a:solidFill>
                        <a:srgbClr val="676767"/>
                      </a:solidFill>
                    </a:defRPr>
                  </a:pPr>
                  <a:endParaRPr sz="600" kern="0">
                    <a:solidFill>
                      <a:schemeClr val="bg1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</p:grpSp>
        <p:grpSp>
          <p:nvGrpSpPr>
            <p:cNvPr id="143" name="Group 1629"/>
            <p:cNvGrpSpPr/>
            <p:nvPr/>
          </p:nvGrpSpPr>
          <p:grpSpPr>
            <a:xfrm>
              <a:off x="2582670" y="4453800"/>
              <a:ext cx="294665" cy="294403"/>
              <a:chOff x="0" y="0"/>
              <a:chExt cx="294663" cy="294401"/>
            </a:xfrm>
          </p:grpSpPr>
          <p:sp>
            <p:nvSpPr>
              <p:cNvPr id="144" name="Shape 1625"/>
              <p:cNvSpPr/>
              <p:nvPr/>
            </p:nvSpPr>
            <p:spPr>
              <a:xfrm>
                <a:off x="-1" y="-1"/>
                <a:ext cx="294665" cy="294403"/>
              </a:xfrm>
              <a:prstGeom prst="ellipse">
                <a:avLst/>
              </a:prstGeom>
              <a:solidFill>
                <a:srgbClr val="FFFFFF"/>
              </a:solidFill>
              <a:ln w="3175" cap="flat">
                <a:solidFill>
                  <a:srgbClr val="64686E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defTabSz="413222" fontAlgn="auto" hangingPunct="0">
                  <a:spcBef>
                    <a:spcPts val="0"/>
                  </a:spcBef>
                  <a:spcAft>
                    <a:spcPts val="0"/>
                  </a:spcAft>
                  <a:defRPr sz="600">
                    <a:solidFill>
                      <a:srgbClr val="676767"/>
                    </a:solidFill>
                  </a:defRPr>
                </a:pPr>
                <a:endParaRPr sz="600" kern="0">
                  <a:solidFill>
                    <a:schemeClr val="bg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grpSp>
            <p:nvGrpSpPr>
              <p:cNvPr id="145" name="Group 1628"/>
              <p:cNvGrpSpPr/>
              <p:nvPr/>
            </p:nvGrpSpPr>
            <p:grpSpPr>
              <a:xfrm>
                <a:off x="63868" y="73012"/>
                <a:ext cx="166925" cy="127115"/>
                <a:chOff x="0" y="0"/>
                <a:chExt cx="166924" cy="127114"/>
              </a:xfrm>
            </p:grpSpPr>
            <p:sp>
              <p:nvSpPr>
                <p:cNvPr id="146" name="Shape 1626"/>
                <p:cNvSpPr/>
                <p:nvPr/>
              </p:nvSpPr>
              <p:spPr>
                <a:xfrm>
                  <a:off x="72264" y="39657"/>
                  <a:ext cx="24942" cy="64578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1314" y="10000"/>
                      </a:moveTo>
                      <a:cubicBezTo>
                        <a:pt x="10286" y="10000"/>
                        <a:pt x="9257" y="10000"/>
                        <a:pt x="9257" y="10000"/>
                      </a:cubicBezTo>
                      <a:cubicBezTo>
                        <a:pt x="4114" y="10400"/>
                        <a:pt x="0" y="12400"/>
                        <a:pt x="0" y="14400"/>
                      </a:cubicBezTo>
                      <a:cubicBezTo>
                        <a:pt x="0" y="15600"/>
                        <a:pt x="1029" y="16800"/>
                        <a:pt x="4114" y="17600"/>
                      </a:cubicBezTo>
                      <a:cubicBezTo>
                        <a:pt x="2057" y="20400"/>
                        <a:pt x="2057" y="20400"/>
                        <a:pt x="2057" y="20400"/>
                      </a:cubicBezTo>
                      <a:cubicBezTo>
                        <a:pt x="1029" y="20800"/>
                        <a:pt x="2057" y="21200"/>
                        <a:pt x="4114" y="21600"/>
                      </a:cubicBezTo>
                      <a:cubicBezTo>
                        <a:pt x="5143" y="21600"/>
                        <a:pt x="7200" y="21200"/>
                        <a:pt x="7200" y="20800"/>
                      </a:cubicBezTo>
                      <a:cubicBezTo>
                        <a:pt x="9257" y="18400"/>
                        <a:pt x="9257" y="18400"/>
                        <a:pt x="9257" y="18400"/>
                      </a:cubicBezTo>
                      <a:cubicBezTo>
                        <a:pt x="9257" y="18400"/>
                        <a:pt x="10286" y="18400"/>
                        <a:pt x="11314" y="18400"/>
                      </a:cubicBezTo>
                      <a:cubicBezTo>
                        <a:pt x="16457" y="18000"/>
                        <a:pt x="20571" y="16400"/>
                        <a:pt x="20571" y="14000"/>
                      </a:cubicBezTo>
                      <a:cubicBezTo>
                        <a:pt x="20571" y="12800"/>
                        <a:pt x="18514" y="11600"/>
                        <a:pt x="17486" y="10800"/>
                      </a:cubicBezTo>
                      <a:cubicBezTo>
                        <a:pt x="21600" y="0"/>
                        <a:pt x="21600" y="0"/>
                        <a:pt x="21600" y="0"/>
                      </a:cubicBezTo>
                      <a:cubicBezTo>
                        <a:pt x="21600" y="0"/>
                        <a:pt x="21600" y="0"/>
                        <a:pt x="11314" y="10000"/>
                      </a:cubicBezTo>
                      <a:close/>
                    </a:path>
                  </a:pathLst>
                </a:custGeom>
                <a:solidFill>
                  <a:srgbClr val="64686E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t">
                  <a:noAutofit/>
                </a:bodyPr>
                <a:lstStyle/>
                <a:p>
                  <a:pPr defTabSz="413222" fontAlgn="auto" hangingPunct="0">
                    <a:spcBef>
                      <a:spcPts val="0"/>
                    </a:spcBef>
                    <a:spcAft>
                      <a:spcPts val="0"/>
                    </a:spcAft>
                    <a:defRPr sz="600">
                      <a:solidFill>
                        <a:srgbClr val="676767"/>
                      </a:solidFill>
                    </a:defRPr>
                  </a:pPr>
                  <a:endParaRPr sz="600" kern="0">
                    <a:solidFill>
                      <a:schemeClr val="bg1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47" name="Shape 1627"/>
                <p:cNvSpPr/>
                <p:nvPr/>
              </p:nvSpPr>
              <p:spPr>
                <a:xfrm>
                  <a:off x="-1" y="-1"/>
                  <a:ext cx="166925" cy="12711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78" y="0"/>
                      </a:moveTo>
                      <a:cubicBezTo>
                        <a:pt x="4973" y="0"/>
                        <a:pt x="0" y="6113"/>
                        <a:pt x="0" y="13857"/>
                      </a:cubicBezTo>
                      <a:cubicBezTo>
                        <a:pt x="0" y="16709"/>
                        <a:pt x="622" y="19358"/>
                        <a:pt x="1709" y="21600"/>
                      </a:cubicBezTo>
                      <a:cubicBezTo>
                        <a:pt x="1865" y="21600"/>
                        <a:pt x="1865" y="21600"/>
                        <a:pt x="1865" y="21600"/>
                      </a:cubicBezTo>
                      <a:cubicBezTo>
                        <a:pt x="4351" y="21600"/>
                        <a:pt x="4351" y="21600"/>
                        <a:pt x="4351" y="21600"/>
                      </a:cubicBezTo>
                      <a:cubicBezTo>
                        <a:pt x="17249" y="21600"/>
                        <a:pt x="17249" y="21600"/>
                        <a:pt x="17249" y="21600"/>
                      </a:cubicBezTo>
                      <a:cubicBezTo>
                        <a:pt x="19269" y="21600"/>
                        <a:pt x="19269" y="21600"/>
                        <a:pt x="19269" y="21600"/>
                      </a:cubicBezTo>
                      <a:cubicBezTo>
                        <a:pt x="19735" y="21600"/>
                        <a:pt x="19735" y="21600"/>
                        <a:pt x="19735" y="21600"/>
                      </a:cubicBezTo>
                      <a:cubicBezTo>
                        <a:pt x="20823" y="19358"/>
                        <a:pt x="21600" y="16709"/>
                        <a:pt x="21600" y="13857"/>
                      </a:cubicBezTo>
                      <a:cubicBezTo>
                        <a:pt x="21600" y="6113"/>
                        <a:pt x="16627" y="0"/>
                        <a:pt x="10878" y="0"/>
                      </a:cubicBezTo>
                      <a:close/>
                      <a:moveTo>
                        <a:pt x="19424" y="14264"/>
                      </a:moveTo>
                      <a:cubicBezTo>
                        <a:pt x="19424" y="16098"/>
                        <a:pt x="19114" y="17728"/>
                        <a:pt x="18647" y="19155"/>
                      </a:cubicBezTo>
                      <a:cubicBezTo>
                        <a:pt x="2953" y="19155"/>
                        <a:pt x="2953" y="19155"/>
                        <a:pt x="2953" y="19155"/>
                      </a:cubicBezTo>
                      <a:cubicBezTo>
                        <a:pt x="2486" y="17728"/>
                        <a:pt x="2176" y="16098"/>
                        <a:pt x="2020" y="14264"/>
                      </a:cubicBezTo>
                      <a:cubicBezTo>
                        <a:pt x="4040" y="14264"/>
                        <a:pt x="4040" y="14264"/>
                        <a:pt x="4040" y="14264"/>
                      </a:cubicBezTo>
                      <a:cubicBezTo>
                        <a:pt x="4040" y="13449"/>
                        <a:pt x="4040" y="13449"/>
                        <a:pt x="4040" y="13449"/>
                      </a:cubicBezTo>
                      <a:cubicBezTo>
                        <a:pt x="2020" y="13449"/>
                        <a:pt x="2020" y="13449"/>
                        <a:pt x="2020" y="13449"/>
                      </a:cubicBezTo>
                      <a:cubicBezTo>
                        <a:pt x="2176" y="11819"/>
                        <a:pt x="2331" y="10189"/>
                        <a:pt x="2953" y="8966"/>
                      </a:cubicBezTo>
                      <a:cubicBezTo>
                        <a:pt x="4351" y="10189"/>
                        <a:pt x="4351" y="10189"/>
                        <a:pt x="4351" y="10189"/>
                      </a:cubicBezTo>
                      <a:cubicBezTo>
                        <a:pt x="4817" y="9170"/>
                        <a:pt x="4817" y="9170"/>
                        <a:pt x="4817" y="9170"/>
                      </a:cubicBezTo>
                      <a:cubicBezTo>
                        <a:pt x="3263" y="8151"/>
                        <a:pt x="3263" y="8151"/>
                        <a:pt x="3263" y="8151"/>
                      </a:cubicBezTo>
                      <a:cubicBezTo>
                        <a:pt x="3729" y="7336"/>
                        <a:pt x="4196" y="6521"/>
                        <a:pt x="4662" y="5909"/>
                      </a:cubicBezTo>
                      <a:cubicBezTo>
                        <a:pt x="5128" y="5502"/>
                        <a:pt x="5439" y="4891"/>
                        <a:pt x="6060" y="4483"/>
                      </a:cubicBezTo>
                      <a:cubicBezTo>
                        <a:pt x="6837" y="6521"/>
                        <a:pt x="6837" y="6521"/>
                        <a:pt x="6837" y="6521"/>
                      </a:cubicBezTo>
                      <a:cubicBezTo>
                        <a:pt x="7459" y="5909"/>
                        <a:pt x="7459" y="5909"/>
                        <a:pt x="7459" y="5909"/>
                      </a:cubicBezTo>
                      <a:cubicBezTo>
                        <a:pt x="6682" y="3872"/>
                        <a:pt x="6682" y="3872"/>
                        <a:pt x="6682" y="3872"/>
                      </a:cubicBezTo>
                      <a:cubicBezTo>
                        <a:pt x="7925" y="3057"/>
                        <a:pt x="9013" y="2649"/>
                        <a:pt x="10412" y="2649"/>
                      </a:cubicBezTo>
                      <a:cubicBezTo>
                        <a:pt x="10412" y="4891"/>
                        <a:pt x="10412" y="4891"/>
                        <a:pt x="10412" y="4891"/>
                      </a:cubicBezTo>
                      <a:cubicBezTo>
                        <a:pt x="11188" y="4891"/>
                        <a:pt x="11188" y="4891"/>
                        <a:pt x="11188" y="4891"/>
                      </a:cubicBezTo>
                      <a:cubicBezTo>
                        <a:pt x="11188" y="2649"/>
                        <a:pt x="11188" y="2649"/>
                        <a:pt x="11188" y="2649"/>
                      </a:cubicBezTo>
                      <a:cubicBezTo>
                        <a:pt x="12432" y="2649"/>
                        <a:pt x="13675" y="3057"/>
                        <a:pt x="14607" y="3668"/>
                      </a:cubicBezTo>
                      <a:cubicBezTo>
                        <a:pt x="13986" y="5706"/>
                        <a:pt x="13986" y="5706"/>
                        <a:pt x="13986" y="5706"/>
                      </a:cubicBezTo>
                      <a:cubicBezTo>
                        <a:pt x="14607" y="6317"/>
                        <a:pt x="14607" y="6317"/>
                        <a:pt x="14607" y="6317"/>
                      </a:cubicBezTo>
                      <a:cubicBezTo>
                        <a:pt x="15384" y="4279"/>
                        <a:pt x="15384" y="4279"/>
                        <a:pt x="15384" y="4279"/>
                      </a:cubicBezTo>
                      <a:cubicBezTo>
                        <a:pt x="16006" y="4891"/>
                        <a:pt x="16472" y="5298"/>
                        <a:pt x="16938" y="5909"/>
                      </a:cubicBezTo>
                      <a:cubicBezTo>
                        <a:pt x="17404" y="6521"/>
                        <a:pt x="17715" y="7132"/>
                        <a:pt x="18181" y="7743"/>
                      </a:cubicBezTo>
                      <a:cubicBezTo>
                        <a:pt x="16627" y="8966"/>
                        <a:pt x="16627" y="8966"/>
                        <a:pt x="16627" y="8966"/>
                      </a:cubicBezTo>
                      <a:cubicBezTo>
                        <a:pt x="17094" y="9781"/>
                        <a:pt x="17094" y="9781"/>
                        <a:pt x="17094" y="9781"/>
                      </a:cubicBezTo>
                      <a:cubicBezTo>
                        <a:pt x="18492" y="8762"/>
                        <a:pt x="18492" y="8762"/>
                        <a:pt x="18492" y="8762"/>
                      </a:cubicBezTo>
                      <a:cubicBezTo>
                        <a:pt x="19114" y="10189"/>
                        <a:pt x="19424" y="11615"/>
                        <a:pt x="19424" y="13449"/>
                      </a:cubicBezTo>
                      <a:cubicBezTo>
                        <a:pt x="17560" y="13449"/>
                        <a:pt x="17560" y="13449"/>
                        <a:pt x="17560" y="13449"/>
                      </a:cubicBezTo>
                      <a:cubicBezTo>
                        <a:pt x="17560" y="14264"/>
                        <a:pt x="17560" y="14264"/>
                        <a:pt x="17560" y="14264"/>
                      </a:cubicBezTo>
                      <a:cubicBezTo>
                        <a:pt x="19424" y="14264"/>
                        <a:pt x="19424" y="14264"/>
                        <a:pt x="19424" y="14264"/>
                      </a:cubicBezTo>
                      <a:close/>
                    </a:path>
                  </a:pathLst>
                </a:custGeom>
                <a:solidFill>
                  <a:srgbClr val="64686E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t">
                  <a:noAutofit/>
                </a:bodyPr>
                <a:lstStyle/>
                <a:p>
                  <a:pPr defTabSz="413222" fontAlgn="auto" hangingPunct="0">
                    <a:spcBef>
                      <a:spcPts val="0"/>
                    </a:spcBef>
                    <a:spcAft>
                      <a:spcPts val="0"/>
                    </a:spcAft>
                    <a:defRPr sz="600">
                      <a:solidFill>
                        <a:srgbClr val="676767"/>
                      </a:solidFill>
                    </a:defRPr>
                  </a:pPr>
                  <a:endParaRPr sz="600" kern="0">
                    <a:solidFill>
                      <a:schemeClr val="bg1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</p:grpSp>
        <p:grpSp>
          <p:nvGrpSpPr>
            <p:cNvPr id="151" name="Group 1635"/>
            <p:cNvGrpSpPr/>
            <p:nvPr/>
          </p:nvGrpSpPr>
          <p:grpSpPr>
            <a:xfrm>
              <a:off x="3193930" y="4435611"/>
              <a:ext cx="294667" cy="294403"/>
              <a:chOff x="0" y="0"/>
              <a:chExt cx="294666" cy="294401"/>
            </a:xfrm>
          </p:grpSpPr>
          <p:sp>
            <p:nvSpPr>
              <p:cNvPr id="152" name="Shape 1633"/>
              <p:cNvSpPr/>
              <p:nvPr/>
            </p:nvSpPr>
            <p:spPr>
              <a:xfrm>
                <a:off x="-1" y="-1"/>
                <a:ext cx="294667" cy="294403"/>
              </a:xfrm>
              <a:prstGeom prst="ellipse">
                <a:avLst/>
              </a:prstGeom>
              <a:solidFill>
                <a:srgbClr val="FFFFFF"/>
              </a:solidFill>
              <a:ln w="3175" cap="flat">
                <a:solidFill>
                  <a:srgbClr val="64686E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defTabSz="413222" fontAlgn="auto" hangingPunct="0">
                  <a:spcBef>
                    <a:spcPts val="0"/>
                  </a:spcBef>
                  <a:spcAft>
                    <a:spcPts val="0"/>
                  </a:spcAft>
                  <a:defRPr sz="600">
                    <a:solidFill>
                      <a:srgbClr val="676767"/>
                    </a:solidFill>
                  </a:defRPr>
                </a:pPr>
                <a:endParaRPr sz="600" kern="0">
                  <a:solidFill>
                    <a:schemeClr val="bg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pic>
            <p:nvPicPr>
              <p:cNvPr id="153" name="image41.png"/>
              <p:cNvPicPr>
                <a:picLocks noChangeAspect="1"/>
              </p:cNvPicPr>
              <p:nvPr/>
            </p:nvPicPr>
            <p:blipFill>
              <a:blip r:embed="rId3">
                <a:extLst/>
              </a:blip>
              <a:stretch>
                <a:fillRect/>
              </a:stretch>
            </p:blipFill>
            <p:spPr>
              <a:xfrm>
                <a:off x="49608" y="50138"/>
                <a:ext cx="206230" cy="206070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</p:grpSp>
      </p:grpSp>
      <p:sp>
        <p:nvSpPr>
          <p:cNvPr id="283" name="TextBox 282"/>
          <p:cNvSpPr txBox="1"/>
          <p:nvPr/>
        </p:nvSpPr>
        <p:spPr>
          <a:xfrm>
            <a:off x="2823855" y="4413267"/>
            <a:ext cx="179766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charset="0"/>
              <a:buChar char="•"/>
            </a:pPr>
            <a:r>
              <a:rPr lang="en-US" sz="700" dirty="0" smtClean="0">
                <a:solidFill>
                  <a:schemeClr val="bg1"/>
                </a:solidFill>
              </a:rPr>
              <a:t>Road condition Sensor (Surface temp. Soil Temp., Road Conduction (dry, wet, ice, snow)</a:t>
            </a:r>
          </a:p>
          <a:p>
            <a:pPr marL="171450" indent="-171450">
              <a:buFont typeface="Arial" charset="0"/>
              <a:buChar char="•"/>
            </a:pPr>
            <a:r>
              <a:rPr lang="en-US" sz="700" dirty="0" smtClean="0">
                <a:solidFill>
                  <a:schemeClr val="bg1"/>
                </a:solidFill>
              </a:rPr>
              <a:t>Weather Conditions (Fog, Rain, Dry, Wind, Snow, Humidity, Air temp.)</a:t>
            </a:r>
          </a:p>
          <a:p>
            <a:pPr marL="171450" indent="-171450">
              <a:buFont typeface="Arial" charset="0"/>
              <a:buChar char="•"/>
            </a:pPr>
            <a:r>
              <a:rPr lang="en-US" sz="700" dirty="0" smtClean="0">
                <a:solidFill>
                  <a:schemeClr val="bg1"/>
                </a:solidFill>
              </a:rPr>
              <a:t>Air Quality Sensors</a:t>
            </a:r>
            <a:endParaRPr lang="en-US" sz="700" dirty="0">
              <a:solidFill>
                <a:schemeClr val="bg1"/>
              </a:solidFill>
            </a:endParaRPr>
          </a:p>
        </p:txBody>
      </p:sp>
      <p:grpSp>
        <p:nvGrpSpPr>
          <p:cNvPr id="102411" name="Group 102410"/>
          <p:cNvGrpSpPr/>
          <p:nvPr/>
        </p:nvGrpSpPr>
        <p:grpSpPr>
          <a:xfrm>
            <a:off x="240106" y="3431656"/>
            <a:ext cx="6097043" cy="646658"/>
            <a:chOff x="2641115" y="3613613"/>
            <a:chExt cx="4568795" cy="646658"/>
          </a:xfrm>
        </p:grpSpPr>
        <p:grpSp>
          <p:nvGrpSpPr>
            <p:cNvPr id="102409" name="Group 102408"/>
            <p:cNvGrpSpPr/>
            <p:nvPr/>
          </p:nvGrpSpPr>
          <p:grpSpPr>
            <a:xfrm>
              <a:off x="2641115" y="3613613"/>
              <a:ext cx="4568795" cy="646658"/>
              <a:chOff x="2697961" y="3706320"/>
              <a:chExt cx="4568795" cy="646658"/>
            </a:xfrm>
          </p:grpSpPr>
          <p:sp>
            <p:nvSpPr>
              <p:cNvPr id="22" name="Rounded Rectangle 21"/>
              <p:cNvSpPr/>
              <p:nvPr/>
            </p:nvSpPr>
            <p:spPr>
              <a:xfrm>
                <a:off x="2697961" y="3706320"/>
                <a:ext cx="4568795" cy="634746"/>
              </a:xfrm>
              <a:prstGeom prst="roundRect">
                <a:avLst/>
              </a:prstGeom>
              <a:solidFill>
                <a:srgbClr val="8A3DC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9" name="TextBox 168"/>
              <p:cNvSpPr txBox="1"/>
              <p:nvPr/>
            </p:nvSpPr>
            <p:spPr>
              <a:xfrm>
                <a:off x="2881601" y="3752814"/>
                <a:ext cx="1688981" cy="6001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100" dirty="0" smtClean="0"/>
                  <a:t>IOT Gateway, Switch, Ruggedized Server</a:t>
                </a:r>
              </a:p>
              <a:p>
                <a:endParaRPr lang="en-US" sz="1100" dirty="0"/>
              </a:p>
            </p:txBody>
          </p:sp>
        </p:grpSp>
        <p:grpSp>
          <p:nvGrpSpPr>
            <p:cNvPr id="20" name="Group 19"/>
            <p:cNvGrpSpPr/>
            <p:nvPr/>
          </p:nvGrpSpPr>
          <p:grpSpPr>
            <a:xfrm>
              <a:off x="4797830" y="3722800"/>
              <a:ext cx="1853952" cy="440128"/>
              <a:chOff x="3122110" y="3814421"/>
              <a:chExt cx="1853952" cy="440128"/>
            </a:xfrm>
          </p:grpSpPr>
          <p:pic>
            <p:nvPicPr>
              <p:cNvPr id="58" name="Picture 57"/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backgroundRemoval t="3535" b="98969" l="1093" r="99563">
                            <a14:foregroundMark x1="97049" y1="45214" x2="97049" y2="45214"/>
                            <a14:foregroundMark x1="69290" y1="81738" x2="69290" y2="81738"/>
                            <a14:foregroundMark x1="77158" y1="73932" x2="77158" y2="73932"/>
                            <a14:foregroundMark x1="75301" y1="72018" x2="75301" y2="72018"/>
                            <a14:foregroundMark x1="67322" y1="81001" x2="67322" y2="81001"/>
                            <a14:foregroundMark x1="76612" y1="72165" x2="76612" y2="72165"/>
                            <a14:foregroundMark x1="75082" y1="70545" x2="75082" y2="70545"/>
                            <a14:foregroundMark x1="77377" y1="72607" x2="77377" y2="72607"/>
                            <a14:foregroundMark x1="92787" y1="51399" x2="92787" y2="51399"/>
                            <a14:foregroundMark x1="93880" y1="53166" x2="93880" y2="53166"/>
                            <a14:foregroundMark x1="92131" y1="52577" x2="92131" y2="52577"/>
                            <a14:foregroundMark x1="92678" y1="53019" x2="92678" y2="53019"/>
                            <a14:foregroundMark x1="93224" y1="53903" x2="93224" y2="53903"/>
                            <a14:foregroundMark x1="70929" y1="83800" x2="70929" y2="83800"/>
                            <a14:foregroundMark x1="75628" y1="74816" x2="75628" y2="74816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799014" y="3857142"/>
                <a:ext cx="535534" cy="397407"/>
              </a:xfrm>
              <a:prstGeom prst="rect">
                <a:avLst/>
              </a:prstGeom>
            </p:spPr>
          </p:pic>
          <p:grpSp>
            <p:nvGrpSpPr>
              <p:cNvPr id="59" name="Group 58"/>
              <p:cNvGrpSpPr>
                <a:grpSpLocks noChangeAspect="1"/>
              </p:cNvGrpSpPr>
              <p:nvPr/>
            </p:nvGrpSpPr>
            <p:grpSpPr>
              <a:xfrm>
                <a:off x="3122110" y="3881187"/>
                <a:ext cx="545370" cy="298635"/>
                <a:chOff x="3897368" y="2682831"/>
                <a:chExt cx="950638" cy="520550"/>
              </a:xfrm>
            </p:grpSpPr>
            <p:pic>
              <p:nvPicPr>
                <p:cNvPr id="70" name="Picture 69" descr="30080_Device_switch_default_256.png"/>
                <p:cNvPicPr>
                  <a:picLocks noChangeAspect="1"/>
                </p:cNvPicPr>
                <p:nvPr/>
              </p:nvPicPr>
              <p:blipFill rotWithShape="1">
                <a:blip r:embed="rId6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l="-76"/>
                <a:stretch/>
              </p:blipFill>
              <p:spPr>
                <a:xfrm>
                  <a:off x="3897368" y="2682831"/>
                  <a:ext cx="950638" cy="520550"/>
                </a:xfrm>
                <a:prstGeom prst="rect">
                  <a:avLst/>
                </a:prstGeom>
              </p:spPr>
            </p:pic>
            <p:sp>
              <p:nvSpPr>
                <p:cNvPr id="71" name="Rectangle 70"/>
                <p:cNvSpPr/>
                <p:nvPr/>
              </p:nvSpPr>
              <p:spPr>
                <a:xfrm>
                  <a:off x="4065539" y="2895149"/>
                  <a:ext cx="45719" cy="45719"/>
                </a:xfrm>
                <a:prstGeom prst="rect">
                  <a:avLst/>
                </a:prstGeom>
                <a:solidFill>
                  <a:schemeClr val="tx1">
                    <a:lumMod val="50000"/>
                  </a:schemeClr>
                </a:solidFill>
                <a:ln>
                  <a:solidFill>
                    <a:schemeClr val="tx1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2" name="Rectangle 71"/>
                <p:cNvSpPr/>
                <p:nvPr/>
              </p:nvSpPr>
              <p:spPr>
                <a:xfrm>
                  <a:off x="4154594" y="2895149"/>
                  <a:ext cx="45719" cy="45719"/>
                </a:xfrm>
                <a:prstGeom prst="rect">
                  <a:avLst/>
                </a:prstGeom>
                <a:solidFill>
                  <a:schemeClr val="tx1">
                    <a:lumMod val="50000"/>
                  </a:schemeClr>
                </a:solidFill>
                <a:ln>
                  <a:solidFill>
                    <a:schemeClr val="tx1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3" name="Rectangle 72"/>
                <p:cNvSpPr/>
                <p:nvPr/>
              </p:nvSpPr>
              <p:spPr>
                <a:xfrm>
                  <a:off x="4243649" y="2895149"/>
                  <a:ext cx="45719" cy="45719"/>
                </a:xfrm>
                <a:prstGeom prst="rect">
                  <a:avLst/>
                </a:prstGeom>
                <a:solidFill>
                  <a:schemeClr val="tx1">
                    <a:lumMod val="50000"/>
                  </a:schemeClr>
                </a:solidFill>
                <a:ln>
                  <a:solidFill>
                    <a:schemeClr val="tx1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4" name="Rectangle 73"/>
                <p:cNvSpPr/>
                <p:nvPr/>
              </p:nvSpPr>
              <p:spPr>
                <a:xfrm>
                  <a:off x="4332704" y="2895149"/>
                  <a:ext cx="45719" cy="45719"/>
                </a:xfrm>
                <a:prstGeom prst="rect">
                  <a:avLst/>
                </a:prstGeom>
                <a:solidFill>
                  <a:schemeClr val="tx1">
                    <a:lumMod val="50000"/>
                  </a:schemeClr>
                </a:solidFill>
                <a:ln>
                  <a:solidFill>
                    <a:schemeClr val="tx1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5" name="Rectangle 74"/>
                <p:cNvSpPr/>
                <p:nvPr/>
              </p:nvSpPr>
              <p:spPr>
                <a:xfrm>
                  <a:off x="4421759" y="2895149"/>
                  <a:ext cx="45719" cy="45719"/>
                </a:xfrm>
                <a:prstGeom prst="rect">
                  <a:avLst/>
                </a:prstGeom>
                <a:solidFill>
                  <a:schemeClr val="tx1">
                    <a:lumMod val="50000"/>
                  </a:schemeClr>
                </a:solidFill>
                <a:ln>
                  <a:solidFill>
                    <a:schemeClr val="tx1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6" name="Rectangle 75"/>
                <p:cNvSpPr/>
                <p:nvPr/>
              </p:nvSpPr>
              <p:spPr>
                <a:xfrm>
                  <a:off x="4510814" y="2895149"/>
                  <a:ext cx="45719" cy="45719"/>
                </a:xfrm>
                <a:prstGeom prst="rect">
                  <a:avLst/>
                </a:prstGeom>
                <a:solidFill>
                  <a:schemeClr val="tx1">
                    <a:lumMod val="50000"/>
                  </a:schemeClr>
                </a:solidFill>
                <a:ln>
                  <a:solidFill>
                    <a:schemeClr val="tx1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7" name="Rectangle 76"/>
                <p:cNvSpPr/>
                <p:nvPr/>
              </p:nvSpPr>
              <p:spPr>
                <a:xfrm>
                  <a:off x="4599869" y="2895149"/>
                  <a:ext cx="45719" cy="45719"/>
                </a:xfrm>
                <a:prstGeom prst="rect">
                  <a:avLst/>
                </a:prstGeom>
                <a:solidFill>
                  <a:schemeClr val="tx1">
                    <a:lumMod val="50000"/>
                  </a:schemeClr>
                </a:solidFill>
                <a:ln>
                  <a:solidFill>
                    <a:schemeClr val="tx1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8" name="Rectangle 77"/>
                <p:cNvSpPr/>
                <p:nvPr/>
              </p:nvSpPr>
              <p:spPr>
                <a:xfrm>
                  <a:off x="4688925" y="2895149"/>
                  <a:ext cx="45719" cy="45719"/>
                </a:xfrm>
                <a:prstGeom prst="rect">
                  <a:avLst/>
                </a:prstGeom>
                <a:solidFill>
                  <a:schemeClr val="tx1">
                    <a:lumMod val="50000"/>
                  </a:schemeClr>
                </a:solidFill>
                <a:ln>
                  <a:solidFill>
                    <a:schemeClr val="tx1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0" name="Rectangle 79"/>
                <p:cNvSpPr/>
                <p:nvPr/>
              </p:nvSpPr>
              <p:spPr>
                <a:xfrm>
                  <a:off x="4065539" y="2991033"/>
                  <a:ext cx="45719" cy="45719"/>
                </a:xfrm>
                <a:prstGeom prst="rect">
                  <a:avLst/>
                </a:prstGeom>
                <a:solidFill>
                  <a:schemeClr val="tx1">
                    <a:lumMod val="50000"/>
                  </a:schemeClr>
                </a:solidFill>
                <a:ln>
                  <a:solidFill>
                    <a:schemeClr val="tx1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1" name="Rectangle 80"/>
                <p:cNvSpPr/>
                <p:nvPr/>
              </p:nvSpPr>
              <p:spPr>
                <a:xfrm>
                  <a:off x="4154594" y="2991033"/>
                  <a:ext cx="45719" cy="45719"/>
                </a:xfrm>
                <a:prstGeom prst="rect">
                  <a:avLst/>
                </a:prstGeom>
                <a:solidFill>
                  <a:schemeClr val="tx1">
                    <a:lumMod val="50000"/>
                  </a:schemeClr>
                </a:solidFill>
                <a:ln>
                  <a:solidFill>
                    <a:schemeClr val="tx1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2" name="Rectangle 81"/>
                <p:cNvSpPr/>
                <p:nvPr/>
              </p:nvSpPr>
              <p:spPr>
                <a:xfrm>
                  <a:off x="4243649" y="2991033"/>
                  <a:ext cx="45719" cy="45719"/>
                </a:xfrm>
                <a:prstGeom prst="rect">
                  <a:avLst/>
                </a:prstGeom>
                <a:solidFill>
                  <a:schemeClr val="tx1">
                    <a:lumMod val="50000"/>
                  </a:schemeClr>
                </a:solidFill>
                <a:ln>
                  <a:solidFill>
                    <a:schemeClr val="tx1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4" name="Rectangle 83"/>
                <p:cNvSpPr/>
                <p:nvPr/>
              </p:nvSpPr>
              <p:spPr>
                <a:xfrm>
                  <a:off x="4332704" y="2991033"/>
                  <a:ext cx="45719" cy="45719"/>
                </a:xfrm>
                <a:prstGeom prst="rect">
                  <a:avLst/>
                </a:prstGeom>
                <a:solidFill>
                  <a:schemeClr val="tx1">
                    <a:lumMod val="50000"/>
                  </a:schemeClr>
                </a:solidFill>
                <a:ln>
                  <a:solidFill>
                    <a:schemeClr val="tx1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5" name="Rectangle 84"/>
                <p:cNvSpPr/>
                <p:nvPr/>
              </p:nvSpPr>
              <p:spPr>
                <a:xfrm>
                  <a:off x="4421759" y="2991033"/>
                  <a:ext cx="45719" cy="45719"/>
                </a:xfrm>
                <a:prstGeom prst="rect">
                  <a:avLst/>
                </a:prstGeom>
                <a:solidFill>
                  <a:schemeClr val="tx1">
                    <a:lumMod val="50000"/>
                  </a:schemeClr>
                </a:solidFill>
                <a:ln>
                  <a:solidFill>
                    <a:schemeClr val="tx1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6" name="Rectangle 85"/>
                <p:cNvSpPr/>
                <p:nvPr/>
              </p:nvSpPr>
              <p:spPr>
                <a:xfrm>
                  <a:off x="4510814" y="2991033"/>
                  <a:ext cx="45719" cy="45719"/>
                </a:xfrm>
                <a:prstGeom prst="rect">
                  <a:avLst/>
                </a:prstGeom>
                <a:solidFill>
                  <a:schemeClr val="tx1">
                    <a:lumMod val="50000"/>
                  </a:schemeClr>
                </a:solidFill>
                <a:ln>
                  <a:solidFill>
                    <a:schemeClr val="tx1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7" name="Rectangle 86"/>
                <p:cNvSpPr/>
                <p:nvPr/>
              </p:nvSpPr>
              <p:spPr>
                <a:xfrm>
                  <a:off x="4599869" y="2991033"/>
                  <a:ext cx="45719" cy="45719"/>
                </a:xfrm>
                <a:prstGeom prst="rect">
                  <a:avLst/>
                </a:prstGeom>
                <a:solidFill>
                  <a:schemeClr val="tx1">
                    <a:lumMod val="50000"/>
                  </a:schemeClr>
                </a:solidFill>
                <a:ln>
                  <a:solidFill>
                    <a:schemeClr val="tx1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8" name="Rectangle 87"/>
                <p:cNvSpPr/>
                <p:nvPr/>
              </p:nvSpPr>
              <p:spPr>
                <a:xfrm>
                  <a:off x="4688925" y="2991033"/>
                  <a:ext cx="45719" cy="45719"/>
                </a:xfrm>
                <a:prstGeom prst="rect">
                  <a:avLst/>
                </a:prstGeom>
                <a:solidFill>
                  <a:schemeClr val="tx1">
                    <a:lumMod val="50000"/>
                  </a:schemeClr>
                </a:solidFill>
                <a:ln>
                  <a:solidFill>
                    <a:schemeClr val="tx1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smtClean="0">
                    <a:solidFill>
                      <a:schemeClr val="tx1"/>
                    </a:solidFill>
                  </a:endParaRPr>
                </a:p>
              </p:txBody>
            </p:sp>
          </p:grpSp>
          <p:pic>
            <p:nvPicPr>
              <p:cNvPr id="99" name="Picture 11" descr="C:\Users\smerrow\AppData\Local\Microsoft\Windows\Temporary Internet Files\Content.IE5\6O03UKCW\MC900434845[1].png"/>
              <p:cNvPicPr>
                <a:picLocks noChangeAspect="1" noChangeArrowheads="1"/>
              </p:cNvPicPr>
              <p:nvPr/>
            </p:nvPicPr>
            <p:blipFill rotWithShape="1"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4576037" y="3814421"/>
                <a:ext cx="400025" cy="4033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330" name="Shape 1662"/>
          <p:cNvSpPr/>
          <p:nvPr/>
        </p:nvSpPr>
        <p:spPr>
          <a:xfrm flipH="1">
            <a:off x="240106" y="1192438"/>
            <a:ext cx="3" cy="3184367"/>
          </a:xfrm>
          <a:prstGeom prst="line">
            <a:avLst/>
          </a:prstGeom>
          <a:ln w="28575">
            <a:solidFill>
              <a:srgbClr val="099AD8"/>
            </a:solidFill>
            <a:headEnd type="oval"/>
            <a:tailEnd type="oval"/>
          </a:ln>
        </p:spPr>
        <p:txBody>
          <a:bodyPr lIns="45719" rIns="45719"/>
          <a:lstStyle/>
          <a:p>
            <a:pPr defTabSz="457200" fontAlgn="auto" hangingPunct="0">
              <a:spcBef>
                <a:spcPts val="0"/>
              </a:spcBef>
              <a:spcAft>
                <a:spcPts val="0"/>
              </a:spcAft>
            </a:pPr>
            <a:endParaRPr kern="0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1" name="Shape 1684"/>
          <p:cNvSpPr/>
          <p:nvPr/>
        </p:nvSpPr>
        <p:spPr>
          <a:xfrm rot="16200000">
            <a:off x="-651757" y="2669648"/>
            <a:ext cx="1589475" cy="24727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31003" tIns="31003" rIns="31003" bIns="31003" numCol="1" anchor="ctr">
            <a:spAutoFit/>
          </a:bodyPr>
          <a:lstStyle>
            <a:lvl1pPr algn="ctr" defTabSz="437264">
              <a:defRPr sz="1200">
                <a:solidFill>
                  <a:srgbClr val="676767"/>
                </a:solidFill>
              </a:defRPr>
            </a:lvl1pPr>
          </a:lstStyle>
          <a:p>
            <a:pPr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kern="0" dirty="0" smtClean="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End-to-End Security </a:t>
            </a:r>
            <a:endParaRPr kern="0" dirty="0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38" name="Group 37"/>
          <p:cNvGrpSpPr/>
          <p:nvPr/>
        </p:nvGrpSpPr>
        <p:grpSpPr>
          <a:xfrm>
            <a:off x="925097" y="2771089"/>
            <a:ext cx="1159287" cy="640222"/>
            <a:chOff x="1243504" y="2889732"/>
            <a:chExt cx="1159287" cy="640222"/>
          </a:xfrm>
        </p:grpSpPr>
        <p:grpSp>
          <p:nvGrpSpPr>
            <p:cNvPr id="280" name="Group 279"/>
            <p:cNvGrpSpPr/>
            <p:nvPr/>
          </p:nvGrpSpPr>
          <p:grpSpPr>
            <a:xfrm>
              <a:off x="1243504" y="2889732"/>
              <a:ext cx="1159287" cy="610023"/>
              <a:chOff x="1295675" y="2947992"/>
              <a:chExt cx="1159287" cy="610023"/>
            </a:xfrm>
          </p:grpSpPr>
          <p:sp>
            <p:nvSpPr>
              <p:cNvPr id="281" name="Cloud 280"/>
              <p:cNvSpPr>
                <a:spLocks noChangeAspect="1"/>
              </p:cNvSpPr>
              <p:nvPr/>
            </p:nvSpPr>
            <p:spPr>
              <a:xfrm>
                <a:off x="1295675" y="2947992"/>
                <a:ext cx="1159287" cy="610023"/>
              </a:xfrm>
              <a:prstGeom prst="cloud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lIns="91400" tIns="45700" rIns="91400" bIns="45700"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282" name="TextBox 281"/>
              <p:cNvSpPr txBox="1">
                <a:spLocks noChangeAspect="1"/>
              </p:cNvSpPr>
              <p:nvPr/>
            </p:nvSpPr>
            <p:spPr>
              <a:xfrm>
                <a:off x="1462321" y="3062838"/>
                <a:ext cx="743225" cy="338514"/>
              </a:xfrm>
              <a:prstGeom prst="rect">
                <a:avLst/>
              </a:prstGeom>
              <a:noFill/>
            </p:spPr>
            <p:txBody>
              <a:bodyPr wrap="square" lIns="91400" tIns="45700" rIns="91400" bIns="45700" rtlCol="0">
                <a:spAutoFit/>
              </a:bodyPr>
              <a:lstStyle/>
              <a:p>
                <a:pPr algn="ctr"/>
                <a:r>
                  <a:rPr lang="en-US" sz="800" b="1" dirty="0" smtClean="0">
                    <a:solidFill>
                      <a:schemeClr val="bg1"/>
                    </a:solidFill>
                  </a:rPr>
                  <a:t>3G/LTE</a:t>
                </a:r>
              </a:p>
              <a:p>
                <a:pPr algn="ctr"/>
                <a:r>
                  <a:rPr lang="en-US" sz="800" b="1" dirty="0" smtClean="0">
                    <a:solidFill>
                      <a:schemeClr val="bg1"/>
                    </a:solidFill>
                  </a:rPr>
                  <a:t>Network</a:t>
                </a:r>
                <a:endParaRPr lang="en-US" sz="800" b="1" dirty="0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332" name="image46.png" descr="lock, login, protection, secure icon"/>
            <p:cNvPicPr>
              <a:picLocks noChangeAspect="1"/>
            </p:cNvPicPr>
            <p:nvPr/>
          </p:nvPicPr>
          <p:blipFill>
            <a:blip r:embed="rId8">
              <a:extLst/>
            </a:blip>
            <a:stretch>
              <a:fillRect/>
            </a:stretch>
          </p:blipFill>
          <p:spPr>
            <a:xfrm>
              <a:off x="1694795" y="3274663"/>
              <a:ext cx="255290" cy="255291"/>
            </a:xfrm>
            <a:prstGeom prst="rect">
              <a:avLst/>
            </a:prstGeom>
            <a:ln w="12700">
              <a:miter lim="400000"/>
            </a:ln>
          </p:spPr>
        </p:pic>
      </p:grpSp>
      <p:grpSp>
        <p:nvGrpSpPr>
          <p:cNvPr id="37" name="Group 36"/>
          <p:cNvGrpSpPr/>
          <p:nvPr/>
        </p:nvGrpSpPr>
        <p:grpSpPr>
          <a:xfrm>
            <a:off x="2320679" y="2780086"/>
            <a:ext cx="1159287" cy="618796"/>
            <a:chOff x="2686860" y="2890919"/>
            <a:chExt cx="1159287" cy="618796"/>
          </a:xfrm>
        </p:grpSpPr>
        <p:grpSp>
          <p:nvGrpSpPr>
            <p:cNvPr id="102424" name="Group 102423"/>
            <p:cNvGrpSpPr/>
            <p:nvPr/>
          </p:nvGrpSpPr>
          <p:grpSpPr>
            <a:xfrm>
              <a:off x="2686860" y="2890919"/>
              <a:ext cx="1159287" cy="610023"/>
              <a:chOff x="1295675" y="2947992"/>
              <a:chExt cx="1159287" cy="610023"/>
            </a:xfrm>
          </p:grpSpPr>
          <p:sp>
            <p:nvSpPr>
              <p:cNvPr id="264" name="Cloud 263"/>
              <p:cNvSpPr>
                <a:spLocks noChangeAspect="1"/>
              </p:cNvSpPr>
              <p:nvPr/>
            </p:nvSpPr>
            <p:spPr>
              <a:xfrm>
                <a:off x="1295675" y="2947992"/>
                <a:ext cx="1159287" cy="610023"/>
              </a:xfrm>
              <a:prstGeom prst="cloud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lIns="91400" tIns="45700" rIns="91400" bIns="45700"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265" name="TextBox 264"/>
              <p:cNvSpPr txBox="1">
                <a:spLocks noChangeAspect="1"/>
              </p:cNvSpPr>
              <p:nvPr/>
            </p:nvSpPr>
            <p:spPr>
              <a:xfrm>
                <a:off x="1391576" y="3062838"/>
                <a:ext cx="971093" cy="338514"/>
              </a:xfrm>
              <a:prstGeom prst="rect">
                <a:avLst/>
              </a:prstGeom>
              <a:noFill/>
            </p:spPr>
            <p:txBody>
              <a:bodyPr wrap="square" lIns="91400" tIns="45700" rIns="91400" bIns="45700" rtlCol="0">
                <a:spAutoFit/>
              </a:bodyPr>
              <a:lstStyle/>
              <a:p>
                <a:pPr algn="ctr"/>
                <a:r>
                  <a:rPr lang="en-US" sz="800" b="1" dirty="0" smtClean="0">
                    <a:solidFill>
                      <a:schemeClr val="bg1"/>
                    </a:solidFill>
                  </a:rPr>
                  <a:t>IEEE 802.11P/ ITS-G5 (DSRC)</a:t>
                </a:r>
              </a:p>
            </p:txBody>
          </p:sp>
        </p:grpSp>
        <p:pic>
          <p:nvPicPr>
            <p:cNvPr id="333" name="image46.png" descr="lock, login, protection, secure icon"/>
            <p:cNvPicPr>
              <a:picLocks noChangeAspect="1"/>
            </p:cNvPicPr>
            <p:nvPr/>
          </p:nvPicPr>
          <p:blipFill>
            <a:blip r:embed="rId8">
              <a:extLst/>
            </a:blip>
            <a:stretch>
              <a:fillRect/>
            </a:stretch>
          </p:blipFill>
          <p:spPr>
            <a:xfrm>
              <a:off x="3124089" y="3254424"/>
              <a:ext cx="255290" cy="255291"/>
            </a:xfrm>
            <a:prstGeom prst="rect">
              <a:avLst/>
            </a:prstGeom>
            <a:ln w="12700">
              <a:miter lim="400000"/>
            </a:ln>
          </p:spPr>
        </p:pic>
      </p:grpSp>
      <p:grpSp>
        <p:nvGrpSpPr>
          <p:cNvPr id="36" name="Group 35"/>
          <p:cNvGrpSpPr/>
          <p:nvPr/>
        </p:nvGrpSpPr>
        <p:grpSpPr>
          <a:xfrm>
            <a:off x="3613134" y="2766324"/>
            <a:ext cx="1180915" cy="621727"/>
            <a:chOff x="4101852" y="2889014"/>
            <a:chExt cx="1180915" cy="621727"/>
          </a:xfrm>
        </p:grpSpPr>
        <p:grpSp>
          <p:nvGrpSpPr>
            <p:cNvPr id="102423" name="Group 102422"/>
            <p:cNvGrpSpPr/>
            <p:nvPr/>
          </p:nvGrpSpPr>
          <p:grpSpPr>
            <a:xfrm>
              <a:off x="4101852" y="2889014"/>
              <a:ext cx="1180915" cy="610023"/>
              <a:chOff x="2889635" y="2920143"/>
              <a:chExt cx="1180915" cy="610023"/>
            </a:xfrm>
          </p:grpSpPr>
          <p:grpSp>
            <p:nvGrpSpPr>
              <p:cNvPr id="102422" name="Group 102421"/>
              <p:cNvGrpSpPr/>
              <p:nvPr/>
            </p:nvGrpSpPr>
            <p:grpSpPr>
              <a:xfrm>
                <a:off x="2911263" y="2920143"/>
                <a:ext cx="1159287" cy="610023"/>
                <a:chOff x="2896287" y="2906352"/>
                <a:chExt cx="1159287" cy="610023"/>
              </a:xfrm>
            </p:grpSpPr>
            <p:sp>
              <p:nvSpPr>
                <p:cNvPr id="273" name="Cloud 272"/>
                <p:cNvSpPr>
                  <a:spLocks noChangeAspect="1"/>
                </p:cNvSpPr>
                <p:nvPr/>
              </p:nvSpPr>
              <p:spPr>
                <a:xfrm>
                  <a:off x="2896287" y="2906352"/>
                  <a:ext cx="1159287" cy="610023"/>
                </a:xfrm>
                <a:prstGeom prst="cloud">
                  <a:avLst/>
                </a:prstGeom>
                <a:solidFill>
                  <a:schemeClr val="accent4">
                    <a:lumMod val="20000"/>
                    <a:lumOff val="80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lIns="91400" tIns="45700" rIns="91400" bIns="45700" rtlCol="0" anchor="ctr"/>
                <a:lstStyle/>
                <a:p>
                  <a:pPr algn="ctr"/>
                  <a:endParaRPr lang="en-US" dirty="0" smtClean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66" name="TextBox 265"/>
                <p:cNvSpPr txBox="1">
                  <a:spLocks noChangeAspect="1"/>
                </p:cNvSpPr>
                <p:nvPr/>
              </p:nvSpPr>
              <p:spPr>
                <a:xfrm>
                  <a:off x="3310572" y="3047766"/>
                  <a:ext cx="743225" cy="338514"/>
                </a:xfrm>
                <a:prstGeom prst="rect">
                  <a:avLst/>
                </a:prstGeom>
                <a:noFill/>
              </p:spPr>
              <p:txBody>
                <a:bodyPr wrap="square" lIns="91400" tIns="45700" rIns="91400" bIns="45700" rtlCol="0">
                  <a:spAutoFit/>
                </a:bodyPr>
                <a:lstStyle/>
                <a:p>
                  <a:pPr algn="ctr"/>
                  <a:r>
                    <a:rPr lang="en-US" sz="800" b="1" dirty="0">
                      <a:solidFill>
                        <a:schemeClr val="bg1"/>
                      </a:solidFill>
                    </a:rPr>
                    <a:t>Yard Wi-Fi</a:t>
                  </a:r>
                </a:p>
                <a:p>
                  <a:pPr algn="ctr"/>
                  <a:r>
                    <a:rPr lang="en-US" sz="800" b="1" dirty="0">
                      <a:solidFill>
                        <a:schemeClr val="bg1"/>
                      </a:solidFill>
                    </a:rPr>
                    <a:t>Network</a:t>
                  </a:r>
                </a:p>
              </p:txBody>
            </p:sp>
            <p:pic>
              <p:nvPicPr>
                <p:cNvPr id="267" name="Picture 266" descr="30001_Device_access_point_default_256.png"/>
                <p:cNvPicPr>
                  <a:picLocks noChangeAspect="1"/>
                </p:cNvPicPr>
                <p:nvPr/>
              </p:nvPicPr>
              <p:blipFill rotWithShape="1">
                <a:blip r:embed="rId9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2937322" y="3166540"/>
                  <a:ext cx="412050" cy="179816"/>
                </a:xfrm>
                <a:prstGeom prst="rect">
                  <a:avLst/>
                </a:prstGeom>
              </p:spPr>
            </p:pic>
          </p:grpSp>
          <p:sp>
            <p:nvSpPr>
              <p:cNvPr id="274" name="Rectangle 273"/>
              <p:cNvSpPr>
                <a:spLocks noChangeAspect="1"/>
              </p:cNvSpPr>
              <p:nvPr/>
            </p:nvSpPr>
            <p:spPr>
              <a:xfrm>
                <a:off x="2889635" y="3103960"/>
                <a:ext cx="493973" cy="200018"/>
              </a:xfrm>
              <a:prstGeom prst="rect">
                <a:avLst/>
              </a:prstGeom>
            </p:spPr>
            <p:txBody>
              <a:bodyPr wrap="none" lIns="91404" tIns="45702" rIns="91404" bIns="45702">
                <a:spAutoFit/>
              </a:bodyPr>
              <a:lstStyle/>
              <a:p>
                <a:pPr algn="ctr"/>
                <a:r>
                  <a:rPr lang="en-US" sz="700" dirty="0">
                    <a:solidFill>
                      <a:schemeClr val="bg1"/>
                    </a:solidFill>
                  </a:rPr>
                  <a:t>IW3700</a:t>
                </a:r>
              </a:p>
            </p:txBody>
          </p:sp>
        </p:grpSp>
        <p:pic>
          <p:nvPicPr>
            <p:cNvPr id="334" name="image46.png" descr="lock, login, protection, secure icon"/>
            <p:cNvPicPr>
              <a:picLocks noChangeAspect="1"/>
            </p:cNvPicPr>
            <p:nvPr/>
          </p:nvPicPr>
          <p:blipFill>
            <a:blip r:embed="rId8">
              <a:extLst/>
            </a:blip>
            <a:stretch>
              <a:fillRect/>
            </a:stretch>
          </p:blipFill>
          <p:spPr>
            <a:xfrm>
              <a:off x="4555472" y="3255450"/>
              <a:ext cx="255290" cy="255291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340" name="Title 1"/>
          <p:cNvSpPr>
            <a:spLocks noGrp="1"/>
          </p:cNvSpPr>
          <p:nvPr>
            <p:ph type="title"/>
          </p:nvPr>
        </p:nvSpPr>
        <p:spPr>
          <a:xfrm>
            <a:off x="176093" y="4181"/>
            <a:ext cx="8944709" cy="731837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dirty="0" smtClean="0">
                <a:solidFill>
                  <a:schemeClr val="bg1"/>
                </a:solidFill>
              </a:rPr>
              <a:t>Connected Roadway Architecture</a:t>
            </a:r>
            <a:endParaRPr lang="en-US" sz="2000" dirty="0">
              <a:solidFill>
                <a:schemeClr val="bg1"/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2018175" y="3254220"/>
            <a:ext cx="2986982" cy="417810"/>
            <a:chOff x="2018175" y="3254218"/>
            <a:chExt cx="2986982" cy="427299"/>
          </a:xfrm>
        </p:grpSpPr>
        <p:grpSp>
          <p:nvGrpSpPr>
            <p:cNvPr id="2" name="Group 1"/>
            <p:cNvGrpSpPr/>
            <p:nvPr/>
          </p:nvGrpSpPr>
          <p:grpSpPr>
            <a:xfrm>
              <a:off x="2018175" y="3310357"/>
              <a:ext cx="2986982" cy="371160"/>
              <a:chOff x="3308579" y="3935399"/>
              <a:chExt cx="2986982" cy="538683"/>
            </a:xfrm>
          </p:grpSpPr>
          <p:grpSp>
            <p:nvGrpSpPr>
              <p:cNvPr id="102427" name="Group 102426"/>
              <p:cNvGrpSpPr/>
              <p:nvPr/>
            </p:nvGrpSpPr>
            <p:grpSpPr>
              <a:xfrm>
                <a:off x="3308579" y="3935399"/>
                <a:ext cx="2986982" cy="538683"/>
                <a:chOff x="3565327" y="4000069"/>
                <a:chExt cx="2234265" cy="538683"/>
              </a:xfrm>
            </p:grpSpPr>
            <p:sp>
              <p:nvSpPr>
                <p:cNvPr id="284" name="Rounded Rectangle 283"/>
                <p:cNvSpPr/>
                <p:nvPr/>
              </p:nvSpPr>
              <p:spPr>
                <a:xfrm>
                  <a:off x="3565327" y="4000069"/>
                  <a:ext cx="2234265" cy="517628"/>
                </a:xfrm>
                <a:prstGeom prst="roundRect">
                  <a:avLst/>
                </a:prstGeom>
                <a:solidFill>
                  <a:srgbClr val="92D050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smtClean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02426" name="TextBox 102425"/>
                <p:cNvSpPr txBox="1"/>
                <p:nvPr/>
              </p:nvSpPr>
              <p:spPr>
                <a:xfrm>
                  <a:off x="3655281" y="4196126"/>
                  <a:ext cx="906377" cy="342626"/>
                </a:xfrm>
                <a:prstGeom prst="rect">
                  <a:avLst/>
                </a:prstGeom>
                <a:noFill/>
                <a:ln>
                  <a:solidFill>
                    <a:srgbClr val="0070C0"/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900" dirty="0" smtClean="0">
                      <a:solidFill>
                        <a:schemeClr val="bg1"/>
                      </a:solidFill>
                    </a:rPr>
                    <a:t>Device Connector</a:t>
                  </a:r>
                </a:p>
              </p:txBody>
            </p:sp>
          </p:grpSp>
          <p:sp>
            <p:nvSpPr>
              <p:cNvPr id="178" name="TextBox 177"/>
              <p:cNvSpPr txBox="1"/>
              <p:nvPr/>
            </p:nvSpPr>
            <p:spPr>
              <a:xfrm>
                <a:off x="4802070" y="4129654"/>
                <a:ext cx="1465278" cy="342626"/>
              </a:xfrm>
              <a:prstGeom prst="rect">
                <a:avLst/>
              </a:prstGeom>
              <a:noFill/>
              <a:ln>
                <a:solidFill>
                  <a:srgbClr val="0070C0"/>
                </a:solidFill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900" dirty="0" smtClean="0">
                    <a:solidFill>
                      <a:schemeClr val="bg1"/>
                    </a:solidFill>
                  </a:rPr>
                  <a:t>Application Connector</a:t>
                </a:r>
                <a:endParaRPr lang="en-US" sz="8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81" name="TextBox 180"/>
            <p:cNvSpPr txBox="1"/>
            <p:nvPr/>
          </p:nvSpPr>
          <p:spPr>
            <a:xfrm>
              <a:off x="2424419" y="3254218"/>
              <a:ext cx="2386959" cy="3305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 dirty="0" smtClean="0">
                  <a:solidFill>
                    <a:schemeClr val="bg1"/>
                  </a:solidFill>
                </a:rPr>
                <a:t>IOT Data Connect Cloud Data Pipeline</a:t>
              </a:r>
            </a:p>
            <a:p>
              <a:r>
                <a:rPr lang="en-US" sz="600" b="1" dirty="0">
                  <a:solidFill>
                    <a:schemeClr val="bg1"/>
                  </a:solidFill>
                </a:rPr>
                <a:t> </a:t>
              </a:r>
              <a:r>
                <a:rPr lang="en-US" sz="600" b="1" dirty="0" smtClean="0">
                  <a:solidFill>
                    <a:schemeClr val="bg1"/>
                  </a:solidFill>
                </a:rPr>
                <a:t>                       MQTT/AMQP/HTTPS</a:t>
              </a:r>
              <a:endParaRPr lang="en-US" sz="5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08" name="Rounded Rectangle 207"/>
          <p:cNvSpPr/>
          <p:nvPr/>
        </p:nvSpPr>
        <p:spPr>
          <a:xfrm>
            <a:off x="1243505" y="3912578"/>
            <a:ext cx="4804659" cy="517628"/>
          </a:xfrm>
          <a:prstGeom prst="roundRect">
            <a:avLst/>
          </a:prstGeom>
          <a:solidFill>
            <a:srgbClr val="DF200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10" name="TextBox 209"/>
          <p:cNvSpPr txBox="1"/>
          <p:nvPr/>
        </p:nvSpPr>
        <p:spPr>
          <a:xfrm>
            <a:off x="3546903" y="4141747"/>
            <a:ext cx="2374676" cy="230832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US" sz="900" dirty="0"/>
              <a:t>Store Time/Series Data, Data Transform</a:t>
            </a:r>
          </a:p>
        </p:txBody>
      </p:sp>
      <p:sp>
        <p:nvSpPr>
          <p:cNvPr id="211" name="TextBox 210"/>
          <p:cNvSpPr txBox="1"/>
          <p:nvPr/>
        </p:nvSpPr>
        <p:spPr>
          <a:xfrm>
            <a:off x="3138998" y="3884868"/>
            <a:ext cx="144286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smtClean="0"/>
              <a:t>Cisco Kinetic (EFF)</a:t>
            </a:r>
            <a:endParaRPr lang="en-US" sz="800" b="1" dirty="0"/>
          </a:p>
        </p:txBody>
      </p:sp>
      <p:grpSp>
        <p:nvGrpSpPr>
          <p:cNvPr id="219" name="Group 218"/>
          <p:cNvGrpSpPr/>
          <p:nvPr/>
        </p:nvGrpSpPr>
        <p:grpSpPr>
          <a:xfrm>
            <a:off x="3324244" y="2183737"/>
            <a:ext cx="1415426" cy="338554"/>
            <a:chOff x="3643403" y="2965151"/>
            <a:chExt cx="2913419" cy="392714"/>
          </a:xfrm>
        </p:grpSpPr>
        <p:sp>
          <p:nvSpPr>
            <p:cNvPr id="220" name="Rounded Rectangle 219"/>
            <p:cNvSpPr/>
            <p:nvPr/>
          </p:nvSpPr>
          <p:spPr>
            <a:xfrm>
              <a:off x="3643403" y="2979114"/>
              <a:ext cx="2913419" cy="319229"/>
            </a:xfrm>
            <a:prstGeom prst="roundRect">
              <a:avLst/>
            </a:prstGeom>
            <a:solidFill>
              <a:srgbClr val="92D05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221" name="TextBox 220"/>
            <p:cNvSpPr txBox="1"/>
            <p:nvPr/>
          </p:nvSpPr>
          <p:spPr>
            <a:xfrm>
              <a:off x="3859730" y="2965151"/>
              <a:ext cx="2693902" cy="3927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 smtClean="0">
                  <a:solidFill>
                    <a:schemeClr val="bg1"/>
                  </a:solidFill>
                </a:rPr>
                <a:t>Application Management (FD)</a:t>
              </a:r>
              <a:endParaRPr lang="en-US" sz="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22" name="Group 221"/>
          <p:cNvGrpSpPr/>
          <p:nvPr/>
        </p:nvGrpSpPr>
        <p:grpSpPr>
          <a:xfrm>
            <a:off x="4778656" y="2201588"/>
            <a:ext cx="1415426" cy="275565"/>
            <a:chOff x="3557048" y="3122134"/>
            <a:chExt cx="2913419" cy="319229"/>
          </a:xfrm>
        </p:grpSpPr>
        <p:sp>
          <p:nvSpPr>
            <p:cNvPr id="223" name="Rounded Rectangle 222"/>
            <p:cNvSpPr/>
            <p:nvPr/>
          </p:nvSpPr>
          <p:spPr>
            <a:xfrm>
              <a:off x="3557048" y="3122134"/>
              <a:ext cx="2913419" cy="319229"/>
            </a:xfrm>
            <a:prstGeom prst="roundRect">
              <a:avLst/>
            </a:prstGeom>
            <a:solidFill>
              <a:srgbClr val="92D05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224" name="TextBox 223"/>
            <p:cNvSpPr txBox="1"/>
            <p:nvPr/>
          </p:nvSpPr>
          <p:spPr>
            <a:xfrm>
              <a:off x="3765763" y="3136319"/>
              <a:ext cx="2693902" cy="2495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 smtClean="0">
                  <a:solidFill>
                    <a:schemeClr val="bg1"/>
                  </a:solidFill>
                </a:rPr>
                <a:t>Network Management</a:t>
              </a:r>
              <a:endParaRPr lang="en-US" sz="800" dirty="0">
                <a:solidFill>
                  <a:schemeClr val="bg1"/>
                </a:solidFill>
              </a:endParaRPr>
            </a:p>
          </p:txBody>
        </p:sp>
      </p:grpSp>
      <p:sp>
        <p:nvSpPr>
          <p:cNvPr id="241" name="Rounded Rectangle 240"/>
          <p:cNvSpPr/>
          <p:nvPr/>
        </p:nvSpPr>
        <p:spPr>
          <a:xfrm>
            <a:off x="231597" y="2115959"/>
            <a:ext cx="6033755" cy="704462"/>
          </a:xfrm>
          <a:prstGeom prst="roundRect">
            <a:avLst/>
          </a:prstGeom>
          <a:noFill/>
          <a:ln>
            <a:solidFill>
              <a:srgbClr val="3BD8B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57" name="TextBox 156"/>
          <p:cNvSpPr txBox="1"/>
          <p:nvPr/>
        </p:nvSpPr>
        <p:spPr>
          <a:xfrm>
            <a:off x="4597108" y="4404836"/>
            <a:ext cx="1797665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charset="0"/>
              <a:buChar char="•"/>
            </a:pPr>
            <a:r>
              <a:rPr lang="en-US" sz="700" dirty="0" smtClean="0">
                <a:solidFill>
                  <a:schemeClr val="bg1"/>
                </a:solidFill>
              </a:rPr>
              <a:t>Tolling, Camera, Dynamic Message Sign, Loop Detectors, Traffic Light</a:t>
            </a:r>
          </a:p>
          <a:p>
            <a:pPr marL="171450" indent="-171450">
              <a:buFont typeface="Arial" charset="0"/>
              <a:buChar char="•"/>
            </a:pPr>
            <a:r>
              <a:rPr lang="en-US" sz="700" dirty="0" smtClean="0">
                <a:solidFill>
                  <a:schemeClr val="bg1"/>
                </a:solidFill>
              </a:rPr>
              <a:t>Radar, DSRC Roadside Unit</a:t>
            </a:r>
          </a:p>
          <a:p>
            <a:pPr marL="171450" indent="-171450">
              <a:buFont typeface="Arial" charset="0"/>
              <a:buChar char="•"/>
            </a:pPr>
            <a:r>
              <a:rPr lang="en-US" sz="700" dirty="0" smtClean="0">
                <a:solidFill>
                  <a:schemeClr val="bg1"/>
                </a:solidFill>
              </a:rPr>
              <a:t>Structural sensors: strain, </a:t>
            </a:r>
            <a:r>
              <a:rPr lang="en-US" sz="700" dirty="0" err="1" smtClean="0">
                <a:solidFill>
                  <a:schemeClr val="bg1"/>
                </a:solidFill>
              </a:rPr>
              <a:t>tiltmeters</a:t>
            </a:r>
            <a:r>
              <a:rPr lang="en-US" sz="700" dirty="0" smtClean="0">
                <a:solidFill>
                  <a:schemeClr val="bg1"/>
                </a:solidFill>
              </a:rPr>
              <a:t>, accelerometers</a:t>
            </a:r>
            <a:endParaRPr lang="en-US" sz="700" dirty="0">
              <a:solidFill>
                <a:schemeClr val="bg1"/>
              </a:solidFill>
            </a:endParaRPr>
          </a:p>
        </p:txBody>
      </p:sp>
      <p:sp>
        <p:nvSpPr>
          <p:cNvPr id="179" name="TextBox 178"/>
          <p:cNvSpPr txBox="1"/>
          <p:nvPr/>
        </p:nvSpPr>
        <p:spPr>
          <a:xfrm>
            <a:off x="1331600" y="4146465"/>
            <a:ext cx="2156439" cy="230832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US" sz="900" dirty="0" smtClean="0"/>
              <a:t>Connect, Filter and Evaluate</a:t>
            </a:r>
            <a:endParaRPr lang="en-US" sz="800" dirty="0"/>
          </a:p>
        </p:txBody>
      </p:sp>
      <p:grpSp>
        <p:nvGrpSpPr>
          <p:cNvPr id="180" name="Group 179"/>
          <p:cNvGrpSpPr/>
          <p:nvPr/>
        </p:nvGrpSpPr>
        <p:grpSpPr>
          <a:xfrm>
            <a:off x="4950543" y="2769241"/>
            <a:ext cx="1159287" cy="621727"/>
            <a:chOff x="4123480" y="2889014"/>
            <a:chExt cx="1159287" cy="621727"/>
          </a:xfrm>
        </p:grpSpPr>
        <p:grpSp>
          <p:nvGrpSpPr>
            <p:cNvPr id="184" name="Group 183"/>
            <p:cNvGrpSpPr/>
            <p:nvPr/>
          </p:nvGrpSpPr>
          <p:grpSpPr>
            <a:xfrm>
              <a:off x="4123480" y="2889014"/>
              <a:ext cx="1159287" cy="610023"/>
              <a:chOff x="2896287" y="2906352"/>
              <a:chExt cx="1159287" cy="610023"/>
            </a:xfrm>
          </p:grpSpPr>
          <p:sp>
            <p:nvSpPr>
              <p:cNvPr id="191" name="Cloud 190"/>
              <p:cNvSpPr>
                <a:spLocks noChangeAspect="1"/>
              </p:cNvSpPr>
              <p:nvPr/>
            </p:nvSpPr>
            <p:spPr>
              <a:xfrm>
                <a:off x="2896287" y="2906352"/>
                <a:ext cx="1159287" cy="610023"/>
              </a:xfrm>
              <a:prstGeom prst="cloud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lIns="91400" tIns="45700" rIns="91400" bIns="45700"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192" name="TextBox 191"/>
              <p:cNvSpPr txBox="1">
                <a:spLocks noChangeAspect="1"/>
              </p:cNvSpPr>
              <p:nvPr/>
            </p:nvSpPr>
            <p:spPr>
              <a:xfrm>
                <a:off x="3102454" y="3023046"/>
                <a:ext cx="743225" cy="338514"/>
              </a:xfrm>
              <a:prstGeom prst="rect">
                <a:avLst/>
              </a:prstGeom>
              <a:noFill/>
            </p:spPr>
            <p:txBody>
              <a:bodyPr wrap="square" lIns="91400" tIns="45700" rIns="91400" bIns="45700" rtlCol="0">
                <a:spAutoFit/>
              </a:bodyPr>
              <a:lstStyle/>
              <a:p>
                <a:pPr algn="ctr"/>
                <a:r>
                  <a:rPr lang="en-US" sz="800" b="1" dirty="0" smtClean="0">
                    <a:solidFill>
                      <a:schemeClr val="bg1"/>
                    </a:solidFill>
                  </a:rPr>
                  <a:t>IP/MPLS Network</a:t>
                </a:r>
                <a:endParaRPr lang="en-US" sz="800" b="1" dirty="0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183" name="image46.png" descr="lock, login, protection, secure icon"/>
            <p:cNvPicPr>
              <a:picLocks noChangeAspect="1"/>
            </p:cNvPicPr>
            <p:nvPr/>
          </p:nvPicPr>
          <p:blipFill>
            <a:blip r:embed="rId8">
              <a:extLst/>
            </a:blip>
            <a:stretch>
              <a:fillRect/>
            </a:stretch>
          </p:blipFill>
          <p:spPr>
            <a:xfrm>
              <a:off x="4555472" y="3255450"/>
              <a:ext cx="255290" cy="255291"/>
            </a:xfrm>
            <a:prstGeom prst="rect">
              <a:avLst/>
            </a:prstGeom>
            <a:ln w="12700">
              <a:miter lim="400000"/>
            </a:ln>
          </p:spPr>
        </p:pic>
      </p:grpSp>
      <p:grpSp>
        <p:nvGrpSpPr>
          <p:cNvPr id="5" name="Group 4"/>
          <p:cNvGrpSpPr/>
          <p:nvPr/>
        </p:nvGrpSpPr>
        <p:grpSpPr>
          <a:xfrm>
            <a:off x="245643" y="1417535"/>
            <a:ext cx="5943191" cy="476784"/>
            <a:chOff x="176853" y="780198"/>
            <a:chExt cx="6217920" cy="476784"/>
          </a:xfrm>
        </p:grpSpPr>
        <p:sp>
          <p:nvSpPr>
            <p:cNvPr id="194" name="Rectangle 193"/>
            <p:cNvSpPr/>
            <p:nvPr/>
          </p:nvSpPr>
          <p:spPr>
            <a:xfrm>
              <a:off x="176853" y="1041538"/>
              <a:ext cx="1517904" cy="21544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spAutoFit/>
            </a:bodyPr>
            <a:lstStyle/>
            <a:p>
              <a:pPr algn="ctr"/>
              <a:r>
                <a:rPr lang="en-US" sz="800" dirty="0" smtClean="0">
                  <a:solidFill>
                    <a:schemeClr val="bg1"/>
                  </a:solidFill>
                </a:rPr>
                <a:t>Subscriber </a:t>
              </a:r>
              <a:r>
                <a:rPr lang="en-US" sz="800" dirty="0">
                  <a:solidFill>
                    <a:schemeClr val="bg1"/>
                  </a:solidFill>
                </a:rPr>
                <a:t>Engine</a:t>
              </a:r>
            </a:p>
          </p:txBody>
        </p:sp>
        <p:sp>
          <p:nvSpPr>
            <p:cNvPr id="195" name="Rectangle 194"/>
            <p:cNvSpPr/>
            <p:nvPr/>
          </p:nvSpPr>
          <p:spPr>
            <a:xfrm>
              <a:off x="176853" y="780198"/>
              <a:ext cx="6217920" cy="21544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spAutoFit/>
            </a:bodyPr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</a:rPr>
                <a:t>SXP (ID Management, Data Brokerage and B2B Transactional </a:t>
              </a:r>
              <a:r>
                <a:rPr lang="en-US" sz="800" dirty="0" smtClean="0">
                  <a:solidFill>
                    <a:schemeClr val="bg1"/>
                  </a:solidFill>
                </a:rPr>
                <a:t>Services</a:t>
              </a:r>
              <a:r>
                <a:rPr lang="en-US" sz="800" dirty="0">
                  <a:solidFill>
                    <a:schemeClr val="bg1"/>
                  </a:solidFill>
                </a:rPr>
                <a:t>)</a:t>
              </a:r>
            </a:p>
          </p:txBody>
        </p:sp>
        <p:sp>
          <p:nvSpPr>
            <p:cNvPr id="196" name="Rectangle 195"/>
            <p:cNvSpPr/>
            <p:nvPr/>
          </p:nvSpPr>
          <p:spPr>
            <a:xfrm>
              <a:off x="1743526" y="1041538"/>
              <a:ext cx="1517904" cy="21544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spAutoFit/>
            </a:bodyPr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</a:rPr>
                <a:t>Device </a:t>
              </a:r>
              <a:r>
                <a:rPr lang="en-US" sz="800" dirty="0" smtClean="0">
                  <a:solidFill>
                    <a:schemeClr val="bg1"/>
                  </a:solidFill>
                </a:rPr>
                <a:t>Engine</a:t>
              </a:r>
              <a:endParaRPr lang="en-US" sz="800" dirty="0">
                <a:solidFill>
                  <a:schemeClr val="bg1"/>
                </a:solidFill>
              </a:endParaRPr>
            </a:p>
          </p:txBody>
        </p:sp>
        <p:sp>
          <p:nvSpPr>
            <p:cNvPr id="197" name="Rectangle 196"/>
            <p:cNvSpPr/>
            <p:nvPr/>
          </p:nvSpPr>
          <p:spPr>
            <a:xfrm>
              <a:off x="3310197" y="1041538"/>
              <a:ext cx="1517904" cy="21544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spAutoFit/>
            </a:bodyPr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</a:rPr>
                <a:t>Data and </a:t>
              </a:r>
              <a:r>
                <a:rPr lang="en-US" sz="800" dirty="0" smtClean="0">
                  <a:solidFill>
                    <a:schemeClr val="bg1"/>
                  </a:solidFill>
                </a:rPr>
                <a:t>Analytics </a:t>
              </a:r>
              <a:r>
                <a:rPr lang="en-US" sz="800" dirty="0">
                  <a:solidFill>
                    <a:schemeClr val="bg1"/>
                  </a:solidFill>
                </a:rPr>
                <a:t>Engine</a:t>
              </a:r>
            </a:p>
          </p:txBody>
        </p:sp>
        <p:sp>
          <p:nvSpPr>
            <p:cNvPr id="198" name="Rectangle 197"/>
            <p:cNvSpPr/>
            <p:nvPr/>
          </p:nvSpPr>
          <p:spPr>
            <a:xfrm>
              <a:off x="4876869" y="1041538"/>
              <a:ext cx="1517904" cy="21544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spAutoFit/>
            </a:bodyPr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</a:rPr>
                <a:t>Location </a:t>
              </a:r>
              <a:r>
                <a:rPr lang="en-US" sz="800" dirty="0" smtClean="0">
                  <a:solidFill>
                    <a:schemeClr val="bg1"/>
                  </a:solidFill>
                </a:rPr>
                <a:t>Engine</a:t>
              </a:r>
              <a:endParaRPr lang="en-US" sz="800" dirty="0">
                <a:solidFill>
                  <a:schemeClr val="bg1"/>
                </a:solidFill>
              </a:endParaRPr>
            </a:p>
          </p:txBody>
        </p:sp>
      </p:grpSp>
      <p:sp>
        <p:nvSpPr>
          <p:cNvPr id="199" name="Rectangle 198"/>
          <p:cNvSpPr/>
          <p:nvPr/>
        </p:nvSpPr>
        <p:spPr>
          <a:xfrm>
            <a:off x="240106" y="1116910"/>
            <a:ext cx="5948728" cy="215444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spAutoFit/>
          </a:bodyPr>
          <a:lstStyle/>
          <a:p>
            <a:pPr algn="ctr"/>
            <a:r>
              <a:rPr lang="en-US" sz="800" dirty="0" smtClean="0">
                <a:solidFill>
                  <a:schemeClr val="bg1"/>
                </a:solidFill>
              </a:rPr>
              <a:t>Composite APIs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200" name="Rectangle 199"/>
          <p:cNvSpPr/>
          <p:nvPr/>
        </p:nvSpPr>
        <p:spPr bwMode="auto">
          <a:xfrm>
            <a:off x="285576" y="657873"/>
            <a:ext cx="1279042" cy="230235"/>
          </a:xfrm>
          <a:prstGeom prst="rect">
            <a:avLst/>
          </a:prstGeom>
          <a:gradFill flip="none" rotWithShape="1">
            <a:gsLst>
              <a:gs pos="19000">
                <a:srgbClr val="208CDD"/>
              </a:gs>
              <a:gs pos="100000">
                <a:srgbClr val="1E548E"/>
              </a:gs>
            </a:gsLst>
            <a:lin ang="5400000" scaled="0"/>
            <a:tileRect/>
          </a:gradFill>
          <a:ln w="101600">
            <a:noFill/>
            <a:miter lim="800000"/>
          </a:ln>
          <a:effectLst>
            <a:outerShdw blurRad="53975" dist="25400" dir="5400000" algn="tl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067">
              <a:defRPr/>
            </a:pPr>
            <a:r>
              <a:rPr lang="en-US" sz="800" dirty="0" smtClean="0">
                <a:solidFill>
                  <a:schemeClr val="tx1"/>
                </a:solidFill>
                <a:cs typeface="Arial"/>
              </a:rPr>
              <a:t>Traffic Management</a:t>
            </a:r>
            <a:endParaRPr lang="en-US" sz="800" dirty="0">
              <a:solidFill>
                <a:schemeClr val="tx1"/>
              </a:solidFill>
              <a:cs typeface="Arial"/>
            </a:endParaRPr>
          </a:p>
        </p:txBody>
      </p:sp>
      <p:sp>
        <p:nvSpPr>
          <p:cNvPr id="201" name="Rectangle 200"/>
          <p:cNvSpPr/>
          <p:nvPr/>
        </p:nvSpPr>
        <p:spPr bwMode="auto">
          <a:xfrm>
            <a:off x="1604022" y="660306"/>
            <a:ext cx="1279042" cy="230235"/>
          </a:xfrm>
          <a:prstGeom prst="rect">
            <a:avLst/>
          </a:prstGeom>
          <a:gradFill flip="none" rotWithShape="1">
            <a:gsLst>
              <a:gs pos="19000">
                <a:srgbClr val="208CDD"/>
              </a:gs>
              <a:gs pos="100000">
                <a:srgbClr val="1E548E"/>
              </a:gs>
            </a:gsLst>
            <a:lin ang="5400000" scaled="0"/>
            <a:tileRect/>
          </a:gradFill>
          <a:ln w="101600">
            <a:noFill/>
            <a:miter lim="800000"/>
          </a:ln>
          <a:effectLst>
            <a:outerShdw blurRad="53975" dist="25400" dir="5400000" algn="tl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067">
              <a:defRPr/>
            </a:pPr>
            <a:r>
              <a:rPr lang="en-US" sz="800" smtClean="0">
                <a:solidFill>
                  <a:schemeClr val="tx1"/>
                </a:solidFill>
                <a:cs typeface="Arial"/>
              </a:rPr>
              <a:t>Toll Administration</a:t>
            </a:r>
            <a:endParaRPr lang="en-US" sz="800" dirty="0">
              <a:solidFill>
                <a:schemeClr val="tx1"/>
              </a:solidFill>
              <a:cs typeface="Arial"/>
            </a:endParaRPr>
          </a:p>
        </p:txBody>
      </p:sp>
      <p:sp>
        <p:nvSpPr>
          <p:cNvPr id="202" name="Rectangle 201"/>
          <p:cNvSpPr/>
          <p:nvPr/>
        </p:nvSpPr>
        <p:spPr bwMode="auto">
          <a:xfrm>
            <a:off x="2922468" y="660306"/>
            <a:ext cx="1279042" cy="230235"/>
          </a:xfrm>
          <a:prstGeom prst="rect">
            <a:avLst/>
          </a:prstGeom>
          <a:gradFill flip="none" rotWithShape="1">
            <a:gsLst>
              <a:gs pos="19000">
                <a:srgbClr val="208CDD"/>
              </a:gs>
              <a:gs pos="100000">
                <a:srgbClr val="1E548E"/>
              </a:gs>
            </a:gsLst>
            <a:lin ang="5400000" scaled="0"/>
            <a:tileRect/>
          </a:gradFill>
          <a:ln w="101600">
            <a:noFill/>
            <a:miter lim="800000"/>
          </a:ln>
          <a:effectLst>
            <a:outerShdw blurRad="53975" dist="25400" dir="5400000" algn="tl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067">
              <a:defRPr/>
            </a:pPr>
            <a:r>
              <a:rPr lang="en-US" sz="800" dirty="0" smtClean="0">
                <a:solidFill>
                  <a:schemeClr val="tx1"/>
                </a:solidFill>
                <a:cs typeface="Arial"/>
              </a:rPr>
              <a:t>Fleet and Freight Management</a:t>
            </a:r>
            <a:endParaRPr lang="en-US" sz="800" dirty="0">
              <a:solidFill>
                <a:schemeClr val="tx1"/>
              </a:solidFill>
              <a:cs typeface="Arial"/>
            </a:endParaRPr>
          </a:p>
        </p:txBody>
      </p:sp>
      <p:sp>
        <p:nvSpPr>
          <p:cNvPr id="203" name="Rectangle 202"/>
          <p:cNvSpPr/>
          <p:nvPr/>
        </p:nvSpPr>
        <p:spPr bwMode="auto">
          <a:xfrm>
            <a:off x="4249280" y="654296"/>
            <a:ext cx="1279042" cy="230235"/>
          </a:xfrm>
          <a:prstGeom prst="rect">
            <a:avLst/>
          </a:prstGeom>
          <a:gradFill flip="none" rotWithShape="1">
            <a:gsLst>
              <a:gs pos="19000">
                <a:srgbClr val="208CDD"/>
              </a:gs>
              <a:gs pos="100000">
                <a:srgbClr val="1E548E"/>
              </a:gs>
            </a:gsLst>
            <a:lin ang="5400000" scaled="0"/>
            <a:tileRect/>
          </a:gradFill>
          <a:ln w="101600">
            <a:noFill/>
            <a:miter lim="800000"/>
          </a:ln>
          <a:effectLst>
            <a:outerShdw blurRad="53975" dist="25400" dir="5400000" algn="tl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067">
              <a:defRPr/>
            </a:pPr>
            <a:r>
              <a:rPr lang="en-US" sz="700" dirty="0" smtClean="0">
                <a:solidFill>
                  <a:schemeClr val="tx1"/>
                </a:solidFill>
                <a:cs typeface="Arial"/>
              </a:rPr>
              <a:t>Maintenance and Construction Management</a:t>
            </a:r>
            <a:endParaRPr lang="en-US" sz="700" dirty="0">
              <a:solidFill>
                <a:schemeClr val="tx1"/>
              </a:solidFill>
              <a:cs typeface="Arial"/>
            </a:endParaRPr>
          </a:p>
        </p:txBody>
      </p:sp>
      <p:sp>
        <p:nvSpPr>
          <p:cNvPr id="204" name="Rounded Rectangle 203"/>
          <p:cNvSpPr/>
          <p:nvPr/>
        </p:nvSpPr>
        <p:spPr>
          <a:xfrm>
            <a:off x="223667" y="1001481"/>
            <a:ext cx="6066720" cy="1045291"/>
          </a:xfrm>
          <a:prstGeom prst="roundRect">
            <a:avLst/>
          </a:prstGeom>
          <a:noFill/>
          <a:ln>
            <a:solidFill>
              <a:srgbClr val="3BD8B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06" name="Rectangle 205"/>
          <p:cNvSpPr/>
          <p:nvPr/>
        </p:nvSpPr>
        <p:spPr bwMode="auto">
          <a:xfrm>
            <a:off x="5567726" y="653157"/>
            <a:ext cx="1279042" cy="230235"/>
          </a:xfrm>
          <a:prstGeom prst="rect">
            <a:avLst/>
          </a:prstGeom>
          <a:gradFill flip="none" rotWithShape="1">
            <a:gsLst>
              <a:gs pos="19000">
                <a:srgbClr val="208CDD"/>
              </a:gs>
              <a:gs pos="100000">
                <a:srgbClr val="1E548E"/>
              </a:gs>
            </a:gsLst>
            <a:lin ang="5400000" scaled="0"/>
            <a:tileRect/>
          </a:gradFill>
          <a:ln w="101600">
            <a:noFill/>
            <a:miter lim="800000"/>
          </a:ln>
          <a:effectLst>
            <a:outerShdw blurRad="53975" dist="25400" dir="5400000" algn="tl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067">
              <a:defRPr/>
            </a:pPr>
            <a:r>
              <a:rPr lang="en-US" sz="700" dirty="0" smtClean="0">
                <a:solidFill>
                  <a:schemeClr val="tx1"/>
                </a:solidFill>
                <a:cs typeface="Arial"/>
              </a:rPr>
              <a:t>Connected Car Ecosystem Applications</a:t>
            </a:r>
            <a:endParaRPr lang="en-US" sz="700" dirty="0">
              <a:solidFill>
                <a:schemeClr val="tx1"/>
              </a:solidFill>
              <a:cs typeface="Arial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182639" y="716906"/>
            <a:ext cx="461665" cy="2049418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Cisco Kinetic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306826" y="1709653"/>
            <a:ext cx="7952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</a:rPr>
              <a:t>CDP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14" name="TextBox 213"/>
          <p:cNvSpPr txBox="1"/>
          <p:nvPr/>
        </p:nvSpPr>
        <p:spPr>
          <a:xfrm>
            <a:off x="6277940" y="2465940"/>
            <a:ext cx="100260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>
                <a:solidFill>
                  <a:schemeClr val="bg1"/>
                </a:solidFill>
              </a:rPr>
              <a:t>IOT DC</a:t>
            </a:r>
            <a:endParaRPr lang="en-US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03402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598" y="212063"/>
            <a:ext cx="8345488" cy="731837"/>
          </a:xfrm>
        </p:spPr>
        <p:txBody>
          <a:bodyPr/>
          <a:lstStyle/>
          <a:p>
            <a:r>
              <a:rPr lang="en-US" dirty="0" smtClean="0">
                <a:solidFill>
                  <a:srgbClr val="005073"/>
                </a:solidFill>
              </a:rPr>
              <a:t>Defining </a:t>
            </a:r>
            <a:r>
              <a:rPr lang="en-US" dirty="0" smtClean="0">
                <a:solidFill>
                  <a:srgbClr val="005073"/>
                </a:solidFill>
              </a:rPr>
              <a:t>Digital Roadway Architecture </a:t>
            </a:r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46848" y="1240929"/>
            <a:ext cx="2288081" cy="1497106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lvl="0" algn="ctr" defTabSz="684213">
              <a:spcBef>
                <a:spcPts val="2000"/>
              </a:spcBef>
              <a:buSzPct val="100000"/>
            </a:pPr>
            <a:r>
              <a:rPr lang="en-US" sz="1400" kern="0" dirty="0">
                <a:solidFill>
                  <a:srgbClr val="005073"/>
                </a:solidFill>
                <a:cs typeface="CiscoSans"/>
              </a:rPr>
              <a:t>Flexible and </a:t>
            </a:r>
            <a:r>
              <a:rPr lang="en-US" sz="1400" kern="0" dirty="0" smtClean="0">
                <a:solidFill>
                  <a:srgbClr val="005073"/>
                </a:solidFill>
                <a:cs typeface="CiscoSans"/>
              </a:rPr>
              <a:t>embedded intuitive network</a:t>
            </a:r>
            <a:endParaRPr lang="en-US" sz="1400" kern="0" dirty="0">
              <a:solidFill>
                <a:srgbClr val="005073"/>
              </a:solidFill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953216" y="1246591"/>
            <a:ext cx="3287564" cy="1497106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lvl="0" algn="ctr" defTabSz="684213">
              <a:spcBef>
                <a:spcPts val="2000"/>
              </a:spcBef>
              <a:buSzPct val="100000"/>
            </a:pPr>
            <a:r>
              <a:rPr lang="en-US" sz="1400" kern="0" dirty="0">
                <a:solidFill>
                  <a:srgbClr val="005073"/>
                </a:solidFill>
                <a:cs typeface="CiscoSans"/>
              </a:rPr>
              <a:t>Differentiated controls based on business and security requirements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359067" y="1240929"/>
            <a:ext cx="2297941" cy="1497106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lvl="0" algn="ctr" defTabSz="684213">
              <a:spcBef>
                <a:spcPts val="2000"/>
              </a:spcBef>
              <a:buSzPct val="100000"/>
            </a:pPr>
            <a:r>
              <a:rPr lang="en-US" sz="1400" kern="0" dirty="0">
                <a:solidFill>
                  <a:srgbClr val="005073"/>
                </a:solidFill>
                <a:cs typeface="CiscoSans"/>
              </a:rPr>
              <a:t>Enhanced </a:t>
            </a:r>
            <a:r>
              <a:rPr lang="en-US" sz="1400" kern="0" dirty="0" smtClean="0">
                <a:solidFill>
                  <a:srgbClr val="005073"/>
                </a:solidFill>
                <a:cs typeface="CiscoSans"/>
              </a:rPr>
              <a:t>security &amp; </a:t>
            </a:r>
            <a:r>
              <a:rPr lang="en-US" sz="1400" kern="0" dirty="0">
                <a:solidFill>
                  <a:srgbClr val="005073"/>
                </a:solidFill>
                <a:cs typeface="CiscoSans"/>
              </a:rPr>
              <a:t>resiliency </a:t>
            </a:r>
          </a:p>
        </p:txBody>
      </p:sp>
      <p:sp>
        <p:nvSpPr>
          <p:cNvPr id="16" name="Rectangle 15"/>
          <p:cNvSpPr/>
          <p:nvPr/>
        </p:nvSpPr>
        <p:spPr>
          <a:xfrm>
            <a:off x="546847" y="2867503"/>
            <a:ext cx="1936377" cy="1497106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lvl="0" algn="ctr"/>
            <a:r>
              <a:rPr lang="en-US" sz="1400" kern="0" dirty="0">
                <a:solidFill>
                  <a:srgbClr val="005073"/>
                </a:solidFill>
                <a:latin typeface="+mj-lt"/>
                <a:cs typeface="CiscoSans"/>
              </a:rPr>
              <a:t>Applied </a:t>
            </a:r>
            <a:r>
              <a:rPr lang="en-US" sz="1400" kern="0" dirty="0" smtClean="0">
                <a:solidFill>
                  <a:srgbClr val="005073"/>
                </a:solidFill>
                <a:latin typeface="+mj-lt"/>
                <a:cs typeface="CiscoSans"/>
              </a:rPr>
              <a:t>intelligence within </a:t>
            </a:r>
            <a:r>
              <a:rPr lang="en-US" sz="1400" kern="0" dirty="0">
                <a:solidFill>
                  <a:srgbClr val="005073"/>
                </a:solidFill>
                <a:latin typeface="+mj-lt"/>
                <a:cs typeface="CiscoSans"/>
              </a:rPr>
              <a:t>defined </a:t>
            </a:r>
            <a:r>
              <a:rPr lang="en-US" sz="1400" kern="0" dirty="0" smtClean="0">
                <a:solidFill>
                  <a:srgbClr val="005073"/>
                </a:solidFill>
                <a:latin typeface="+mj-lt"/>
                <a:cs typeface="CiscoSans"/>
              </a:rPr>
              <a:t>tiers</a:t>
            </a:r>
            <a:endParaRPr lang="en-US" sz="1400" kern="0" dirty="0">
              <a:solidFill>
                <a:srgbClr val="005073"/>
              </a:solidFill>
              <a:latin typeface="+mj-lt"/>
              <a:cs typeface="CiscoSan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2604775" y="2867503"/>
            <a:ext cx="1936377" cy="1497106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lvl="0" algn="ctr"/>
            <a:r>
              <a:rPr lang="en-US" sz="1400" kern="0" dirty="0" smtClean="0">
                <a:solidFill>
                  <a:srgbClr val="005073"/>
                </a:solidFill>
                <a:latin typeface="+mj-lt"/>
                <a:cs typeface="CiscoSans"/>
              </a:rPr>
              <a:t>Dynamic and Sustainable Systems </a:t>
            </a:r>
            <a:endParaRPr lang="en-US" sz="1400" kern="0" dirty="0">
              <a:solidFill>
                <a:srgbClr val="005073"/>
              </a:solidFill>
              <a:latin typeface="+mj-lt"/>
              <a:cs typeface="CiscoSans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662704" y="2861841"/>
            <a:ext cx="1933306" cy="1497106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lvl="0" algn="ctr"/>
            <a:r>
              <a:rPr lang="en-US" sz="1400" kern="0" dirty="0" smtClean="0">
                <a:solidFill>
                  <a:srgbClr val="005073"/>
                </a:solidFill>
                <a:latin typeface="+mj-lt"/>
                <a:cs typeface="CiscoSans"/>
              </a:rPr>
              <a:t>Digitized existing decision process </a:t>
            </a:r>
            <a:endParaRPr lang="en-US" sz="1400" kern="0" dirty="0">
              <a:solidFill>
                <a:srgbClr val="005073"/>
              </a:solidFill>
              <a:latin typeface="+mj-lt"/>
              <a:cs typeface="CiscoSans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6720631" y="2861841"/>
            <a:ext cx="1936377" cy="1497106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lvl="0" algn="ctr"/>
            <a:r>
              <a:rPr lang="en-US" sz="1400" kern="0" dirty="0">
                <a:solidFill>
                  <a:srgbClr val="005073"/>
                </a:solidFill>
                <a:latin typeface="+mj-lt"/>
                <a:cs typeface="CiscoSans"/>
              </a:rPr>
              <a:t>Actionable roadmap for </a:t>
            </a:r>
            <a:r>
              <a:rPr lang="en-US" sz="1400" kern="0" dirty="0" smtClean="0">
                <a:solidFill>
                  <a:srgbClr val="005073"/>
                </a:solidFill>
                <a:latin typeface="+mj-lt"/>
                <a:cs typeface="CiscoSans"/>
              </a:rPr>
              <a:t>implementation</a:t>
            </a:r>
            <a:endParaRPr lang="en-US" sz="1400" kern="0" dirty="0">
              <a:solidFill>
                <a:srgbClr val="005073"/>
              </a:solidFill>
              <a:latin typeface="+mj-lt"/>
              <a:cs typeface="CiscoSans"/>
            </a:endParaRPr>
          </a:p>
        </p:txBody>
      </p:sp>
      <p:sp>
        <p:nvSpPr>
          <p:cNvPr id="7" name="Text Placeholder 2"/>
          <p:cNvSpPr txBox="1">
            <a:spLocks/>
          </p:cNvSpPr>
          <p:nvPr/>
        </p:nvSpPr>
        <p:spPr>
          <a:xfrm>
            <a:off x="2820985" y="183565"/>
            <a:ext cx="8404944" cy="397971"/>
          </a:xfrm>
          <a:prstGeom prst="rect">
            <a:avLst/>
          </a:prstGeom>
        </p:spPr>
        <p:txBody>
          <a:bodyPr lIns="0" tIns="0" rIns="0" bIns="0"/>
          <a:lstStyle/>
          <a:p>
            <a:pPr marL="233363" lvl="0" indent="-233363" defTabSz="684213">
              <a:spcBef>
                <a:spcPts val="2000"/>
              </a:spcBef>
              <a:buSzPct val="100000"/>
              <a:buFont typeface="Arial" charset="0"/>
              <a:buChar char="•"/>
            </a:pPr>
            <a:endParaRPr lang="en-US" kern="0" dirty="0" smtClean="0">
              <a:solidFill>
                <a:srgbClr val="005073"/>
              </a:solidFill>
              <a:latin typeface="+mj-lt"/>
              <a:cs typeface="CiscoSans"/>
            </a:endParaRPr>
          </a:p>
        </p:txBody>
      </p:sp>
      <p:grpSp>
        <p:nvGrpSpPr>
          <p:cNvPr id="40" name="Group 39"/>
          <p:cNvGrpSpPr>
            <a:grpSpLocks noChangeAspect="1"/>
          </p:cNvGrpSpPr>
          <p:nvPr/>
        </p:nvGrpSpPr>
        <p:grpSpPr>
          <a:xfrm>
            <a:off x="1135560" y="3035063"/>
            <a:ext cx="758952" cy="758952"/>
            <a:chOff x="11213725" y="5754340"/>
            <a:chExt cx="915144" cy="928550"/>
          </a:xfrm>
        </p:grpSpPr>
        <p:sp>
          <p:nvSpPr>
            <p:cNvPr id="41" name="Oval 5"/>
            <p:cNvSpPr>
              <a:spLocks noChangeArrowheads="1"/>
            </p:cNvSpPr>
            <p:nvPr/>
          </p:nvSpPr>
          <p:spPr bwMode="auto">
            <a:xfrm>
              <a:off x="11213725" y="5754340"/>
              <a:ext cx="915144" cy="928550"/>
            </a:xfrm>
            <a:prstGeom prst="ellipse">
              <a:avLst/>
            </a:prstGeom>
            <a:solidFill>
              <a:srgbClr val="005073"/>
            </a:solidFill>
            <a:ln w="12700">
              <a:noFill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</a:endParaRPr>
            </a:p>
          </p:txBody>
        </p:sp>
        <p:grpSp>
          <p:nvGrpSpPr>
            <p:cNvPr id="42" name="Group 41"/>
            <p:cNvGrpSpPr>
              <a:grpSpLocks noChangeAspect="1"/>
            </p:cNvGrpSpPr>
            <p:nvPr/>
          </p:nvGrpSpPr>
          <p:grpSpPr>
            <a:xfrm>
              <a:off x="11269421" y="5845968"/>
              <a:ext cx="731520" cy="715672"/>
              <a:chOff x="4541760" y="1713600"/>
              <a:chExt cx="199440" cy="195119"/>
            </a:xfrm>
          </p:grpSpPr>
          <p:sp>
            <p:nvSpPr>
              <p:cNvPr id="43" name="Freeform: Shape 264"/>
              <p:cNvSpPr/>
              <p:nvPr/>
            </p:nvSpPr>
            <p:spPr>
              <a:xfrm>
                <a:off x="4558320" y="1722600"/>
                <a:ext cx="95760" cy="69840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267" h="195">
                    <a:moveTo>
                      <a:pt x="0" y="195"/>
                    </a:moveTo>
                    <a:cubicBezTo>
                      <a:pt x="23" y="107"/>
                      <a:pt x="90" y="33"/>
                      <a:pt x="185" y="9"/>
                    </a:cubicBezTo>
                    <a:cubicBezTo>
                      <a:pt x="214" y="1"/>
                      <a:pt x="241" y="-1"/>
                      <a:pt x="267" y="1"/>
                    </a:cubicBezTo>
                  </a:path>
                </a:pathLst>
              </a:custGeom>
              <a:noFill/>
              <a:ln w="22225" cap="rnd">
                <a:solidFill>
                  <a:srgbClr val="00BCEB"/>
                </a:solidFill>
                <a:prstDash val="solid"/>
                <a:miter/>
              </a:ln>
            </p:spPr>
            <p:txBody>
              <a:bodyPr vert="horz" wrap="none" lIns="4680" tIns="4680" rIns="4680" bIns="4680" anchor="ctr" anchorCtr="1" compatLnSpc="0"/>
              <a:lstStyle/>
              <a:p>
                <a:pPr marL="0" marR="0" lvl="0" indent="0" defTabSz="91440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44" name="Freeform: Shape 265"/>
              <p:cNvSpPr/>
              <p:nvPr/>
            </p:nvSpPr>
            <p:spPr>
              <a:xfrm>
                <a:off x="4560840" y="1761119"/>
                <a:ext cx="180360" cy="147600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502" h="411">
                    <a:moveTo>
                      <a:pt x="451" y="0"/>
                    </a:moveTo>
                    <a:cubicBezTo>
                      <a:pt x="469" y="27"/>
                      <a:pt x="482" y="56"/>
                      <a:pt x="493" y="88"/>
                    </a:cubicBezTo>
                    <a:cubicBezTo>
                      <a:pt x="530" y="225"/>
                      <a:pt x="448" y="366"/>
                      <a:pt x="308" y="403"/>
                    </a:cubicBezTo>
                    <a:cubicBezTo>
                      <a:pt x="178" y="437"/>
                      <a:pt x="48" y="366"/>
                      <a:pt x="0" y="244"/>
                    </a:cubicBezTo>
                  </a:path>
                </a:pathLst>
              </a:custGeom>
              <a:noFill/>
              <a:ln w="22225" cap="rnd">
                <a:solidFill>
                  <a:srgbClr val="00BCEB"/>
                </a:solidFill>
                <a:prstDash val="solid"/>
                <a:miter/>
              </a:ln>
            </p:spPr>
            <p:txBody>
              <a:bodyPr vert="horz" wrap="none" lIns="4680" tIns="4680" rIns="4680" bIns="4680" anchor="ctr" anchorCtr="1" compatLnSpc="0"/>
              <a:lstStyle/>
              <a:p>
                <a:pPr marL="0" marR="0" lvl="0" indent="0" defTabSz="91440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45" name="Freeform: Shape 266"/>
              <p:cNvSpPr/>
              <p:nvPr/>
            </p:nvSpPr>
            <p:spPr>
              <a:xfrm>
                <a:off x="4622760" y="1791360"/>
                <a:ext cx="48960" cy="49320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137" h="138">
                    <a:moveTo>
                      <a:pt x="135" y="51"/>
                    </a:moveTo>
                    <a:cubicBezTo>
                      <a:pt x="138" y="64"/>
                      <a:pt x="138" y="75"/>
                      <a:pt x="135" y="87"/>
                    </a:cubicBezTo>
                    <a:cubicBezTo>
                      <a:pt x="132" y="99"/>
                      <a:pt x="126" y="109"/>
                      <a:pt x="117" y="118"/>
                    </a:cubicBezTo>
                    <a:cubicBezTo>
                      <a:pt x="108" y="127"/>
                      <a:pt x="98" y="132"/>
                      <a:pt x="86" y="135"/>
                    </a:cubicBezTo>
                    <a:cubicBezTo>
                      <a:pt x="74" y="139"/>
                      <a:pt x="63" y="139"/>
                      <a:pt x="50" y="135"/>
                    </a:cubicBezTo>
                    <a:cubicBezTo>
                      <a:pt x="38" y="132"/>
                      <a:pt x="29" y="126"/>
                      <a:pt x="20" y="117"/>
                    </a:cubicBezTo>
                    <a:cubicBezTo>
                      <a:pt x="12" y="108"/>
                      <a:pt x="5" y="99"/>
                      <a:pt x="2" y="86"/>
                    </a:cubicBezTo>
                    <a:cubicBezTo>
                      <a:pt x="-1" y="74"/>
                      <a:pt x="-1" y="63"/>
                      <a:pt x="2" y="51"/>
                    </a:cubicBezTo>
                    <a:cubicBezTo>
                      <a:pt x="5" y="38"/>
                      <a:pt x="11" y="29"/>
                      <a:pt x="20" y="20"/>
                    </a:cubicBezTo>
                    <a:cubicBezTo>
                      <a:pt x="29" y="11"/>
                      <a:pt x="39" y="5"/>
                      <a:pt x="51" y="2"/>
                    </a:cubicBezTo>
                    <a:cubicBezTo>
                      <a:pt x="63" y="-1"/>
                      <a:pt x="74" y="-1"/>
                      <a:pt x="87" y="2"/>
                    </a:cubicBezTo>
                    <a:cubicBezTo>
                      <a:pt x="99" y="6"/>
                      <a:pt x="108" y="11"/>
                      <a:pt x="117" y="20"/>
                    </a:cubicBezTo>
                    <a:cubicBezTo>
                      <a:pt x="126" y="29"/>
                      <a:pt x="132" y="39"/>
                      <a:pt x="135" y="51"/>
                    </a:cubicBezTo>
                    <a:close/>
                  </a:path>
                </a:pathLst>
              </a:custGeom>
              <a:noFill/>
              <a:ln w="22225" cap="flat">
                <a:solidFill>
                  <a:srgbClr val="00BCEB"/>
                </a:solidFill>
                <a:prstDash val="solid"/>
                <a:miter/>
              </a:ln>
            </p:spPr>
            <p:txBody>
              <a:bodyPr vert="horz" wrap="none" lIns="4680" tIns="4680" rIns="4680" bIns="4680" anchor="ctr" anchorCtr="1" compatLnSpc="0"/>
              <a:lstStyle/>
              <a:p>
                <a:pPr marL="0" marR="0" lvl="0" indent="0" defTabSz="91440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46" name="Freeform: Shape 267"/>
              <p:cNvSpPr/>
              <p:nvPr/>
            </p:nvSpPr>
            <p:spPr>
              <a:xfrm>
                <a:off x="4670640" y="1713600"/>
                <a:ext cx="41400" cy="41760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116" h="117">
                    <a:moveTo>
                      <a:pt x="114" y="44"/>
                    </a:moveTo>
                    <a:cubicBezTo>
                      <a:pt x="117" y="54"/>
                      <a:pt x="117" y="64"/>
                      <a:pt x="114" y="74"/>
                    </a:cubicBezTo>
                    <a:cubicBezTo>
                      <a:pt x="111" y="85"/>
                      <a:pt x="107" y="93"/>
                      <a:pt x="99" y="100"/>
                    </a:cubicBezTo>
                    <a:cubicBezTo>
                      <a:pt x="91" y="108"/>
                      <a:pt x="84" y="113"/>
                      <a:pt x="73" y="115"/>
                    </a:cubicBezTo>
                    <a:cubicBezTo>
                      <a:pt x="63" y="118"/>
                      <a:pt x="54" y="117"/>
                      <a:pt x="43" y="114"/>
                    </a:cubicBezTo>
                    <a:cubicBezTo>
                      <a:pt x="33" y="112"/>
                      <a:pt x="25" y="107"/>
                      <a:pt x="17" y="99"/>
                    </a:cubicBezTo>
                    <a:cubicBezTo>
                      <a:pt x="10" y="92"/>
                      <a:pt x="5" y="83"/>
                      <a:pt x="2" y="73"/>
                    </a:cubicBezTo>
                    <a:cubicBezTo>
                      <a:pt x="0" y="63"/>
                      <a:pt x="-1" y="53"/>
                      <a:pt x="2" y="43"/>
                    </a:cubicBezTo>
                    <a:cubicBezTo>
                      <a:pt x="5" y="33"/>
                      <a:pt x="9" y="25"/>
                      <a:pt x="17" y="17"/>
                    </a:cubicBezTo>
                    <a:cubicBezTo>
                      <a:pt x="25" y="10"/>
                      <a:pt x="33" y="5"/>
                      <a:pt x="43" y="2"/>
                    </a:cubicBezTo>
                    <a:cubicBezTo>
                      <a:pt x="54" y="-1"/>
                      <a:pt x="63" y="-1"/>
                      <a:pt x="73" y="2"/>
                    </a:cubicBezTo>
                    <a:cubicBezTo>
                      <a:pt x="84" y="5"/>
                      <a:pt x="92" y="10"/>
                      <a:pt x="99" y="17"/>
                    </a:cubicBezTo>
                    <a:cubicBezTo>
                      <a:pt x="107" y="25"/>
                      <a:pt x="112" y="33"/>
                      <a:pt x="114" y="44"/>
                    </a:cubicBezTo>
                    <a:close/>
                  </a:path>
                </a:pathLst>
              </a:custGeom>
              <a:noFill/>
              <a:ln w="22225" cap="flat">
                <a:solidFill>
                  <a:srgbClr val="00BCEB"/>
                </a:solidFill>
                <a:prstDash val="solid"/>
                <a:miter/>
              </a:ln>
            </p:spPr>
            <p:txBody>
              <a:bodyPr vert="horz" wrap="none" lIns="4680" tIns="4680" rIns="4680" bIns="4680" anchor="ctr" anchorCtr="1" compatLnSpc="0"/>
              <a:lstStyle/>
              <a:p>
                <a:pPr marL="0" marR="0" lvl="0" indent="0" defTabSz="91440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47" name="Freeform: Shape 268"/>
              <p:cNvSpPr/>
              <p:nvPr/>
            </p:nvSpPr>
            <p:spPr>
              <a:xfrm>
                <a:off x="4591440" y="1759319"/>
                <a:ext cx="111960" cy="111960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312" h="312">
                    <a:moveTo>
                      <a:pt x="133" y="312"/>
                    </a:moveTo>
                    <a:cubicBezTo>
                      <a:pt x="114" y="310"/>
                      <a:pt x="96" y="302"/>
                      <a:pt x="77" y="291"/>
                    </a:cubicBezTo>
                    <a:cubicBezTo>
                      <a:pt x="3" y="246"/>
                      <a:pt x="-22" y="151"/>
                      <a:pt x="21" y="77"/>
                    </a:cubicBezTo>
                    <a:cubicBezTo>
                      <a:pt x="63" y="3"/>
                      <a:pt x="162" y="-21"/>
                      <a:pt x="236" y="21"/>
                    </a:cubicBezTo>
                    <a:cubicBezTo>
                      <a:pt x="310" y="66"/>
                      <a:pt x="334" y="162"/>
                      <a:pt x="292" y="236"/>
                    </a:cubicBezTo>
                    <a:cubicBezTo>
                      <a:pt x="284" y="252"/>
                      <a:pt x="270" y="265"/>
                      <a:pt x="260" y="275"/>
                    </a:cubicBezTo>
                  </a:path>
                </a:pathLst>
              </a:custGeom>
              <a:noFill/>
              <a:ln w="22225" cap="rnd">
                <a:solidFill>
                  <a:srgbClr val="00BCEB"/>
                </a:solidFill>
                <a:prstDash val="solid"/>
                <a:miter/>
              </a:ln>
            </p:spPr>
            <p:txBody>
              <a:bodyPr vert="horz" wrap="none" lIns="4680" tIns="4680" rIns="4680" bIns="4680" anchor="ctr" anchorCtr="1" compatLnSpc="0"/>
              <a:lstStyle/>
              <a:p>
                <a:pPr marL="0" marR="0" lvl="0" indent="0" defTabSz="91440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48" name="Freeform: Shape 269"/>
              <p:cNvSpPr/>
              <p:nvPr/>
            </p:nvSpPr>
            <p:spPr>
              <a:xfrm>
                <a:off x="4653000" y="1859039"/>
                <a:ext cx="20880" cy="20520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59" h="58">
                    <a:moveTo>
                      <a:pt x="44" y="4"/>
                    </a:moveTo>
                    <a:cubicBezTo>
                      <a:pt x="49" y="6"/>
                      <a:pt x="52" y="10"/>
                      <a:pt x="55" y="14"/>
                    </a:cubicBezTo>
                    <a:cubicBezTo>
                      <a:pt x="58" y="19"/>
                      <a:pt x="59" y="24"/>
                      <a:pt x="59" y="29"/>
                    </a:cubicBezTo>
                    <a:cubicBezTo>
                      <a:pt x="58" y="34"/>
                      <a:pt x="56" y="40"/>
                      <a:pt x="54" y="44"/>
                    </a:cubicBezTo>
                    <a:cubicBezTo>
                      <a:pt x="51" y="49"/>
                      <a:pt x="49" y="51"/>
                      <a:pt x="44" y="54"/>
                    </a:cubicBezTo>
                    <a:cubicBezTo>
                      <a:pt x="39" y="57"/>
                      <a:pt x="34" y="58"/>
                      <a:pt x="29" y="58"/>
                    </a:cubicBezTo>
                    <a:cubicBezTo>
                      <a:pt x="24" y="58"/>
                      <a:pt x="20" y="57"/>
                      <a:pt x="15" y="54"/>
                    </a:cubicBezTo>
                    <a:cubicBezTo>
                      <a:pt x="10" y="52"/>
                      <a:pt x="7" y="48"/>
                      <a:pt x="4" y="43"/>
                    </a:cubicBezTo>
                    <a:cubicBezTo>
                      <a:pt x="1" y="38"/>
                      <a:pt x="0" y="34"/>
                      <a:pt x="0" y="28"/>
                    </a:cubicBezTo>
                    <a:cubicBezTo>
                      <a:pt x="0" y="23"/>
                      <a:pt x="1" y="19"/>
                      <a:pt x="4" y="14"/>
                    </a:cubicBezTo>
                    <a:cubicBezTo>
                      <a:pt x="7" y="10"/>
                      <a:pt x="10" y="6"/>
                      <a:pt x="15" y="3"/>
                    </a:cubicBezTo>
                    <a:cubicBezTo>
                      <a:pt x="20" y="1"/>
                      <a:pt x="24" y="-1"/>
                      <a:pt x="30" y="0"/>
                    </a:cubicBezTo>
                    <a:cubicBezTo>
                      <a:pt x="35" y="0"/>
                      <a:pt x="40" y="1"/>
                      <a:pt x="44" y="4"/>
                    </a:cubicBezTo>
                    <a:close/>
                  </a:path>
                </a:pathLst>
              </a:custGeom>
              <a:noFill/>
              <a:ln w="22225" cap="flat">
                <a:solidFill>
                  <a:srgbClr val="00BCEB"/>
                </a:solidFill>
                <a:prstDash val="solid"/>
                <a:miter/>
              </a:ln>
            </p:spPr>
            <p:txBody>
              <a:bodyPr vert="horz" wrap="none" lIns="4680" tIns="4680" rIns="4680" bIns="4680" anchor="ctr" anchorCtr="1" compatLnSpc="0"/>
              <a:lstStyle/>
              <a:p>
                <a:pPr marL="0" marR="0" lvl="0" indent="0" defTabSz="91440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49" name="Freeform: Shape 270"/>
              <p:cNvSpPr/>
              <p:nvPr/>
            </p:nvSpPr>
            <p:spPr>
              <a:xfrm>
                <a:off x="4541760" y="1809719"/>
                <a:ext cx="24480" cy="24480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69" h="69">
                    <a:moveTo>
                      <a:pt x="61" y="12"/>
                    </a:moveTo>
                    <a:cubicBezTo>
                      <a:pt x="65" y="17"/>
                      <a:pt x="67" y="22"/>
                      <a:pt x="68" y="28"/>
                    </a:cubicBezTo>
                    <a:cubicBezTo>
                      <a:pt x="69" y="35"/>
                      <a:pt x="70" y="40"/>
                      <a:pt x="67" y="46"/>
                    </a:cubicBezTo>
                    <a:cubicBezTo>
                      <a:pt x="65" y="52"/>
                      <a:pt x="61" y="57"/>
                      <a:pt x="56" y="61"/>
                    </a:cubicBezTo>
                    <a:cubicBezTo>
                      <a:pt x="52" y="65"/>
                      <a:pt x="46" y="67"/>
                      <a:pt x="40" y="68"/>
                    </a:cubicBezTo>
                    <a:cubicBezTo>
                      <a:pt x="34" y="69"/>
                      <a:pt x="28" y="70"/>
                      <a:pt x="22" y="67"/>
                    </a:cubicBezTo>
                    <a:cubicBezTo>
                      <a:pt x="17" y="65"/>
                      <a:pt x="12" y="61"/>
                      <a:pt x="8" y="56"/>
                    </a:cubicBezTo>
                    <a:cubicBezTo>
                      <a:pt x="4" y="51"/>
                      <a:pt x="2" y="46"/>
                      <a:pt x="0" y="40"/>
                    </a:cubicBezTo>
                    <a:cubicBezTo>
                      <a:pt x="-1" y="34"/>
                      <a:pt x="0" y="28"/>
                      <a:pt x="2" y="22"/>
                    </a:cubicBezTo>
                    <a:cubicBezTo>
                      <a:pt x="4" y="16"/>
                      <a:pt x="7" y="12"/>
                      <a:pt x="12" y="8"/>
                    </a:cubicBezTo>
                    <a:cubicBezTo>
                      <a:pt x="17" y="4"/>
                      <a:pt x="22" y="1"/>
                      <a:pt x="28" y="0"/>
                    </a:cubicBezTo>
                    <a:cubicBezTo>
                      <a:pt x="35" y="-1"/>
                      <a:pt x="40" y="0"/>
                      <a:pt x="46" y="2"/>
                    </a:cubicBezTo>
                    <a:cubicBezTo>
                      <a:pt x="52" y="4"/>
                      <a:pt x="57" y="7"/>
                      <a:pt x="61" y="12"/>
                    </a:cubicBezTo>
                    <a:close/>
                  </a:path>
                </a:pathLst>
              </a:custGeom>
              <a:noFill/>
              <a:ln w="22225" cap="flat">
                <a:solidFill>
                  <a:srgbClr val="00BCEB"/>
                </a:solidFill>
                <a:prstDash val="solid"/>
                <a:miter/>
              </a:ln>
            </p:spPr>
            <p:txBody>
              <a:bodyPr vert="horz" wrap="none" lIns="4680" tIns="4680" rIns="4680" bIns="4680" anchor="ctr" anchorCtr="1" compatLnSpc="0"/>
              <a:lstStyle/>
              <a:p>
                <a:pPr marL="0" marR="0" lvl="0" indent="0" defTabSz="91440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ea typeface="Arial Unicode MS" pitchFamily="2"/>
                  <a:cs typeface="Arial Unicode MS" pitchFamily="2"/>
                </a:endParaRPr>
              </a:p>
            </p:txBody>
          </p:sp>
        </p:grpSp>
      </p:grpSp>
      <p:grpSp>
        <p:nvGrpSpPr>
          <p:cNvPr id="50" name="Group 49"/>
          <p:cNvGrpSpPr>
            <a:grpSpLocks noChangeAspect="1"/>
          </p:cNvGrpSpPr>
          <p:nvPr/>
        </p:nvGrpSpPr>
        <p:grpSpPr>
          <a:xfrm>
            <a:off x="7309343" y="3038695"/>
            <a:ext cx="758952" cy="758952"/>
            <a:chOff x="5253221" y="2455518"/>
            <a:chExt cx="966043" cy="969264"/>
          </a:xfrm>
        </p:grpSpPr>
        <p:pic>
          <p:nvPicPr>
            <p:cNvPr id="51" name="Picture 5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53221" y="2455518"/>
              <a:ext cx="966043" cy="969264"/>
            </a:xfrm>
            <a:prstGeom prst="rect">
              <a:avLst/>
            </a:prstGeom>
          </p:spPr>
        </p:pic>
        <p:sp>
          <p:nvSpPr>
            <p:cNvPr id="52" name="Freeform 33"/>
            <p:cNvSpPr>
              <a:spLocks noEditPoints="1"/>
            </p:cNvSpPr>
            <p:nvPr/>
          </p:nvSpPr>
          <p:spPr bwMode="auto">
            <a:xfrm>
              <a:off x="5811897" y="3032186"/>
              <a:ext cx="138102" cy="161552"/>
            </a:xfrm>
            <a:custGeom>
              <a:avLst/>
              <a:gdLst>
                <a:gd name="T0" fmla="*/ 473 w 564"/>
                <a:gd name="T1" fmla="*/ 45 h 460"/>
                <a:gd name="T2" fmla="*/ 457 w 564"/>
                <a:gd name="T3" fmla="*/ 20 h 460"/>
                <a:gd name="T4" fmla="*/ 433 w 564"/>
                <a:gd name="T5" fmla="*/ 4 h 460"/>
                <a:gd name="T6" fmla="*/ 150 w 564"/>
                <a:gd name="T7" fmla="*/ 0 h 460"/>
                <a:gd name="T8" fmla="*/ 131 w 564"/>
                <a:gd name="T9" fmla="*/ 4 h 460"/>
                <a:gd name="T10" fmla="*/ 107 w 564"/>
                <a:gd name="T11" fmla="*/ 20 h 460"/>
                <a:gd name="T12" fmla="*/ 91 w 564"/>
                <a:gd name="T13" fmla="*/ 45 h 460"/>
                <a:gd name="T14" fmla="*/ 40 w 564"/>
                <a:gd name="T15" fmla="*/ 174 h 460"/>
                <a:gd name="T16" fmla="*/ 14 w 564"/>
                <a:gd name="T17" fmla="*/ 190 h 460"/>
                <a:gd name="T18" fmla="*/ 1 w 564"/>
                <a:gd name="T19" fmla="*/ 214 h 460"/>
                <a:gd name="T20" fmla="*/ 65 w 564"/>
                <a:gd name="T21" fmla="*/ 382 h 460"/>
                <a:gd name="T22" fmla="*/ 67 w 564"/>
                <a:gd name="T23" fmla="*/ 428 h 460"/>
                <a:gd name="T24" fmla="*/ 78 w 564"/>
                <a:gd name="T25" fmla="*/ 449 h 460"/>
                <a:gd name="T26" fmla="*/ 99 w 564"/>
                <a:gd name="T27" fmla="*/ 460 h 460"/>
                <a:gd name="T28" fmla="*/ 115 w 564"/>
                <a:gd name="T29" fmla="*/ 460 h 460"/>
                <a:gd name="T30" fmla="*/ 134 w 564"/>
                <a:gd name="T31" fmla="*/ 449 h 460"/>
                <a:gd name="T32" fmla="*/ 145 w 564"/>
                <a:gd name="T33" fmla="*/ 428 h 460"/>
                <a:gd name="T34" fmla="*/ 418 w 564"/>
                <a:gd name="T35" fmla="*/ 382 h 460"/>
                <a:gd name="T36" fmla="*/ 419 w 564"/>
                <a:gd name="T37" fmla="*/ 428 h 460"/>
                <a:gd name="T38" fmla="*/ 430 w 564"/>
                <a:gd name="T39" fmla="*/ 449 h 460"/>
                <a:gd name="T40" fmla="*/ 451 w 564"/>
                <a:gd name="T41" fmla="*/ 460 h 460"/>
                <a:gd name="T42" fmla="*/ 467 w 564"/>
                <a:gd name="T43" fmla="*/ 460 h 460"/>
                <a:gd name="T44" fmla="*/ 486 w 564"/>
                <a:gd name="T45" fmla="*/ 449 h 460"/>
                <a:gd name="T46" fmla="*/ 497 w 564"/>
                <a:gd name="T47" fmla="*/ 428 h 460"/>
                <a:gd name="T48" fmla="*/ 564 w 564"/>
                <a:gd name="T49" fmla="*/ 382 h 460"/>
                <a:gd name="T50" fmla="*/ 563 w 564"/>
                <a:gd name="T51" fmla="*/ 214 h 460"/>
                <a:gd name="T52" fmla="*/ 550 w 564"/>
                <a:gd name="T53" fmla="*/ 190 h 460"/>
                <a:gd name="T54" fmla="*/ 526 w 564"/>
                <a:gd name="T55" fmla="*/ 174 h 460"/>
                <a:gd name="T56" fmla="*/ 145 w 564"/>
                <a:gd name="T57" fmla="*/ 69 h 460"/>
                <a:gd name="T58" fmla="*/ 151 w 564"/>
                <a:gd name="T59" fmla="*/ 59 h 460"/>
                <a:gd name="T60" fmla="*/ 402 w 564"/>
                <a:gd name="T61" fmla="*/ 56 h 460"/>
                <a:gd name="T62" fmla="*/ 410 w 564"/>
                <a:gd name="T63" fmla="*/ 59 h 460"/>
                <a:gd name="T64" fmla="*/ 451 w 564"/>
                <a:gd name="T65" fmla="*/ 173 h 460"/>
                <a:gd name="T66" fmla="*/ 146 w 564"/>
                <a:gd name="T67" fmla="*/ 327 h 460"/>
                <a:gd name="T68" fmla="*/ 129 w 564"/>
                <a:gd name="T69" fmla="*/ 323 h 460"/>
                <a:gd name="T70" fmla="*/ 108 w 564"/>
                <a:gd name="T71" fmla="*/ 307 h 460"/>
                <a:gd name="T72" fmla="*/ 99 w 564"/>
                <a:gd name="T73" fmla="*/ 280 h 460"/>
                <a:gd name="T74" fmla="*/ 103 w 564"/>
                <a:gd name="T75" fmla="*/ 260 h 460"/>
                <a:gd name="T76" fmla="*/ 121 w 564"/>
                <a:gd name="T77" fmla="*/ 240 h 460"/>
                <a:gd name="T78" fmla="*/ 146 w 564"/>
                <a:gd name="T79" fmla="*/ 232 h 460"/>
                <a:gd name="T80" fmla="*/ 166 w 564"/>
                <a:gd name="T81" fmla="*/ 236 h 460"/>
                <a:gd name="T82" fmla="*/ 186 w 564"/>
                <a:gd name="T83" fmla="*/ 252 h 460"/>
                <a:gd name="T84" fmla="*/ 194 w 564"/>
                <a:gd name="T85" fmla="*/ 280 h 460"/>
                <a:gd name="T86" fmla="*/ 191 w 564"/>
                <a:gd name="T87" fmla="*/ 299 h 460"/>
                <a:gd name="T88" fmla="*/ 174 w 564"/>
                <a:gd name="T89" fmla="*/ 319 h 460"/>
                <a:gd name="T90" fmla="*/ 146 w 564"/>
                <a:gd name="T91" fmla="*/ 327 h 460"/>
                <a:gd name="T92" fmla="*/ 418 w 564"/>
                <a:gd name="T93" fmla="*/ 327 h 460"/>
                <a:gd name="T94" fmla="*/ 390 w 564"/>
                <a:gd name="T95" fmla="*/ 319 h 460"/>
                <a:gd name="T96" fmla="*/ 374 w 564"/>
                <a:gd name="T97" fmla="*/ 299 h 460"/>
                <a:gd name="T98" fmla="*/ 370 w 564"/>
                <a:gd name="T99" fmla="*/ 280 h 460"/>
                <a:gd name="T100" fmla="*/ 378 w 564"/>
                <a:gd name="T101" fmla="*/ 252 h 460"/>
                <a:gd name="T102" fmla="*/ 398 w 564"/>
                <a:gd name="T103" fmla="*/ 236 h 460"/>
                <a:gd name="T104" fmla="*/ 418 w 564"/>
                <a:gd name="T105" fmla="*/ 232 h 460"/>
                <a:gd name="T106" fmla="*/ 445 w 564"/>
                <a:gd name="T107" fmla="*/ 240 h 460"/>
                <a:gd name="T108" fmla="*/ 461 w 564"/>
                <a:gd name="T109" fmla="*/ 260 h 460"/>
                <a:gd name="T110" fmla="*/ 465 w 564"/>
                <a:gd name="T111" fmla="*/ 280 h 460"/>
                <a:gd name="T112" fmla="*/ 457 w 564"/>
                <a:gd name="T113" fmla="*/ 307 h 460"/>
                <a:gd name="T114" fmla="*/ 437 w 564"/>
                <a:gd name="T115" fmla="*/ 323 h 460"/>
                <a:gd name="T116" fmla="*/ 418 w 564"/>
                <a:gd name="T117" fmla="*/ 327 h 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64" h="460">
                  <a:moveTo>
                    <a:pt x="516" y="173"/>
                  </a:moveTo>
                  <a:lnTo>
                    <a:pt x="473" y="45"/>
                  </a:lnTo>
                  <a:lnTo>
                    <a:pt x="473" y="45"/>
                  </a:lnTo>
                  <a:lnTo>
                    <a:pt x="470" y="36"/>
                  </a:lnTo>
                  <a:lnTo>
                    <a:pt x="464" y="28"/>
                  </a:lnTo>
                  <a:lnTo>
                    <a:pt x="457" y="20"/>
                  </a:lnTo>
                  <a:lnTo>
                    <a:pt x="451" y="13"/>
                  </a:lnTo>
                  <a:lnTo>
                    <a:pt x="443" y="8"/>
                  </a:lnTo>
                  <a:lnTo>
                    <a:pt x="433" y="4"/>
                  </a:lnTo>
                  <a:lnTo>
                    <a:pt x="424" y="0"/>
                  </a:lnTo>
                  <a:lnTo>
                    <a:pt x="414" y="0"/>
                  </a:lnTo>
                  <a:lnTo>
                    <a:pt x="150" y="0"/>
                  </a:lnTo>
                  <a:lnTo>
                    <a:pt x="150" y="0"/>
                  </a:lnTo>
                  <a:lnTo>
                    <a:pt x="140" y="0"/>
                  </a:lnTo>
                  <a:lnTo>
                    <a:pt x="131" y="4"/>
                  </a:lnTo>
                  <a:lnTo>
                    <a:pt x="123" y="8"/>
                  </a:lnTo>
                  <a:lnTo>
                    <a:pt x="113" y="13"/>
                  </a:lnTo>
                  <a:lnTo>
                    <a:pt x="107" y="20"/>
                  </a:lnTo>
                  <a:lnTo>
                    <a:pt x="100" y="28"/>
                  </a:lnTo>
                  <a:lnTo>
                    <a:pt x="94" y="36"/>
                  </a:lnTo>
                  <a:lnTo>
                    <a:pt x="91" y="45"/>
                  </a:lnTo>
                  <a:lnTo>
                    <a:pt x="49" y="173"/>
                  </a:lnTo>
                  <a:lnTo>
                    <a:pt x="49" y="173"/>
                  </a:lnTo>
                  <a:lnTo>
                    <a:pt x="40" y="174"/>
                  </a:lnTo>
                  <a:lnTo>
                    <a:pt x="30" y="177"/>
                  </a:lnTo>
                  <a:lnTo>
                    <a:pt x="22" y="184"/>
                  </a:lnTo>
                  <a:lnTo>
                    <a:pt x="14" y="190"/>
                  </a:lnTo>
                  <a:lnTo>
                    <a:pt x="9" y="197"/>
                  </a:lnTo>
                  <a:lnTo>
                    <a:pt x="5" y="206"/>
                  </a:lnTo>
                  <a:lnTo>
                    <a:pt x="1" y="214"/>
                  </a:lnTo>
                  <a:lnTo>
                    <a:pt x="0" y="225"/>
                  </a:lnTo>
                  <a:lnTo>
                    <a:pt x="0" y="382"/>
                  </a:lnTo>
                  <a:lnTo>
                    <a:pt x="65" y="382"/>
                  </a:lnTo>
                  <a:lnTo>
                    <a:pt x="65" y="420"/>
                  </a:lnTo>
                  <a:lnTo>
                    <a:pt x="65" y="420"/>
                  </a:lnTo>
                  <a:lnTo>
                    <a:pt x="67" y="428"/>
                  </a:lnTo>
                  <a:lnTo>
                    <a:pt x="68" y="436"/>
                  </a:lnTo>
                  <a:lnTo>
                    <a:pt x="73" y="442"/>
                  </a:lnTo>
                  <a:lnTo>
                    <a:pt x="78" y="449"/>
                  </a:lnTo>
                  <a:lnTo>
                    <a:pt x="83" y="453"/>
                  </a:lnTo>
                  <a:lnTo>
                    <a:pt x="91" y="456"/>
                  </a:lnTo>
                  <a:lnTo>
                    <a:pt x="99" y="460"/>
                  </a:lnTo>
                  <a:lnTo>
                    <a:pt x="107" y="460"/>
                  </a:lnTo>
                  <a:lnTo>
                    <a:pt x="107" y="460"/>
                  </a:lnTo>
                  <a:lnTo>
                    <a:pt x="115" y="460"/>
                  </a:lnTo>
                  <a:lnTo>
                    <a:pt x="121" y="456"/>
                  </a:lnTo>
                  <a:lnTo>
                    <a:pt x="129" y="453"/>
                  </a:lnTo>
                  <a:lnTo>
                    <a:pt x="134" y="449"/>
                  </a:lnTo>
                  <a:lnTo>
                    <a:pt x="138" y="442"/>
                  </a:lnTo>
                  <a:lnTo>
                    <a:pt x="143" y="436"/>
                  </a:lnTo>
                  <a:lnTo>
                    <a:pt x="145" y="428"/>
                  </a:lnTo>
                  <a:lnTo>
                    <a:pt x="146" y="420"/>
                  </a:lnTo>
                  <a:lnTo>
                    <a:pt x="146" y="382"/>
                  </a:lnTo>
                  <a:lnTo>
                    <a:pt x="418" y="382"/>
                  </a:lnTo>
                  <a:lnTo>
                    <a:pt x="418" y="420"/>
                  </a:lnTo>
                  <a:lnTo>
                    <a:pt x="418" y="420"/>
                  </a:lnTo>
                  <a:lnTo>
                    <a:pt x="419" y="428"/>
                  </a:lnTo>
                  <a:lnTo>
                    <a:pt x="421" y="436"/>
                  </a:lnTo>
                  <a:lnTo>
                    <a:pt x="426" y="442"/>
                  </a:lnTo>
                  <a:lnTo>
                    <a:pt x="430" y="449"/>
                  </a:lnTo>
                  <a:lnTo>
                    <a:pt x="437" y="453"/>
                  </a:lnTo>
                  <a:lnTo>
                    <a:pt x="443" y="456"/>
                  </a:lnTo>
                  <a:lnTo>
                    <a:pt x="451" y="460"/>
                  </a:lnTo>
                  <a:lnTo>
                    <a:pt x="459" y="460"/>
                  </a:lnTo>
                  <a:lnTo>
                    <a:pt x="459" y="460"/>
                  </a:lnTo>
                  <a:lnTo>
                    <a:pt x="467" y="460"/>
                  </a:lnTo>
                  <a:lnTo>
                    <a:pt x="473" y="456"/>
                  </a:lnTo>
                  <a:lnTo>
                    <a:pt x="481" y="453"/>
                  </a:lnTo>
                  <a:lnTo>
                    <a:pt x="486" y="449"/>
                  </a:lnTo>
                  <a:lnTo>
                    <a:pt x="492" y="442"/>
                  </a:lnTo>
                  <a:lnTo>
                    <a:pt x="496" y="436"/>
                  </a:lnTo>
                  <a:lnTo>
                    <a:pt x="497" y="428"/>
                  </a:lnTo>
                  <a:lnTo>
                    <a:pt x="499" y="420"/>
                  </a:lnTo>
                  <a:lnTo>
                    <a:pt x="499" y="382"/>
                  </a:lnTo>
                  <a:lnTo>
                    <a:pt x="564" y="382"/>
                  </a:lnTo>
                  <a:lnTo>
                    <a:pt x="564" y="225"/>
                  </a:lnTo>
                  <a:lnTo>
                    <a:pt x="564" y="225"/>
                  </a:lnTo>
                  <a:lnTo>
                    <a:pt x="563" y="214"/>
                  </a:lnTo>
                  <a:lnTo>
                    <a:pt x="559" y="206"/>
                  </a:lnTo>
                  <a:lnTo>
                    <a:pt x="556" y="197"/>
                  </a:lnTo>
                  <a:lnTo>
                    <a:pt x="550" y="190"/>
                  </a:lnTo>
                  <a:lnTo>
                    <a:pt x="542" y="184"/>
                  </a:lnTo>
                  <a:lnTo>
                    <a:pt x="534" y="177"/>
                  </a:lnTo>
                  <a:lnTo>
                    <a:pt x="526" y="174"/>
                  </a:lnTo>
                  <a:lnTo>
                    <a:pt x="516" y="173"/>
                  </a:lnTo>
                  <a:lnTo>
                    <a:pt x="516" y="173"/>
                  </a:lnTo>
                  <a:close/>
                  <a:moveTo>
                    <a:pt x="145" y="69"/>
                  </a:moveTo>
                  <a:lnTo>
                    <a:pt x="145" y="69"/>
                  </a:lnTo>
                  <a:lnTo>
                    <a:pt x="148" y="64"/>
                  </a:lnTo>
                  <a:lnTo>
                    <a:pt x="151" y="59"/>
                  </a:lnTo>
                  <a:lnTo>
                    <a:pt x="156" y="58"/>
                  </a:lnTo>
                  <a:lnTo>
                    <a:pt x="161" y="56"/>
                  </a:lnTo>
                  <a:lnTo>
                    <a:pt x="402" y="56"/>
                  </a:lnTo>
                  <a:lnTo>
                    <a:pt x="402" y="56"/>
                  </a:lnTo>
                  <a:lnTo>
                    <a:pt x="406" y="58"/>
                  </a:lnTo>
                  <a:lnTo>
                    <a:pt x="410" y="59"/>
                  </a:lnTo>
                  <a:lnTo>
                    <a:pt x="414" y="64"/>
                  </a:lnTo>
                  <a:lnTo>
                    <a:pt x="418" y="69"/>
                  </a:lnTo>
                  <a:lnTo>
                    <a:pt x="451" y="173"/>
                  </a:lnTo>
                  <a:lnTo>
                    <a:pt x="111" y="173"/>
                  </a:lnTo>
                  <a:lnTo>
                    <a:pt x="145" y="69"/>
                  </a:lnTo>
                  <a:close/>
                  <a:moveTo>
                    <a:pt x="146" y="327"/>
                  </a:moveTo>
                  <a:lnTo>
                    <a:pt x="146" y="327"/>
                  </a:lnTo>
                  <a:lnTo>
                    <a:pt x="137" y="326"/>
                  </a:lnTo>
                  <a:lnTo>
                    <a:pt x="129" y="323"/>
                  </a:lnTo>
                  <a:lnTo>
                    <a:pt x="121" y="319"/>
                  </a:lnTo>
                  <a:lnTo>
                    <a:pt x="113" y="313"/>
                  </a:lnTo>
                  <a:lnTo>
                    <a:pt x="108" y="307"/>
                  </a:lnTo>
                  <a:lnTo>
                    <a:pt x="103" y="299"/>
                  </a:lnTo>
                  <a:lnTo>
                    <a:pt x="100" y="289"/>
                  </a:lnTo>
                  <a:lnTo>
                    <a:pt x="99" y="280"/>
                  </a:lnTo>
                  <a:lnTo>
                    <a:pt x="99" y="280"/>
                  </a:lnTo>
                  <a:lnTo>
                    <a:pt x="100" y="270"/>
                  </a:lnTo>
                  <a:lnTo>
                    <a:pt x="103" y="260"/>
                  </a:lnTo>
                  <a:lnTo>
                    <a:pt x="108" y="252"/>
                  </a:lnTo>
                  <a:lnTo>
                    <a:pt x="113" y="246"/>
                  </a:lnTo>
                  <a:lnTo>
                    <a:pt x="121" y="240"/>
                  </a:lnTo>
                  <a:lnTo>
                    <a:pt x="129" y="236"/>
                  </a:lnTo>
                  <a:lnTo>
                    <a:pt x="137" y="233"/>
                  </a:lnTo>
                  <a:lnTo>
                    <a:pt x="146" y="232"/>
                  </a:lnTo>
                  <a:lnTo>
                    <a:pt x="146" y="232"/>
                  </a:lnTo>
                  <a:lnTo>
                    <a:pt x="156" y="233"/>
                  </a:lnTo>
                  <a:lnTo>
                    <a:pt x="166" y="236"/>
                  </a:lnTo>
                  <a:lnTo>
                    <a:pt x="174" y="240"/>
                  </a:lnTo>
                  <a:lnTo>
                    <a:pt x="180" y="246"/>
                  </a:lnTo>
                  <a:lnTo>
                    <a:pt x="186" y="252"/>
                  </a:lnTo>
                  <a:lnTo>
                    <a:pt x="191" y="260"/>
                  </a:lnTo>
                  <a:lnTo>
                    <a:pt x="193" y="270"/>
                  </a:lnTo>
                  <a:lnTo>
                    <a:pt x="194" y="280"/>
                  </a:lnTo>
                  <a:lnTo>
                    <a:pt x="194" y="280"/>
                  </a:lnTo>
                  <a:lnTo>
                    <a:pt x="193" y="289"/>
                  </a:lnTo>
                  <a:lnTo>
                    <a:pt x="191" y="299"/>
                  </a:lnTo>
                  <a:lnTo>
                    <a:pt x="186" y="307"/>
                  </a:lnTo>
                  <a:lnTo>
                    <a:pt x="180" y="313"/>
                  </a:lnTo>
                  <a:lnTo>
                    <a:pt x="174" y="319"/>
                  </a:lnTo>
                  <a:lnTo>
                    <a:pt x="166" y="323"/>
                  </a:lnTo>
                  <a:lnTo>
                    <a:pt x="156" y="326"/>
                  </a:lnTo>
                  <a:lnTo>
                    <a:pt x="146" y="327"/>
                  </a:lnTo>
                  <a:lnTo>
                    <a:pt x="146" y="327"/>
                  </a:lnTo>
                  <a:close/>
                  <a:moveTo>
                    <a:pt x="418" y="327"/>
                  </a:moveTo>
                  <a:lnTo>
                    <a:pt x="418" y="327"/>
                  </a:lnTo>
                  <a:lnTo>
                    <a:pt x="408" y="326"/>
                  </a:lnTo>
                  <a:lnTo>
                    <a:pt x="398" y="323"/>
                  </a:lnTo>
                  <a:lnTo>
                    <a:pt x="390" y="319"/>
                  </a:lnTo>
                  <a:lnTo>
                    <a:pt x="384" y="313"/>
                  </a:lnTo>
                  <a:lnTo>
                    <a:pt x="378" y="307"/>
                  </a:lnTo>
                  <a:lnTo>
                    <a:pt x="374" y="299"/>
                  </a:lnTo>
                  <a:lnTo>
                    <a:pt x="371" y="289"/>
                  </a:lnTo>
                  <a:lnTo>
                    <a:pt x="370" y="280"/>
                  </a:lnTo>
                  <a:lnTo>
                    <a:pt x="370" y="280"/>
                  </a:lnTo>
                  <a:lnTo>
                    <a:pt x="371" y="270"/>
                  </a:lnTo>
                  <a:lnTo>
                    <a:pt x="374" y="260"/>
                  </a:lnTo>
                  <a:lnTo>
                    <a:pt x="378" y="252"/>
                  </a:lnTo>
                  <a:lnTo>
                    <a:pt x="384" y="246"/>
                  </a:lnTo>
                  <a:lnTo>
                    <a:pt x="390" y="240"/>
                  </a:lnTo>
                  <a:lnTo>
                    <a:pt x="398" y="236"/>
                  </a:lnTo>
                  <a:lnTo>
                    <a:pt x="408" y="233"/>
                  </a:lnTo>
                  <a:lnTo>
                    <a:pt x="418" y="232"/>
                  </a:lnTo>
                  <a:lnTo>
                    <a:pt x="418" y="232"/>
                  </a:lnTo>
                  <a:lnTo>
                    <a:pt x="427" y="233"/>
                  </a:lnTo>
                  <a:lnTo>
                    <a:pt x="437" y="236"/>
                  </a:lnTo>
                  <a:lnTo>
                    <a:pt x="445" y="240"/>
                  </a:lnTo>
                  <a:lnTo>
                    <a:pt x="451" y="246"/>
                  </a:lnTo>
                  <a:lnTo>
                    <a:pt x="457" y="252"/>
                  </a:lnTo>
                  <a:lnTo>
                    <a:pt x="461" y="260"/>
                  </a:lnTo>
                  <a:lnTo>
                    <a:pt x="464" y="270"/>
                  </a:lnTo>
                  <a:lnTo>
                    <a:pt x="465" y="280"/>
                  </a:lnTo>
                  <a:lnTo>
                    <a:pt x="465" y="280"/>
                  </a:lnTo>
                  <a:lnTo>
                    <a:pt x="464" y="289"/>
                  </a:lnTo>
                  <a:lnTo>
                    <a:pt x="461" y="299"/>
                  </a:lnTo>
                  <a:lnTo>
                    <a:pt x="457" y="307"/>
                  </a:lnTo>
                  <a:lnTo>
                    <a:pt x="451" y="313"/>
                  </a:lnTo>
                  <a:lnTo>
                    <a:pt x="445" y="319"/>
                  </a:lnTo>
                  <a:lnTo>
                    <a:pt x="437" y="323"/>
                  </a:lnTo>
                  <a:lnTo>
                    <a:pt x="427" y="326"/>
                  </a:lnTo>
                  <a:lnTo>
                    <a:pt x="418" y="327"/>
                  </a:lnTo>
                  <a:lnTo>
                    <a:pt x="418" y="327"/>
                  </a:lnTo>
                  <a:close/>
                </a:path>
              </a:pathLst>
            </a:custGeom>
            <a:solidFill>
              <a:srgbClr val="00BC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fontAlgn="base"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solidFill>
                  <a:srgbClr val="282828"/>
                </a:solidFill>
                <a:latin typeface="Arial" charset="0"/>
                <a:ea typeface="ＭＳ Ｐゴシック" charset="0"/>
              </a:endParaRPr>
            </a:p>
          </p:txBody>
        </p:sp>
      </p:grpSp>
      <p:sp>
        <p:nvSpPr>
          <p:cNvPr id="59" name="Oval 58"/>
          <p:cNvSpPr>
            <a:spLocks noChangeAspect="1"/>
          </p:cNvSpPr>
          <p:nvPr/>
        </p:nvSpPr>
        <p:spPr>
          <a:xfrm>
            <a:off x="7121372" y="1374899"/>
            <a:ext cx="758952" cy="758952"/>
          </a:xfrm>
          <a:prstGeom prst="ellipse">
            <a:avLst/>
          </a:prstGeom>
          <a:solidFill>
            <a:srgbClr val="00507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grpSp>
        <p:nvGrpSpPr>
          <p:cNvPr id="64" name="Group 63"/>
          <p:cNvGrpSpPr/>
          <p:nvPr/>
        </p:nvGrpSpPr>
        <p:grpSpPr>
          <a:xfrm>
            <a:off x="5244490" y="3032050"/>
            <a:ext cx="758952" cy="758952"/>
            <a:chOff x="5251415" y="3018638"/>
            <a:chExt cx="758952" cy="758952"/>
          </a:xfrm>
        </p:grpSpPr>
        <p:pic>
          <p:nvPicPr>
            <p:cNvPr id="62" name="Picture 61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51415" y="3018638"/>
              <a:ext cx="758952" cy="758952"/>
            </a:xfrm>
            <a:prstGeom prst="rect">
              <a:avLst/>
            </a:prstGeom>
          </p:spPr>
        </p:pic>
        <p:sp>
          <p:nvSpPr>
            <p:cNvPr id="63" name="Freeform 690"/>
            <p:cNvSpPr>
              <a:spLocks noChangeAspect="1"/>
            </p:cNvSpPr>
            <p:nvPr/>
          </p:nvSpPr>
          <p:spPr bwMode="auto">
            <a:xfrm>
              <a:off x="5663474" y="3130503"/>
              <a:ext cx="195283" cy="186115"/>
            </a:xfrm>
            <a:custGeom>
              <a:avLst/>
              <a:gdLst>
                <a:gd name="T0" fmla="*/ 83 w 90"/>
                <a:gd name="T1" fmla="*/ 4 h 86"/>
                <a:gd name="T2" fmla="*/ 83 w 90"/>
                <a:gd name="T3" fmla="*/ 4 h 86"/>
                <a:gd name="T4" fmla="*/ 66 w 90"/>
                <a:gd name="T5" fmla="*/ 7 h 86"/>
                <a:gd name="T6" fmla="*/ 37 w 90"/>
                <a:gd name="T7" fmla="*/ 52 h 86"/>
                <a:gd name="T8" fmla="*/ 25 w 90"/>
                <a:gd name="T9" fmla="*/ 34 h 86"/>
                <a:gd name="T10" fmla="*/ 8 w 90"/>
                <a:gd name="T11" fmla="*/ 30 h 86"/>
                <a:gd name="T12" fmla="*/ 4 w 90"/>
                <a:gd name="T13" fmla="*/ 48 h 86"/>
                <a:gd name="T14" fmla="*/ 26 w 90"/>
                <a:gd name="T15" fmla="*/ 81 h 86"/>
                <a:gd name="T16" fmla="*/ 31 w 90"/>
                <a:gd name="T17" fmla="*/ 85 h 86"/>
                <a:gd name="T18" fmla="*/ 36 w 90"/>
                <a:gd name="T19" fmla="*/ 86 h 86"/>
                <a:gd name="T20" fmla="*/ 36 w 90"/>
                <a:gd name="T21" fmla="*/ 86 h 86"/>
                <a:gd name="T22" fmla="*/ 36 w 90"/>
                <a:gd name="T23" fmla="*/ 86 h 86"/>
                <a:gd name="T24" fmla="*/ 37 w 90"/>
                <a:gd name="T25" fmla="*/ 86 h 86"/>
                <a:gd name="T26" fmla="*/ 37 w 90"/>
                <a:gd name="T27" fmla="*/ 86 h 86"/>
                <a:gd name="T28" fmla="*/ 37 w 90"/>
                <a:gd name="T29" fmla="*/ 86 h 86"/>
                <a:gd name="T30" fmla="*/ 37 w 90"/>
                <a:gd name="T31" fmla="*/ 86 h 86"/>
                <a:gd name="T32" fmla="*/ 42 w 90"/>
                <a:gd name="T33" fmla="*/ 85 h 86"/>
                <a:gd name="T34" fmla="*/ 47 w 90"/>
                <a:gd name="T35" fmla="*/ 81 h 86"/>
                <a:gd name="T36" fmla="*/ 87 w 90"/>
                <a:gd name="T37" fmla="*/ 21 h 86"/>
                <a:gd name="T38" fmla="*/ 83 w 90"/>
                <a:gd name="T39" fmla="*/ 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" h="86">
                  <a:moveTo>
                    <a:pt x="83" y="4"/>
                  </a:moveTo>
                  <a:cubicBezTo>
                    <a:pt x="83" y="4"/>
                    <a:pt x="83" y="4"/>
                    <a:pt x="83" y="4"/>
                  </a:cubicBezTo>
                  <a:cubicBezTo>
                    <a:pt x="78" y="0"/>
                    <a:pt x="70" y="2"/>
                    <a:pt x="66" y="7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1" y="28"/>
                    <a:pt x="13" y="27"/>
                    <a:pt x="8" y="30"/>
                  </a:cubicBezTo>
                  <a:cubicBezTo>
                    <a:pt x="2" y="34"/>
                    <a:pt x="0" y="42"/>
                    <a:pt x="4" y="48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7" y="83"/>
                    <a:pt x="29" y="84"/>
                    <a:pt x="31" y="85"/>
                  </a:cubicBezTo>
                  <a:cubicBezTo>
                    <a:pt x="33" y="86"/>
                    <a:pt x="34" y="86"/>
                    <a:pt x="36" y="86"/>
                  </a:cubicBezTo>
                  <a:cubicBezTo>
                    <a:pt x="36" y="86"/>
                    <a:pt x="36" y="86"/>
                    <a:pt x="36" y="86"/>
                  </a:cubicBezTo>
                  <a:cubicBezTo>
                    <a:pt x="36" y="86"/>
                    <a:pt x="36" y="86"/>
                    <a:pt x="36" y="86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39" y="86"/>
                    <a:pt x="40" y="86"/>
                    <a:pt x="42" y="85"/>
                  </a:cubicBezTo>
                  <a:cubicBezTo>
                    <a:pt x="44" y="84"/>
                    <a:pt x="46" y="83"/>
                    <a:pt x="47" y="81"/>
                  </a:cubicBezTo>
                  <a:cubicBezTo>
                    <a:pt x="87" y="21"/>
                    <a:pt x="87" y="21"/>
                    <a:pt x="87" y="21"/>
                  </a:cubicBezTo>
                  <a:cubicBezTo>
                    <a:pt x="90" y="15"/>
                    <a:pt x="89" y="8"/>
                    <a:pt x="83" y="4"/>
                  </a:cubicBezTo>
                </a:path>
              </a:pathLst>
            </a:custGeom>
            <a:solidFill>
              <a:srgbClr val="FBB33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4" name="Group 183"/>
          <p:cNvGrpSpPr/>
          <p:nvPr/>
        </p:nvGrpSpPr>
        <p:grpSpPr>
          <a:xfrm>
            <a:off x="1298026" y="1374899"/>
            <a:ext cx="758952" cy="758952"/>
            <a:chOff x="1537155" y="1405136"/>
            <a:chExt cx="758952" cy="758952"/>
          </a:xfrm>
        </p:grpSpPr>
        <p:sp>
          <p:nvSpPr>
            <p:cNvPr id="66" name="Oval 65"/>
            <p:cNvSpPr>
              <a:spLocks noChangeAspect="1"/>
            </p:cNvSpPr>
            <p:nvPr/>
          </p:nvSpPr>
          <p:spPr>
            <a:xfrm>
              <a:off x="1537155" y="1405136"/>
              <a:ext cx="758952" cy="758952"/>
            </a:xfrm>
            <a:prstGeom prst="ellipse">
              <a:avLst/>
            </a:prstGeom>
            <a:solidFill>
              <a:srgbClr val="00507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grpSp>
          <p:nvGrpSpPr>
            <p:cNvPr id="181" name="Group 180"/>
            <p:cNvGrpSpPr/>
            <p:nvPr/>
          </p:nvGrpSpPr>
          <p:grpSpPr>
            <a:xfrm>
              <a:off x="1694072" y="1570063"/>
              <a:ext cx="458180" cy="440758"/>
              <a:chOff x="9463090" y="6346031"/>
              <a:chExt cx="417513" cy="401638"/>
            </a:xfrm>
            <a:solidFill>
              <a:srgbClr val="FBB330"/>
            </a:solidFill>
            <a:effectLst/>
          </p:grpSpPr>
          <p:sp>
            <p:nvSpPr>
              <p:cNvPr id="182" name="Freeform 421"/>
              <p:cNvSpPr>
                <a:spLocks/>
              </p:cNvSpPr>
              <p:nvPr/>
            </p:nvSpPr>
            <p:spPr bwMode="auto">
              <a:xfrm>
                <a:off x="9609140" y="6346031"/>
                <a:ext cx="271463" cy="290513"/>
              </a:xfrm>
              <a:custGeom>
                <a:avLst/>
                <a:gdLst>
                  <a:gd name="T0" fmla="*/ 698 w 1193"/>
                  <a:gd name="T1" fmla="*/ 295 h 1279"/>
                  <a:gd name="T2" fmla="*/ 636 w 1193"/>
                  <a:gd name="T3" fmla="*/ 0 h 1279"/>
                  <a:gd name="T4" fmla="*/ 636 w 1193"/>
                  <a:gd name="T5" fmla="*/ 974 h 1279"/>
                  <a:gd name="T6" fmla="*/ 637 w 1193"/>
                  <a:gd name="T7" fmla="*/ 650 h 1279"/>
                  <a:gd name="T8" fmla="*/ 684 w 1193"/>
                  <a:gd name="T9" fmla="*/ 653 h 1279"/>
                  <a:gd name="T10" fmla="*/ 730 w 1193"/>
                  <a:gd name="T11" fmla="*/ 664 h 1279"/>
                  <a:gd name="T12" fmla="*/ 772 w 1193"/>
                  <a:gd name="T13" fmla="*/ 680 h 1279"/>
                  <a:gd name="T14" fmla="*/ 811 w 1193"/>
                  <a:gd name="T15" fmla="*/ 703 h 1279"/>
                  <a:gd name="T16" fmla="*/ 846 w 1193"/>
                  <a:gd name="T17" fmla="*/ 730 h 1279"/>
                  <a:gd name="T18" fmla="*/ 877 w 1193"/>
                  <a:gd name="T19" fmla="*/ 763 h 1279"/>
                  <a:gd name="T20" fmla="*/ 904 w 1193"/>
                  <a:gd name="T21" fmla="*/ 799 h 1279"/>
                  <a:gd name="T22" fmla="*/ 924 w 1193"/>
                  <a:gd name="T23" fmla="*/ 839 h 1279"/>
                  <a:gd name="T24" fmla="*/ 938 w 1193"/>
                  <a:gd name="T25" fmla="*/ 883 h 1279"/>
                  <a:gd name="T26" fmla="*/ 946 w 1193"/>
                  <a:gd name="T27" fmla="*/ 929 h 1279"/>
                  <a:gd name="T28" fmla="*/ 948 w 1193"/>
                  <a:gd name="T29" fmla="*/ 961 h 1279"/>
                  <a:gd name="T30" fmla="*/ 944 w 1193"/>
                  <a:gd name="T31" fmla="*/ 1008 h 1279"/>
                  <a:gd name="T32" fmla="*/ 934 w 1193"/>
                  <a:gd name="T33" fmla="*/ 1052 h 1279"/>
                  <a:gd name="T34" fmla="*/ 918 w 1193"/>
                  <a:gd name="T35" fmla="*/ 1094 h 1279"/>
                  <a:gd name="T36" fmla="*/ 895 w 1193"/>
                  <a:gd name="T37" fmla="*/ 1133 h 1279"/>
                  <a:gd name="T38" fmla="*/ 869 w 1193"/>
                  <a:gd name="T39" fmla="*/ 1169 h 1279"/>
                  <a:gd name="T40" fmla="*/ 836 w 1193"/>
                  <a:gd name="T41" fmla="*/ 1199 h 1279"/>
                  <a:gd name="T42" fmla="*/ 801 w 1193"/>
                  <a:gd name="T43" fmla="*/ 1226 h 1279"/>
                  <a:gd name="T44" fmla="*/ 761 w 1193"/>
                  <a:gd name="T45" fmla="*/ 1246 h 1279"/>
                  <a:gd name="T46" fmla="*/ 718 w 1193"/>
                  <a:gd name="T47" fmla="*/ 1261 h 1279"/>
                  <a:gd name="T48" fmla="*/ 672 w 1193"/>
                  <a:gd name="T49" fmla="*/ 1270 h 1279"/>
                  <a:gd name="T50" fmla="*/ 640 w 1193"/>
                  <a:gd name="T51" fmla="*/ 1272 h 1279"/>
                  <a:gd name="T52" fmla="*/ 703 w 1193"/>
                  <a:gd name="T53" fmla="*/ 1278 h 1279"/>
                  <a:gd name="T54" fmla="*/ 748 w 1193"/>
                  <a:gd name="T55" fmla="*/ 1278 h 1279"/>
                  <a:gd name="T56" fmla="*/ 818 w 1193"/>
                  <a:gd name="T57" fmla="*/ 1270 h 1279"/>
                  <a:gd name="T58" fmla="*/ 885 w 1193"/>
                  <a:gd name="T59" fmla="*/ 1250 h 1279"/>
                  <a:gd name="T60" fmla="*/ 947 w 1193"/>
                  <a:gd name="T61" fmla="*/ 1222 h 1279"/>
                  <a:gd name="T62" fmla="*/ 1005 w 1193"/>
                  <a:gd name="T63" fmla="*/ 1185 h 1279"/>
                  <a:gd name="T64" fmla="*/ 1056 w 1193"/>
                  <a:gd name="T65" fmla="*/ 1141 h 1279"/>
                  <a:gd name="T66" fmla="*/ 1100 w 1193"/>
                  <a:gd name="T67" fmla="*/ 1090 h 1279"/>
                  <a:gd name="T68" fmla="*/ 1137 w 1193"/>
                  <a:gd name="T69" fmla="*/ 1033 h 1279"/>
                  <a:gd name="T70" fmla="*/ 1165 w 1193"/>
                  <a:gd name="T71" fmla="*/ 970 h 1279"/>
                  <a:gd name="T72" fmla="*/ 1184 w 1193"/>
                  <a:gd name="T73" fmla="*/ 904 h 1279"/>
                  <a:gd name="T74" fmla="*/ 1193 w 1193"/>
                  <a:gd name="T75" fmla="*/ 833 h 1279"/>
                  <a:gd name="T76" fmla="*/ 1193 w 1193"/>
                  <a:gd name="T77" fmla="*/ 784 h 1279"/>
                  <a:gd name="T78" fmla="*/ 1184 w 1193"/>
                  <a:gd name="T79" fmla="*/ 714 h 1279"/>
                  <a:gd name="T80" fmla="*/ 1165 w 1193"/>
                  <a:gd name="T81" fmla="*/ 646 h 1279"/>
                  <a:gd name="T82" fmla="*/ 1136 w 1193"/>
                  <a:gd name="T83" fmla="*/ 583 h 1279"/>
                  <a:gd name="T84" fmla="*/ 1099 w 1193"/>
                  <a:gd name="T85" fmla="*/ 524 h 1279"/>
                  <a:gd name="T86" fmla="*/ 1054 w 1193"/>
                  <a:gd name="T87" fmla="*/ 470 h 1279"/>
                  <a:gd name="T88" fmla="*/ 1004 w 1193"/>
                  <a:gd name="T89" fmla="*/ 423 h 1279"/>
                  <a:gd name="T90" fmla="*/ 946 w 1193"/>
                  <a:gd name="T91" fmla="*/ 381 h 1279"/>
                  <a:gd name="T92" fmla="*/ 884 w 1193"/>
                  <a:gd name="T93" fmla="*/ 347 h 1279"/>
                  <a:gd name="T94" fmla="*/ 817 w 1193"/>
                  <a:gd name="T95" fmla="*/ 320 h 1279"/>
                  <a:gd name="T96" fmla="*/ 748 w 1193"/>
                  <a:gd name="T97" fmla="*/ 303 h 1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93" h="1279">
                    <a:moveTo>
                      <a:pt x="723" y="298"/>
                    </a:moveTo>
                    <a:lnTo>
                      <a:pt x="723" y="298"/>
                    </a:lnTo>
                    <a:lnTo>
                      <a:pt x="698" y="295"/>
                    </a:lnTo>
                    <a:lnTo>
                      <a:pt x="669" y="293"/>
                    </a:lnTo>
                    <a:lnTo>
                      <a:pt x="636" y="289"/>
                    </a:lnTo>
                    <a:lnTo>
                      <a:pt x="636" y="0"/>
                    </a:lnTo>
                    <a:lnTo>
                      <a:pt x="318" y="244"/>
                    </a:lnTo>
                    <a:lnTo>
                      <a:pt x="0" y="486"/>
                    </a:lnTo>
                    <a:lnTo>
                      <a:pt x="636" y="974"/>
                    </a:lnTo>
                    <a:lnTo>
                      <a:pt x="636" y="650"/>
                    </a:lnTo>
                    <a:lnTo>
                      <a:pt x="637" y="650"/>
                    </a:lnTo>
                    <a:lnTo>
                      <a:pt x="637" y="650"/>
                    </a:lnTo>
                    <a:lnTo>
                      <a:pt x="654" y="650"/>
                    </a:lnTo>
                    <a:lnTo>
                      <a:pt x="669" y="652"/>
                    </a:lnTo>
                    <a:lnTo>
                      <a:pt x="684" y="653"/>
                    </a:lnTo>
                    <a:lnTo>
                      <a:pt x="700" y="656"/>
                    </a:lnTo>
                    <a:lnTo>
                      <a:pt x="715" y="660"/>
                    </a:lnTo>
                    <a:lnTo>
                      <a:pt x="730" y="664"/>
                    </a:lnTo>
                    <a:lnTo>
                      <a:pt x="744" y="668"/>
                    </a:lnTo>
                    <a:lnTo>
                      <a:pt x="759" y="674"/>
                    </a:lnTo>
                    <a:lnTo>
                      <a:pt x="772" y="680"/>
                    </a:lnTo>
                    <a:lnTo>
                      <a:pt x="785" y="687"/>
                    </a:lnTo>
                    <a:lnTo>
                      <a:pt x="799" y="694"/>
                    </a:lnTo>
                    <a:lnTo>
                      <a:pt x="811" y="703"/>
                    </a:lnTo>
                    <a:lnTo>
                      <a:pt x="823" y="712"/>
                    </a:lnTo>
                    <a:lnTo>
                      <a:pt x="835" y="721"/>
                    </a:lnTo>
                    <a:lnTo>
                      <a:pt x="846" y="730"/>
                    </a:lnTo>
                    <a:lnTo>
                      <a:pt x="858" y="740"/>
                    </a:lnTo>
                    <a:lnTo>
                      <a:pt x="868" y="752"/>
                    </a:lnTo>
                    <a:lnTo>
                      <a:pt x="877" y="763"/>
                    </a:lnTo>
                    <a:lnTo>
                      <a:pt x="886" y="774"/>
                    </a:lnTo>
                    <a:lnTo>
                      <a:pt x="895" y="786"/>
                    </a:lnTo>
                    <a:lnTo>
                      <a:pt x="904" y="799"/>
                    </a:lnTo>
                    <a:lnTo>
                      <a:pt x="911" y="813"/>
                    </a:lnTo>
                    <a:lnTo>
                      <a:pt x="918" y="826"/>
                    </a:lnTo>
                    <a:lnTo>
                      <a:pt x="924" y="839"/>
                    </a:lnTo>
                    <a:lnTo>
                      <a:pt x="929" y="854"/>
                    </a:lnTo>
                    <a:lnTo>
                      <a:pt x="934" y="868"/>
                    </a:lnTo>
                    <a:lnTo>
                      <a:pt x="938" y="883"/>
                    </a:lnTo>
                    <a:lnTo>
                      <a:pt x="942" y="898"/>
                    </a:lnTo>
                    <a:lnTo>
                      <a:pt x="944" y="914"/>
                    </a:lnTo>
                    <a:lnTo>
                      <a:pt x="946" y="929"/>
                    </a:lnTo>
                    <a:lnTo>
                      <a:pt x="948" y="944"/>
                    </a:lnTo>
                    <a:lnTo>
                      <a:pt x="948" y="961"/>
                    </a:lnTo>
                    <a:lnTo>
                      <a:pt x="948" y="961"/>
                    </a:lnTo>
                    <a:lnTo>
                      <a:pt x="948" y="977"/>
                    </a:lnTo>
                    <a:lnTo>
                      <a:pt x="946" y="992"/>
                    </a:lnTo>
                    <a:lnTo>
                      <a:pt x="944" y="1008"/>
                    </a:lnTo>
                    <a:lnTo>
                      <a:pt x="942" y="1023"/>
                    </a:lnTo>
                    <a:lnTo>
                      <a:pt x="938" y="1038"/>
                    </a:lnTo>
                    <a:lnTo>
                      <a:pt x="934" y="1052"/>
                    </a:lnTo>
                    <a:lnTo>
                      <a:pt x="930" y="1067"/>
                    </a:lnTo>
                    <a:lnTo>
                      <a:pt x="924" y="1081"/>
                    </a:lnTo>
                    <a:lnTo>
                      <a:pt x="918" y="1094"/>
                    </a:lnTo>
                    <a:lnTo>
                      <a:pt x="912" y="1108"/>
                    </a:lnTo>
                    <a:lnTo>
                      <a:pt x="904" y="1121"/>
                    </a:lnTo>
                    <a:lnTo>
                      <a:pt x="895" y="1133"/>
                    </a:lnTo>
                    <a:lnTo>
                      <a:pt x="887" y="1145"/>
                    </a:lnTo>
                    <a:lnTo>
                      <a:pt x="878" y="1157"/>
                    </a:lnTo>
                    <a:lnTo>
                      <a:pt x="869" y="1169"/>
                    </a:lnTo>
                    <a:lnTo>
                      <a:pt x="859" y="1179"/>
                    </a:lnTo>
                    <a:lnTo>
                      <a:pt x="847" y="1189"/>
                    </a:lnTo>
                    <a:lnTo>
                      <a:pt x="836" y="1199"/>
                    </a:lnTo>
                    <a:lnTo>
                      <a:pt x="825" y="1208"/>
                    </a:lnTo>
                    <a:lnTo>
                      <a:pt x="813" y="1218"/>
                    </a:lnTo>
                    <a:lnTo>
                      <a:pt x="801" y="1226"/>
                    </a:lnTo>
                    <a:lnTo>
                      <a:pt x="787" y="1233"/>
                    </a:lnTo>
                    <a:lnTo>
                      <a:pt x="774" y="1240"/>
                    </a:lnTo>
                    <a:lnTo>
                      <a:pt x="761" y="1246"/>
                    </a:lnTo>
                    <a:lnTo>
                      <a:pt x="747" y="1251"/>
                    </a:lnTo>
                    <a:lnTo>
                      <a:pt x="732" y="1256"/>
                    </a:lnTo>
                    <a:lnTo>
                      <a:pt x="718" y="1261"/>
                    </a:lnTo>
                    <a:lnTo>
                      <a:pt x="703" y="1265"/>
                    </a:lnTo>
                    <a:lnTo>
                      <a:pt x="687" y="1268"/>
                    </a:lnTo>
                    <a:lnTo>
                      <a:pt x="672" y="1270"/>
                    </a:lnTo>
                    <a:lnTo>
                      <a:pt x="657" y="1271"/>
                    </a:lnTo>
                    <a:lnTo>
                      <a:pt x="640" y="1272"/>
                    </a:lnTo>
                    <a:lnTo>
                      <a:pt x="640" y="1272"/>
                    </a:lnTo>
                    <a:lnTo>
                      <a:pt x="661" y="1275"/>
                    </a:lnTo>
                    <a:lnTo>
                      <a:pt x="681" y="1277"/>
                    </a:lnTo>
                    <a:lnTo>
                      <a:pt x="703" y="1278"/>
                    </a:lnTo>
                    <a:lnTo>
                      <a:pt x="723" y="1279"/>
                    </a:lnTo>
                    <a:lnTo>
                      <a:pt x="723" y="1279"/>
                    </a:lnTo>
                    <a:lnTo>
                      <a:pt x="748" y="1278"/>
                    </a:lnTo>
                    <a:lnTo>
                      <a:pt x="772" y="1277"/>
                    </a:lnTo>
                    <a:lnTo>
                      <a:pt x="795" y="1274"/>
                    </a:lnTo>
                    <a:lnTo>
                      <a:pt x="818" y="1270"/>
                    </a:lnTo>
                    <a:lnTo>
                      <a:pt x="841" y="1264"/>
                    </a:lnTo>
                    <a:lnTo>
                      <a:pt x="864" y="1257"/>
                    </a:lnTo>
                    <a:lnTo>
                      <a:pt x="885" y="1250"/>
                    </a:lnTo>
                    <a:lnTo>
                      <a:pt x="907" y="1242"/>
                    </a:lnTo>
                    <a:lnTo>
                      <a:pt x="927" y="1232"/>
                    </a:lnTo>
                    <a:lnTo>
                      <a:pt x="947" y="1222"/>
                    </a:lnTo>
                    <a:lnTo>
                      <a:pt x="967" y="1211"/>
                    </a:lnTo>
                    <a:lnTo>
                      <a:pt x="986" y="1198"/>
                    </a:lnTo>
                    <a:lnTo>
                      <a:pt x="1005" y="1185"/>
                    </a:lnTo>
                    <a:lnTo>
                      <a:pt x="1023" y="1172"/>
                    </a:lnTo>
                    <a:lnTo>
                      <a:pt x="1039" y="1156"/>
                    </a:lnTo>
                    <a:lnTo>
                      <a:pt x="1056" y="1141"/>
                    </a:lnTo>
                    <a:lnTo>
                      <a:pt x="1072" y="1125"/>
                    </a:lnTo>
                    <a:lnTo>
                      <a:pt x="1086" y="1108"/>
                    </a:lnTo>
                    <a:lnTo>
                      <a:pt x="1100" y="1090"/>
                    </a:lnTo>
                    <a:lnTo>
                      <a:pt x="1114" y="1072"/>
                    </a:lnTo>
                    <a:lnTo>
                      <a:pt x="1126" y="1052"/>
                    </a:lnTo>
                    <a:lnTo>
                      <a:pt x="1137" y="1033"/>
                    </a:lnTo>
                    <a:lnTo>
                      <a:pt x="1147" y="1013"/>
                    </a:lnTo>
                    <a:lnTo>
                      <a:pt x="1156" y="991"/>
                    </a:lnTo>
                    <a:lnTo>
                      <a:pt x="1165" y="970"/>
                    </a:lnTo>
                    <a:lnTo>
                      <a:pt x="1173" y="948"/>
                    </a:lnTo>
                    <a:lnTo>
                      <a:pt x="1179" y="926"/>
                    </a:lnTo>
                    <a:lnTo>
                      <a:pt x="1184" y="904"/>
                    </a:lnTo>
                    <a:lnTo>
                      <a:pt x="1188" y="880"/>
                    </a:lnTo>
                    <a:lnTo>
                      <a:pt x="1191" y="857"/>
                    </a:lnTo>
                    <a:lnTo>
                      <a:pt x="1193" y="833"/>
                    </a:lnTo>
                    <a:lnTo>
                      <a:pt x="1193" y="809"/>
                    </a:lnTo>
                    <a:lnTo>
                      <a:pt x="1193" y="809"/>
                    </a:lnTo>
                    <a:lnTo>
                      <a:pt x="1193" y="784"/>
                    </a:lnTo>
                    <a:lnTo>
                      <a:pt x="1191" y="761"/>
                    </a:lnTo>
                    <a:lnTo>
                      <a:pt x="1188" y="737"/>
                    </a:lnTo>
                    <a:lnTo>
                      <a:pt x="1184" y="714"/>
                    </a:lnTo>
                    <a:lnTo>
                      <a:pt x="1179" y="691"/>
                    </a:lnTo>
                    <a:lnTo>
                      <a:pt x="1172" y="668"/>
                    </a:lnTo>
                    <a:lnTo>
                      <a:pt x="1165" y="646"/>
                    </a:lnTo>
                    <a:lnTo>
                      <a:pt x="1156" y="625"/>
                    </a:lnTo>
                    <a:lnTo>
                      <a:pt x="1146" y="604"/>
                    </a:lnTo>
                    <a:lnTo>
                      <a:pt x="1136" y="583"/>
                    </a:lnTo>
                    <a:lnTo>
                      <a:pt x="1125" y="563"/>
                    </a:lnTo>
                    <a:lnTo>
                      <a:pt x="1113" y="543"/>
                    </a:lnTo>
                    <a:lnTo>
                      <a:pt x="1099" y="524"/>
                    </a:lnTo>
                    <a:lnTo>
                      <a:pt x="1085" y="506"/>
                    </a:lnTo>
                    <a:lnTo>
                      <a:pt x="1071" y="487"/>
                    </a:lnTo>
                    <a:lnTo>
                      <a:pt x="1054" y="470"/>
                    </a:lnTo>
                    <a:lnTo>
                      <a:pt x="1038" y="454"/>
                    </a:lnTo>
                    <a:lnTo>
                      <a:pt x="1021" y="438"/>
                    </a:lnTo>
                    <a:lnTo>
                      <a:pt x="1004" y="423"/>
                    </a:lnTo>
                    <a:lnTo>
                      <a:pt x="985" y="408"/>
                    </a:lnTo>
                    <a:lnTo>
                      <a:pt x="966" y="395"/>
                    </a:lnTo>
                    <a:lnTo>
                      <a:pt x="946" y="381"/>
                    </a:lnTo>
                    <a:lnTo>
                      <a:pt x="926" y="369"/>
                    </a:lnTo>
                    <a:lnTo>
                      <a:pt x="906" y="358"/>
                    </a:lnTo>
                    <a:lnTo>
                      <a:pt x="884" y="347"/>
                    </a:lnTo>
                    <a:lnTo>
                      <a:pt x="862" y="337"/>
                    </a:lnTo>
                    <a:lnTo>
                      <a:pt x="840" y="328"/>
                    </a:lnTo>
                    <a:lnTo>
                      <a:pt x="817" y="320"/>
                    </a:lnTo>
                    <a:lnTo>
                      <a:pt x="794" y="314"/>
                    </a:lnTo>
                    <a:lnTo>
                      <a:pt x="771" y="308"/>
                    </a:lnTo>
                    <a:lnTo>
                      <a:pt x="748" y="303"/>
                    </a:lnTo>
                    <a:lnTo>
                      <a:pt x="723" y="298"/>
                    </a:lnTo>
                    <a:lnTo>
                      <a:pt x="723" y="2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3" name="Freeform 422"/>
              <p:cNvSpPr>
                <a:spLocks/>
              </p:cNvSpPr>
              <p:nvPr/>
            </p:nvSpPr>
            <p:spPr bwMode="auto">
              <a:xfrm>
                <a:off x="9463090" y="6457156"/>
                <a:ext cx="269875" cy="290513"/>
              </a:xfrm>
              <a:custGeom>
                <a:avLst/>
                <a:gdLst>
                  <a:gd name="T0" fmla="*/ 495 w 1193"/>
                  <a:gd name="T1" fmla="*/ 985 h 1280"/>
                  <a:gd name="T2" fmla="*/ 556 w 1193"/>
                  <a:gd name="T3" fmla="*/ 1280 h 1280"/>
                  <a:gd name="T4" fmla="*/ 556 w 1193"/>
                  <a:gd name="T5" fmla="*/ 305 h 1280"/>
                  <a:gd name="T6" fmla="*/ 555 w 1193"/>
                  <a:gd name="T7" fmla="*/ 630 h 1280"/>
                  <a:gd name="T8" fmla="*/ 508 w 1193"/>
                  <a:gd name="T9" fmla="*/ 627 h 1280"/>
                  <a:gd name="T10" fmla="*/ 464 w 1193"/>
                  <a:gd name="T11" fmla="*/ 617 h 1280"/>
                  <a:gd name="T12" fmla="*/ 421 w 1193"/>
                  <a:gd name="T13" fmla="*/ 599 h 1280"/>
                  <a:gd name="T14" fmla="*/ 382 w 1193"/>
                  <a:gd name="T15" fmla="*/ 577 h 1280"/>
                  <a:gd name="T16" fmla="*/ 346 w 1193"/>
                  <a:gd name="T17" fmla="*/ 549 h 1280"/>
                  <a:gd name="T18" fmla="*/ 316 w 1193"/>
                  <a:gd name="T19" fmla="*/ 517 h 1280"/>
                  <a:gd name="T20" fmla="*/ 289 w 1193"/>
                  <a:gd name="T21" fmla="*/ 481 h 1280"/>
                  <a:gd name="T22" fmla="*/ 269 w 1193"/>
                  <a:gd name="T23" fmla="*/ 440 h 1280"/>
                  <a:gd name="T24" fmla="*/ 254 w 1193"/>
                  <a:gd name="T25" fmla="*/ 397 h 1280"/>
                  <a:gd name="T26" fmla="*/ 246 w 1193"/>
                  <a:gd name="T27" fmla="*/ 351 h 1280"/>
                  <a:gd name="T28" fmla="*/ 244 w 1193"/>
                  <a:gd name="T29" fmla="*/ 319 h 1280"/>
                  <a:gd name="T30" fmla="*/ 248 w 1193"/>
                  <a:gd name="T31" fmla="*/ 272 h 1280"/>
                  <a:gd name="T32" fmla="*/ 259 w 1193"/>
                  <a:gd name="T33" fmla="*/ 227 h 1280"/>
                  <a:gd name="T34" fmla="*/ 275 w 1193"/>
                  <a:gd name="T35" fmla="*/ 185 h 1280"/>
                  <a:gd name="T36" fmla="*/ 297 w 1193"/>
                  <a:gd name="T37" fmla="*/ 146 h 1280"/>
                  <a:gd name="T38" fmla="*/ 324 w 1193"/>
                  <a:gd name="T39" fmla="*/ 112 h 1280"/>
                  <a:gd name="T40" fmla="*/ 356 w 1193"/>
                  <a:gd name="T41" fmla="*/ 80 h 1280"/>
                  <a:gd name="T42" fmla="*/ 392 w 1193"/>
                  <a:gd name="T43" fmla="*/ 54 h 1280"/>
                  <a:gd name="T44" fmla="*/ 432 w 1193"/>
                  <a:gd name="T45" fmla="*/ 33 h 1280"/>
                  <a:gd name="T46" fmla="*/ 475 w 1193"/>
                  <a:gd name="T47" fmla="*/ 19 h 1280"/>
                  <a:gd name="T48" fmla="*/ 521 w 1193"/>
                  <a:gd name="T49" fmla="*/ 10 h 1280"/>
                  <a:gd name="T50" fmla="*/ 552 w 1193"/>
                  <a:gd name="T51" fmla="*/ 9 h 1280"/>
                  <a:gd name="T52" fmla="*/ 490 w 1193"/>
                  <a:gd name="T53" fmla="*/ 1 h 1280"/>
                  <a:gd name="T54" fmla="*/ 445 w 1193"/>
                  <a:gd name="T55" fmla="*/ 1 h 1280"/>
                  <a:gd name="T56" fmla="*/ 375 w 1193"/>
                  <a:gd name="T57" fmla="*/ 11 h 1280"/>
                  <a:gd name="T58" fmla="*/ 307 w 1193"/>
                  <a:gd name="T59" fmla="*/ 29 h 1280"/>
                  <a:gd name="T60" fmla="*/ 245 w 1193"/>
                  <a:gd name="T61" fmla="*/ 58 h 1280"/>
                  <a:gd name="T62" fmla="*/ 188 w 1193"/>
                  <a:gd name="T63" fmla="*/ 94 h 1280"/>
                  <a:gd name="T64" fmla="*/ 137 w 1193"/>
                  <a:gd name="T65" fmla="*/ 138 h 1280"/>
                  <a:gd name="T66" fmla="*/ 92 w 1193"/>
                  <a:gd name="T67" fmla="*/ 189 h 1280"/>
                  <a:gd name="T68" fmla="*/ 56 w 1193"/>
                  <a:gd name="T69" fmla="*/ 247 h 1280"/>
                  <a:gd name="T70" fmla="*/ 28 w 1193"/>
                  <a:gd name="T71" fmla="*/ 310 h 1280"/>
                  <a:gd name="T72" fmla="*/ 9 w 1193"/>
                  <a:gd name="T73" fmla="*/ 376 h 1280"/>
                  <a:gd name="T74" fmla="*/ 0 w 1193"/>
                  <a:gd name="T75" fmla="*/ 447 h 1280"/>
                  <a:gd name="T76" fmla="*/ 0 w 1193"/>
                  <a:gd name="T77" fmla="*/ 495 h 1280"/>
                  <a:gd name="T78" fmla="*/ 9 w 1193"/>
                  <a:gd name="T79" fmla="*/ 566 h 1280"/>
                  <a:gd name="T80" fmla="*/ 28 w 1193"/>
                  <a:gd name="T81" fmla="*/ 633 h 1280"/>
                  <a:gd name="T82" fmla="*/ 57 w 1193"/>
                  <a:gd name="T83" fmla="*/ 697 h 1280"/>
                  <a:gd name="T84" fmla="*/ 93 w 1193"/>
                  <a:gd name="T85" fmla="*/ 755 h 1280"/>
                  <a:gd name="T86" fmla="*/ 138 w 1193"/>
                  <a:gd name="T87" fmla="*/ 809 h 1280"/>
                  <a:gd name="T88" fmla="*/ 189 w 1193"/>
                  <a:gd name="T89" fmla="*/ 857 h 1280"/>
                  <a:gd name="T90" fmla="*/ 246 w 1193"/>
                  <a:gd name="T91" fmla="*/ 898 h 1280"/>
                  <a:gd name="T92" fmla="*/ 309 w 1193"/>
                  <a:gd name="T93" fmla="*/ 933 h 1280"/>
                  <a:gd name="T94" fmla="*/ 376 w 1193"/>
                  <a:gd name="T95" fmla="*/ 959 h 1280"/>
                  <a:gd name="T96" fmla="*/ 445 w 1193"/>
                  <a:gd name="T97" fmla="*/ 978 h 1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93" h="1280">
                    <a:moveTo>
                      <a:pt x="470" y="982"/>
                    </a:moveTo>
                    <a:lnTo>
                      <a:pt x="470" y="982"/>
                    </a:lnTo>
                    <a:lnTo>
                      <a:pt x="495" y="985"/>
                    </a:lnTo>
                    <a:lnTo>
                      <a:pt x="524" y="987"/>
                    </a:lnTo>
                    <a:lnTo>
                      <a:pt x="556" y="990"/>
                    </a:lnTo>
                    <a:lnTo>
                      <a:pt x="556" y="1280"/>
                    </a:lnTo>
                    <a:lnTo>
                      <a:pt x="874" y="1036"/>
                    </a:lnTo>
                    <a:lnTo>
                      <a:pt x="1193" y="793"/>
                    </a:lnTo>
                    <a:lnTo>
                      <a:pt x="556" y="305"/>
                    </a:lnTo>
                    <a:lnTo>
                      <a:pt x="556" y="630"/>
                    </a:lnTo>
                    <a:lnTo>
                      <a:pt x="555" y="630"/>
                    </a:lnTo>
                    <a:lnTo>
                      <a:pt x="555" y="630"/>
                    </a:lnTo>
                    <a:lnTo>
                      <a:pt x="540" y="630"/>
                    </a:lnTo>
                    <a:lnTo>
                      <a:pt x="524" y="629"/>
                    </a:lnTo>
                    <a:lnTo>
                      <a:pt x="508" y="627"/>
                    </a:lnTo>
                    <a:lnTo>
                      <a:pt x="493" y="624"/>
                    </a:lnTo>
                    <a:lnTo>
                      <a:pt x="478" y="621"/>
                    </a:lnTo>
                    <a:lnTo>
                      <a:pt x="464" y="617"/>
                    </a:lnTo>
                    <a:lnTo>
                      <a:pt x="448" y="611"/>
                    </a:lnTo>
                    <a:lnTo>
                      <a:pt x="434" y="605"/>
                    </a:lnTo>
                    <a:lnTo>
                      <a:pt x="421" y="599"/>
                    </a:lnTo>
                    <a:lnTo>
                      <a:pt x="407" y="593"/>
                    </a:lnTo>
                    <a:lnTo>
                      <a:pt x="394" y="585"/>
                    </a:lnTo>
                    <a:lnTo>
                      <a:pt x="382" y="577"/>
                    </a:lnTo>
                    <a:lnTo>
                      <a:pt x="370" y="569"/>
                    </a:lnTo>
                    <a:lnTo>
                      <a:pt x="357" y="559"/>
                    </a:lnTo>
                    <a:lnTo>
                      <a:pt x="346" y="549"/>
                    </a:lnTo>
                    <a:lnTo>
                      <a:pt x="336" y="539"/>
                    </a:lnTo>
                    <a:lnTo>
                      <a:pt x="325" y="528"/>
                    </a:lnTo>
                    <a:lnTo>
                      <a:pt x="316" y="517"/>
                    </a:lnTo>
                    <a:lnTo>
                      <a:pt x="306" y="505"/>
                    </a:lnTo>
                    <a:lnTo>
                      <a:pt x="297" y="493"/>
                    </a:lnTo>
                    <a:lnTo>
                      <a:pt x="289" y="481"/>
                    </a:lnTo>
                    <a:lnTo>
                      <a:pt x="282" y="468"/>
                    </a:lnTo>
                    <a:lnTo>
                      <a:pt x="275" y="454"/>
                    </a:lnTo>
                    <a:lnTo>
                      <a:pt x="269" y="440"/>
                    </a:lnTo>
                    <a:lnTo>
                      <a:pt x="264" y="426"/>
                    </a:lnTo>
                    <a:lnTo>
                      <a:pt x="259" y="412"/>
                    </a:lnTo>
                    <a:lnTo>
                      <a:pt x="254" y="397"/>
                    </a:lnTo>
                    <a:lnTo>
                      <a:pt x="250" y="382"/>
                    </a:lnTo>
                    <a:lnTo>
                      <a:pt x="248" y="367"/>
                    </a:lnTo>
                    <a:lnTo>
                      <a:pt x="246" y="351"/>
                    </a:lnTo>
                    <a:lnTo>
                      <a:pt x="245" y="335"/>
                    </a:lnTo>
                    <a:lnTo>
                      <a:pt x="244" y="319"/>
                    </a:lnTo>
                    <a:lnTo>
                      <a:pt x="244" y="319"/>
                    </a:lnTo>
                    <a:lnTo>
                      <a:pt x="245" y="303"/>
                    </a:lnTo>
                    <a:lnTo>
                      <a:pt x="246" y="287"/>
                    </a:lnTo>
                    <a:lnTo>
                      <a:pt x="248" y="272"/>
                    </a:lnTo>
                    <a:lnTo>
                      <a:pt x="250" y="256"/>
                    </a:lnTo>
                    <a:lnTo>
                      <a:pt x="254" y="242"/>
                    </a:lnTo>
                    <a:lnTo>
                      <a:pt x="259" y="227"/>
                    </a:lnTo>
                    <a:lnTo>
                      <a:pt x="263" y="213"/>
                    </a:lnTo>
                    <a:lnTo>
                      <a:pt x="269" y="198"/>
                    </a:lnTo>
                    <a:lnTo>
                      <a:pt x="275" y="185"/>
                    </a:lnTo>
                    <a:lnTo>
                      <a:pt x="282" y="172"/>
                    </a:lnTo>
                    <a:lnTo>
                      <a:pt x="289" y="159"/>
                    </a:lnTo>
                    <a:lnTo>
                      <a:pt x="297" y="146"/>
                    </a:lnTo>
                    <a:lnTo>
                      <a:pt x="305" y="134"/>
                    </a:lnTo>
                    <a:lnTo>
                      <a:pt x="315" y="123"/>
                    </a:lnTo>
                    <a:lnTo>
                      <a:pt x="324" y="112"/>
                    </a:lnTo>
                    <a:lnTo>
                      <a:pt x="334" y="100"/>
                    </a:lnTo>
                    <a:lnTo>
                      <a:pt x="345" y="90"/>
                    </a:lnTo>
                    <a:lnTo>
                      <a:pt x="356" y="80"/>
                    </a:lnTo>
                    <a:lnTo>
                      <a:pt x="368" y="71"/>
                    </a:lnTo>
                    <a:lnTo>
                      <a:pt x="380" y="63"/>
                    </a:lnTo>
                    <a:lnTo>
                      <a:pt x="392" y="54"/>
                    </a:lnTo>
                    <a:lnTo>
                      <a:pt x="405" y="46"/>
                    </a:lnTo>
                    <a:lnTo>
                      <a:pt x="419" y="40"/>
                    </a:lnTo>
                    <a:lnTo>
                      <a:pt x="432" y="33"/>
                    </a:lnTo>
                    <a:lnTo>
                      <a:pt x="446" y="28"/>
                    </a:lnTo>
                    <a:lnTo>
                      <a:pt x="460" y="23"/>
                    </a:lnTo>
                    <a:lnTo>
                      <a:pt x="475" y="19"/>
                    </a:lnTo>
                    <a:lnTo>
                      <a:pt x="490" y="15"/>
                    </a:lnTo>
                    <a:lnTo>
                      <a:pt x="505" y="13"/>
                    </a:lnTo>
                    <a:lnTo>
                      <a:pt x="521" y="10"/>
                    </a:lnTo>
                    <a:lnTo>
                      <a:pt x="536" y="9"/>
                    </a:lnTo>
                    <a:lnTo>
                      <a:pt x="552" y="9"/>
                    </a:lnTo>
                    <a:lnTo>
                      <a:pt x="552" y="9"/>
                    </a:lnTo>
                    <a:lnTo>
                      <a:pt x="532" y="5"/>
                    </a:lnTo>
                    <a:lnTo>
                      <a:pt x="511" y="2"/>
                    </a:lnTo>
                    <a:lnTo>
                      <a:pt x="490" y="1"/>
                    </a:lnTo>
                    <a:lnTo>
                      <a:pt x="470" y="0"/>
                    </a:lnTo>
                    <a:lnTo>
                      <a:pt x="470" y="0"/>
                    </a:lnTo>
                    <a:lnTo>
                      <a:pt x="445" y="1"/>
                    </a:lnTo>
                    <a:lnTo>
                      <a:pt x="422" y="3"/>
                    </a:lnTo>
                    <a:lnTo>
                      <a:pt x="398" y="7"/>
                    </a:lnTo>
                    <a:lnTo>
                      <a:pt x="375" y="11"/>
                    </a:lnTo>
                    <a:lnTo>
                      <a:pt x="352" y="16"/>
                    </a:lnTo>
                    <a:lnTo>
                      <a:pt x="330" y="22"/>
                    </a:lnTo>
                    <a:lnTo>
                      <a:pt x="307" y="29"/>
                    </a:lnTo>
                    <a:lnTo>
                      <a:pt x="286" y="38"/>
                    </a:lnTo>
                    <a:lnTo>
                      <a:pt x="266" y="47"/>
                    </a:lnTo>
                    <a:lnTo>
                      <a:pt x="245" y="58"/>
                    </a:lnTo>
                    <a:lnTo>
                      <a:pt x="226" y="69"/>
                    </a:lnTo>
                    <a:lnTo>
                      <a:pt x="207" y="81"/>
                    </a:lnTo>
                    <a:lnTo>
                      <a:pt x="188" y="94"/>
                    </a:lnTo>
                    <a:lnTo>
                      <a:pt x="171" y="109"/>
                    </a:lnTo>
                    <a:lnTo>
                      <a:pt x="154" y="123"/>
                    </a:lnTo>
                    <a:lnTo>
                      <a:pt x="137" y="138"/>
                    </a:lnTo>
                    <a:lnTo>
                      <a:pt x="122" y="154"/>
                    </a:lnTo>
                    <a:lnTo>
                      <a:pt x="107" y="172"/>
                    </a:lnTo>
                    <a:lnTo>
                      <a:pt x="92" y="189"/>
                    </a:lnTo>
                    <a:lnTo>
                      <a:pt x="79" y="209"/>
                    </a:lnTo>
                    <a:lnTo>
                      <a:pt x="67" y="227"/>
                    </a:lnTo>
                    <a:lnTo>
                      <a:pt x="56" y="247"/>
                    </a:lnTo>
                    <a:lnTo>
                      <a:pt x="45" y="267"/>
                    </a:lnTo>
                    <a:lnTo>
                      <a:pt x="36" y="288"/>
                    </a:lnTo>
                    <a:lnTo>
                      <a:pt x="28" y="310"/>
                    </a:lnTo>
                    <a:lnTo>
                      <a:pt x="20" y="331"/>
                    </a:lnTo>
                    <a:lnTo>
                      <a:pt x="14" y="353"/>
                    </a:lnTo>
                    <a:lnTo>
                      <a:pt x="9" y="376"/>
                    </a:lnTo>
                    <a:lnTo>
                      <a:pt x="5" y="399"/>
                    </a:lnTo>
                    <a:lnTo>
                      <a:pt x="2" y="423"/>
                    </a:lnTo>
                    <a:lnTo>
                      <a:pt x="0" y="447"/>
                    </a:lnTo>
                    <a:lnTo>
                      <a:pt x="0" y="471"/>
                    </a:lnTo>
                    <a:lnTo>
                      <a:pt x="0" y="471"/>
                    </a:lnTo>
                    <a:lnTo>
                      <a:pt x="0" y="495"/>
                    </a:lnTo>
                    <a:lnTo>
                      <a:pt x="2" y="519"/>
                    </a:lnTo>
                    <a:lnTo>
                      <a:pt x="5" y="543"/>
                    </a:lnTo>
                    <a:lnTo>
                      <a:pt x="9" y="566"/>
                    </a:lnTo>
                    <a:lnTo>
                      <a:pt x="14" y="589"/>
                    </a:lnTo>
                    <a:lnTo>
                      <a:pt x="21" y="611"/>
                    </a:lnTo>
                    <a:lnTo>
                      <a:pt x="28" y="633"/>
                    </a:lnTo>
                    <a:lnTo>
                      <a:pt x="36" y="655"/>
                    </a:lnTo>
                    <a:lnTo>
                      <a:pt x="46" y="676"/>
                    </a:lnTo>
                    <a:lnTo>
                      <a:pt x="57" y="697"/>
                    </a:lnTo>
                    <a:lnTo>
                      <a:pt x="68" y="716"/>
                    </a:lnTo>
                    <a:lnTo>
                      <a:pt x="80" y="737"/>
                    </a:lnTo>
                    <a:lnTo>
                      <a:pt x="93" y="755"/>
                    </a:lnTo>
                    <a:lnTo>
                      <a:pt x="108" y="774"/>
                    </a:lnTo>
                    <a:lnTo>
                      <a:pt x="123" y="792"/>
                    </a:lnTo>
                    <a:lnTo>
                      <a:pt x="138" y="809"/>
                    </a:lnTo>
                    <a:lnTo>
                      <a:pt x="155" y="826"/>
                    </a:lnTo>
                    <a:lnTo>
                      <a:pt x="172" y="842"/>
                    </a:lnTo>
                    <a:lnTo>
                      <a:pt x="189" y="857"/>
                    </a:lnTo>
                    <a:lnTo>
                      <a:pt x="208" y="872"/>
                    </a:lnTo>
                    <a:lnTo>
                      <a:pt x="227" y="885"/>
                    </a:lnTo>
                    <a:lnTo>
                      <a:pt x="246" y="898"/>
                    </a:lnTo>
                    <a:lnTo>
                      <a:pt x="267" y="910"/>
                    </a:lnTo>
                    <a:lnTo>
                      <a:pt x="288" y="922"/>
                    </a:lnTo>
                    <a:lnTo>
                      <a:pt x="309" y="933"/>
                    </a:lnTo>
                    <a:lnTo>
                      <a:pt x="331" y="942"/>
                    </a:lnTo>
                    <a:lnTo>
                      <a:pt x="353" y="951"/>
                    </a:lnTo>
                    <a:lnTo>
                      <a:pt x="376" y="959"/>
                    </a:lnTo>
                    <a:lnTo>
                      <a:pt x="398" y="966"/>
                    </a:lnTo>
                    <a:lnTo>
                      <a:pt x="422" y="973"/>
                    </a:lnTo>
                    <a:lnTo>
                      <a:pt x="445" y="978"/>
                    </a:lnTo>
                    <a:lnTo>
                      <a:pt x="470" y="982"/>
                    </a:lnTo>
                    <a:lnTo>
                      <a:pt x="470" y="9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89" name="Group 188"/>
          <p:cNvGrpSpPr/>
          <p:nvPr/>
        </p:nvGrpSpPr>
        <p:grpSpPr>
          <a:xfrm>
            <a:off x="4217651" y="1374899"/>
            <a:ext cx="758952" cy="758952"/>
            <a:chOff x="4217651" y="1374899"/>
            <a:chExt cx="758952" cy="758952"/>
          </a:xfrm>
        </p:grpSpPr>
        <p:sp>
          <p:nvSpPr>
            <p:cNvPr id="186" name="Oval 185"/>
            <p:cNvSpPr>
              <a:spLocks noChangeAspect="1"/>
            </p:cNvSpPr>
            <p:nvPr/>
          </p:nvSpPr>
          <p:spPr>
            <a:xfrm>
              <a:off x="4217651" y="1374899"/>
              <a:ext cx="758952" cy="758952"/>
            </a:xfrm>
            <a:prstGeom prst="ellipse">
              <a:avLst/>
            </a:prstGeom>
            <a:solidFill>
              <a:srgbClr val="00507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187" name="Freeform 6"/>
            <p:cNvSpPr>
              <a:spLocks noChangeAspect="1" noEditPoints="1"/>
            </p:cNvSpPr>
            <p:nvPr/>
          </p:nvSpPr>
          <p:spPr bwMode="auto">
            <a:xfrm>
              <a:off x="4371809" y="1491044"/>
              <a:ext cx="446010" cy="446010"/>
            </a:xfrm>
            <a:custGeom>
              <a:avLst/>
              <a:gdLst>
                <a:gd name="T0" fmla="*/ 3905 w 4320"/>
                <a:gd name="T1" fmla="*/ 2377 h 4320"/>
                <a:gd name="T2" fmla="*/ 3524 w 4320"/>
                <a:gd name="T3" fmla="*/ 2003 h 4320"/>
                <a:gd name="T4" fmla="*/ 2602 w 4320"/>
                <a:gd name="T5" fmla="*/ 1930 h 4320"/>
                <a:gd name="T6" fmla="*/ 2396 w 4320"/>
                <a:gd name="T7" fmla="*/ 1792 h 4320"/>
                <a:gd name="T8" fmla="*/ 2595 w 4320"/>
                <a:gd name="T9" fmla="*/ 890 h 4320"/>
                <a:gd name="T10" fmla="*/ 2700 w 4320"/>
                <a:gd name="T11" fmla="*/ 441 h 4320"/>
                <a:gd name="T12" fmla="*/ 2510 w 4320"/>
                <a:gd name="T13" fmla="*/ 126 h 4320"/>
                <a:gd name="T14" fmla="*/ 2160 w 4320"/>
                <a:gd name="T15" fmla="*/ 0 h 4320"/>
                <a:gd name="T16" fmla="*/ 1830 w 4320"/>
                <a:gd name="T17" fmla="*/ 109 h 4320"/>
                <a:gd name="T18" fmla="*/ 1626 w 4320"/>
                <a:gd name="T19" fmla="*/ 414 h 4320"/>
                <a:gd name="T20" fmla="*/ 1702 w 4320"/>
                <a:gd name="T21" fmla="*/ 857 h 4320"/>
                <a:gd name="T22" fmla="*/ 1933 w 4320"/>
                <a:gd name="T23" fmla="*/ 1764 h 4320"/>
                <a:gd name="T24" fmla="*/ 1745 w 4320"/>
                <a:gd name="T25" fmla="*/ 1924 h 4320"/>
                <a:gd name="T26" fmla="*/ 837 w 4320"/>
                <a:gd name="T27" fmla="*/ 1988 h 4320"/>
                <a:gd name="T28" fmla="*/ 431 w 4320"/>
                <a:gd name="T29" fmla="*/ 2344 h 4320"/>
                <a:gd name="T30" fmla="*/ 333 w 4320"/>
                <a:gd name="T31" fmla="*/ 3262 h 4320"/>
                <a:gd name="T32" fmla="*/ 6 w 4320"/>
                <a:gd name="T33" fmla="*/ 3685 h 4320"/>
                <a:gd name="T34" fmla="*/ 79 w 4320"/>
                <a:gd name="T35" fmla="*/ 4054 h 4320"/>
                <a:gd name="T36" fmla="*/ 362 w 4320"/>
                <a:gd name="T37" fmla="*/ 4287 h 4320"/>
                <a:gd name="T38" fmla="*/ 715 w 4320"/>
                <a:gd name="T39" fmla="*/ 4296 h 4320"/>
                <a:gd name="T40" fmla="*/ 1008 w 4320"/>
                <a:gd name="T41" fmla="*/ 4077 h 4320"/>
                <a:gd name="T42" fmla="*/ 1102 w 4320"/>
                <a:gd name="T43" fmla="*/ 3727 h 4320"/>
                <a:gd name="T44" fmla="*/ 806 w 4320"/>
                <a:gd name="T45" fmla="*/ 3279 h 4320"/>
                <a:gd name="T46" fmla="*/ 852 w 4320"/>
                <a:gd name="T47" fmla="*/ 2489 h 4320"/>
                <a:gd name="T48" fmla="*/ 1586 w 4320"/>
                <a:gd name="T49" fmla="*/ 2378 h 4320"/>
                <a:gd name="T50" fmla="*/ 1838 w 4320"/>
                <a:gd name="T51" fmla="*/ 3320 h 4320"/>
                <a:gd name="T52" fmla="*/ 1609 w 4320"/>
                <a:gd name="T53" fmla="*/ 3769 h 4320"/>
                <a:gd name="T54" fmla="*/ 1735 w 4320"/>
                <a:gd name="T55" fmla="*/ 4119 h 4320"/>
                <a:gd name="T56" fmla="*/ 2049 w 4320"/>
                <a:gd name="T57" fmla="*/ 4309 h 4320"/>
                <a:gd name="T58" fmla="*/ 2398 w 4320"/>
                <a:gd name="T59" fmla="*/ 4265 h 4320"/>
                <a:gd name="T60" fmla="*/ 2657 w 4320"/>
                <a:gd name="T61" fmla="*/ 4008 h 4320"/>
                <a:gd name="T62" fmla="*/ 2687 w 4320"/>
                <a:gd name="T63" fmla="*/ 3606 h 4320"/>
                <a:gd name="T64" fmla="*/ 2378 w 4320"/>
                <a:gd name="T65" fmla="*/ 2321 h 4320"/>
                <a:gd name="T66" fmla="*/ 3303 w 4320"/>
                <a:gd name="T67" fmla="*/ 2390 h 4320"/>
                <a:gd name="T68" fmla="*/ 3510 w 4320"/>
                <a:gd name="T69" fmla="*/ 2555 h 4320"/>
                <a:gd name="T70" fmla="*/ 3386 w 4320"/>
                <a:gd name="T71" fmla="*/ 3372 h 4320"/>
                <a:gd name="T72" fmla="*/ 3220 w 4320"/>
                <a:gd name="T73" fmla="*/ 3825 h 4320"/>
                <a:gd name="T74" fmla="*/ 3379 w 4320"/>
                <a:gd name="T75" fmla="*/ 4159 h 4320"/>
                <a:gd name="T76" fmla="*/ 3713 w 4320"/>
                <a:gd name="T77" fmla="*/ 4317 h 4320"/>
                <a:gd name="T78" fmla="*/ 4054 w 4320"/>
                <a:gd name="T79" fmla="*/ 4241 h 4320"/>
                <a:gd name="T80" fmla="*/ 4287 w 4320"/>
                <a:gd name="T81" fmla="*/ 3958 h 4320"/>
                <a:gd name="T82" fmla="*/ 4267 w 4320"/>
                <a:gd name="T83" fmla="*/ 3532 h 4320"/>
                <a:gd name="T84" fmla="*/ 867 w 4320"/>
                <a:gd name="T85" fmla="*/ 3802 h 4320"/>
                <a:gd name="T86" fmla="*/ 585 w 4320"/>
                <a:gd name="T87" fmla="*/ 4086 h 4320"/>
                <a:gd name="T88" fmla="*/ 259 w 4320"/>
                <a:gd name="T89" fmla="*/ 3892 h 4320"/>
                <a:gd name="T90" fmla="*/ 349 w 4320"/>
                <a:gd name="T91" fmla="*/ 3523 h 4320"/>
                <a:gd name="T92" fmla="*/ 730 w 4320"/>
                <a:gd name="T93" fmla="*/ 3504 h 4320"/>
                <a:gd name="T94" fmla="*/ 1844 w 4320"/>
                <a:gd name="T95" fmla="*/ 518 h 4320"/>
                <a:gd name="T96" fmla="*/ 2127 w 4320"/>
                <a:gd name="T97" fmla="*/ 234 h 4320"/>
                <a:gd name="T98" fmla="*/ 2453 w 4320"/>
                <a:gd name="T99" fmla="*/ 428 h 4320"/>
                <a:gd name="T100" fmla="*/ 2363 w 4320"/>
                <a:gd name="T101" fmla="*/ 797 h 4320"/>
                <a:gd name="T102" fmla="*/ 1982 w 4320"/>
                <a:gd name="T103" fmla="*/ 816 h 4320"/>
                <a:gd name="T104" fmla="*/ 2476 w 4320"/>
                <a:gd name="T105" fmla="*/ 3802 h 4320"/>
                <a:gd name="T106" fmla="*/ 2193 w 4320"/>
                <a:gd name="T107" fmla="*/ 4086 h 4320"/>
                <a:gd name="T108" fmla="*/ 1867 w 4320"/>
                <a:gd name="T109" fmla="*/ 3892 h 4320"/>
                <a:gd name="T110" fmla="*/ 1958 w 4320"/>
                <a:gd name="T111" fmla="*/ 3523 h 4320"/>
                <a:gd name="T112" fmla="*/ 2338 w 4320"/>
                <a:gd name="T113" fmla="*/ 3504 h 4320"/>
                <a:gd name="T114" fmla="*/ 3735 w 4320"/>
                <a:gd name="T115" fmla="*/ 4086 h 4320"/>
                <a:gd name="T116" fmla="*/ 3453 w 4320"/>
                <a:gd name="T117" fmla="*/ 3802 h 4320"/>
                <a:gd name="T118" fmla="*/ 3645 w 4320"/>
                <a:gd name="T119" fmla="*/ 3476 h 4320"/>
                <a:gd name="T120" fmla="*/ 4014 w 4320"/>
                <a:gd name="T121" fmla="*/ 3566 h 4320"/>
                <a:gd name="T122" fmla="*/ 4033 w 4320"/>
                <a:gd name="T123" fmla="*/ 3947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320" h="4320">
                  <a:moveTo>
                    <a:pt x="3987" y="3262"/>
                  </a:moveTo>
                  <a:lnTo>
                    <a:pt x="3987" y="2734"/>
                  </a:lnTo>
                  <a:lnTo>
                    <a:pt x="3987" y="2734"/>
                  </a:lnTo>
                  <a:lnTo>
                    <a:pt x="3987" y="2704"/>
                  </a:lnTo>
                  <a:lnTo>
                    <a:pt x="3984" y="2673"/>
                  </a:lnTo>
                  <a:lnTo>
                    <a:pt x="3981" y="2641"/>
                  </a:lnTo>
                  <a:lnTo>
                    <a:pt x="3977" y="2610"/>
                  </a:lnTo>
                  <a:lnTo>
                    <a:pt x="3971" y="2576"/>
                  </a:lnTo>
                  <a:lnTo>
                    <a:pt x="3964" y="2543"/>
                  </a:lnTo>
                  <a:lnTo>
                    <a:pt x="3955" y="2509"/>
                  </a:lnTo>
                  <a:lnTo>
                    <a:pt x="3945" y="2476"/>
                  </a:lnTo>
                  <a:lnTo>
                    <a:pt x="3934" y="2443"/>
                  </a:lnTo>
                  <a:lnTo>
                    <a:pt x="3921" y="2410"/>
                  </a:lnTo>
                  <a:lnTo>
                    <a:pt x="3905" y="2377"/>
                  </a:lnTo>
                  <a:lnTo>
                    <a:pt x="3889" y="2344"/>
                  </a:lnTo>
                  <a:lnTo>
                    <a:pt x="3872" y="2311"/>
                  </a:lnTo>
                  <a:lnTo>
                    <a:pt x="3852" y="2279"/>
                  </a:lnTo>
                  <a:lnTo>
                    <a:pt x="3832" y="2249"/>
                  </a:lnTo>
                  <a:lnTo>
                    <a:pt x="3809" y="2219"/>
                  </a:lnTo>
                  <a:lnTo>
                    <a:pt x="3784" y="2189"/>
                  </a:lnTo>
                  <a:lnTo>
                    <a:pt x="3758" y="2161"/>
                  </a:lnTo>
                  <a:lnTo>
                    <a:pt x="3730" y="2134"/>
                  </a:lnTo>
                  <a:lnTo>
                    <a:pt x="3701" y="2108"/>
                  </a:lnTo>
                  <a:lnTo>
                    <a:pt x="3669" y="2084"/>
                  </a:lnTo>
                  <a:lnTo>
                    <a:pt x="3636" y="2061"/>
                  </a:lnTo>
                  <a:lnTo>
                    <a:pt x="3600" y="2041"/>
                  </a:lnTo>
                  <a:lnTo>
                    <a:pt x="3563" y="2021"/>
                  </a:lnTo>
                  <a:lnTo>
                    <a:pt x="3524" y="2003"/>
                  </a:lnTo>
                  <a:lnTo>
                    <a:pt x="3483" y="1988"/>
                  </a:lnTo>
                  <a:lnTo>
                    <a:pt x="3440" y="1973"/>
                  </a:lnTo>
                  <a:lnTo>
                    <a:pt x="3395" y="1963"/>
                  </a:lnTo>
                  <a:lnTo>
                    <a:pt x="3348" y="1953"/>
                  </a:lnTo>
                  <a:lnTo>
                    <a:pt x="3299" y="1947"/>
                  </a:lnTo>
                  <a:lnTo>
                    <a:pt x="3247" y="1943"/>
                  </a:lnTo>
                  <a:lnTo>
                    <a:pt x="3194" y="1942"/>
                  </a:lnTo>
                  <a:lnTo>
                    <a:pt x="2734" y="1942"/>
                  </a:lnTo>
                  <a:lnTo>
                    <a:pt x="2734" y="1942"/>
                  </a:lnTo>
                  <a:lnTo>
                    <a:pt x="2704" y="1942"/>
                  </a:lnTo>
                  <a:lnTo>
                    <a:pt x="2677" y="1940"/>
                  </a:lnTo>
                  <a:lnTo>
                    <a:pt x="2651" y="1937"/>
                  </a:lnTo>
                  <a:lnTo>
                    <a:pt x="2627" y="1935"/>
                  </a:lnTo>
                  <a:lnTo>
                    <a:pt x="2602" y="1930"/>
                  </a:lnTo>
                  <a:lnTo>
                    <a:pt x="2581" y="1926"/>
                  </a:lnTo>
                  <a:lnTo>
                    <a:pt x="2561" y="1922"/>
                  </a:lnTo>
                  <a:lnTo>
                    <a:pt x="2542" y="1916"/>
                  </a:lnTo>
                  <a:lnTo>
                    <a:pt x="2525" y="1909"/>
                  </a:lnTo>
                  <a:lnTo>
                    <a:pt x="2509" y="1903"/>
                  </a:lnTo>
                  <a:lnTo>
                    <a:pt x="2493" y="1894"/>
                  </a:lnTo>
                  <a:lnTo>
                    <a:pt x="2480" y="1887"/>
                  </a:lnTo>
                  <a:lnTo>
                    <a:pt x="2467" y="1879"/>
                  </a:lnTo>
                  <a:lnTo>
                    <a:pt x="2456" y="1870"/>
                  </a:lnTo>
                  <a:lnTo>
                    <a:pt x="2444" y="1861"/>
                  </a:lnTo>
                  <a:lnTo>
                    <a:pt x="2436" y="1851"/>
                  </a:lnTo>
                  <a:lnTo>
                    <a:pt x="2419" y="1833"/>
                  </a:lnTo>
                  <a:lnTo>
                    <a:pt x="2406" y="1812"/>
                  </a:lnTo>
                  <a:lnTo>
                    <a:pt x="2396" y="1792"/>
                  </a:lnTo>
                  <a:lnTo>
                    <a:pt x="2388" y="1772"/>
                  </a:lnTo>
                  <a:lnTo>
                    <a:pt x="2384" y="1754"/>
                  </a:lnTo>
                  <a:lnTo>
                    <a:pt x="2381" y="1735"/>
                  </a:lnTo>
                  <a:lnTo>
                    <a:pt x="2378" y="1716"/>
                  </a:lnTo>
                  <a:lnTo>
                    <a:pt x="2378" y="1700"/>
                  </a:lnTo>
                  <a:lnTo>
                    <a:pt x="2378" y="1058"/>
                  </a:lnTo>
                  <a:lnTo>
                    <a:pt x="2378" y="1058"/>
                  </a:lnTo>
                  <a:lnTo>
                    <a:pt x="2414" y="1041"/>
                  </a:lnTo>
                  <a:lnTo>
                    <a:pt x="2449" y="1021"/>
                  </a:lnTo>
                  <a:lnTo>
                    <a:pt x="2482" y="1000"/>
                  </a:lnTo>
                  <a:lnTo>
                    <a:pt x="2513" y="975"/>
                  </a:lnTo>
                  <a:lnTo>
                    <a:pt x="2542" y="948"/>
                  </a:lnTo>
                  <a:lnTo>
                    <a:pt x="2569" y="921"/>
                  </a:lnTo>
                  <a:lnTo>
                    <a:pt x="2595" y="890"/>
                  </a:lnTo>
                  <a:lnTo>
                    <a:pt x="2618" y="857"/>
                  </a:lnTo>
                  <a:lnTo>
                    <a:pt x="2640" y="824"/>
                  </a:lnTo>
                  <a:lnTo>
                    <a:pt x="2658" y="788"/>
                  </a:lnTo>
                  <a:lnTo>
                    <a:pt x="2674" y="753"/>
                  </a:lnTo>
                  <a:lnTo>
                    <a:pt x="2687" y="714"/>
                  </a:lnTo>
                  <a:lnTo>
                    <a:pt x="2697" y="675"/>
                  </a:lnTo>
                  <a:lnTo>
                    <a:pt x="2706" y="635"/>
                  </a:lnTo>
                  <a:lnTo>
                    <a:pt x="2710" y="593"/>
                  </a:lnTo>
                  <a:lnTo>
                    <a:pt x="2711" y="551"/>
                  </a:lnTo>
                  <a:lnTo>
                    <a:pt x="2711" y="551"/>
                  </a:lnTo>
                  <a:lnTo>
                    <a:pt x="2711" y="523"/>
                  </a:lnTo>
                  <a:lnTo>
                    <a:pt x="2709" y="495"/>
                  </a:lnTo>
                  <a:lnTo>
                    <a:pt x="2706" y="467"/>
                  </a:lnTo>
                  <a:lnTo>
                    <a:pt x="2700" y="441"/>
                  </a:lnTo>
                  <a:lnTo>
                    <a:pt x="2694" y="414"/>
                  </a:lnTo>
                  <a:lnTo>
                    <a:pt x="2687" y="388"/>
                  </a:lnTo>
                  <a:lnTo>
                    <a:pt x="2678" y="362"/>
                  </a:lnTo>
                  <a:lnTo>
                    <a:pt x="2668" y="336"/>
                  </a:lnTo>
                  <a:lnTo>
                    <a:pt x="2657" y="312"/>
                  </a:lnTo>
                  <a:lnTo>
                    <a:pt x="2645" y="289"/>
                  </a:lnTo>
                  <a:lnTo>
                    <a:pt x="2631" y="266"/>
                  </a:lnTo>
                  <a:lnTo>
                    <a:pt x="2617" y="243"/>
                  </a:lnTo>
                  <a:lnTo>
                    <a:pt x="2602" y="221"/>
                  </a:lnTo>
                  <a:lnTo>
                    <a:pt x="2585" y="201"/>
                  </a:lnTo>
                  <a:lnTo>
                    <a:pt x="2568" y="181"/>
                  </a:lnTo>
                  <a:lnTo>
                    <a:pt x="2551" y="161"/>
                  </a:lnTo>
                  <a:lnTo>
                    <a:pt x="2531" y="144"/>
                  </a:lnTo>
                  <a:lnTo>
                    <a:pt x="2510" y="126"/>
                  </a:lnTo>
                  <a:lnTo>
                    <a:pt x="2490" y="109"/>
                  </a:lnTo>
                  <a:lnTo>
                    <a:pt x="2469" y="93"/>
                  </a:lnTo>
                  <a:lnTo>
                    <a:pt x="2446" y="79"/>
                  </a:lnTo>
                  <a:lnTo>
                    <a:pt x="2423" y="66"/>
                  </a:lnTo>
                  <a:lnTo>
                    <a:pt x="2398" y="55"/>
                  </a:lnTo>
                  <a:lnTo>
                    <a:pt x="2374" y="43"/>
                  </a:lnTo>
                  <a:lnTo>
                    <a:pt x="2350" y="33"/>
                  </a:lnTo>
                  <a:lnTo>
                    <a:pt x="2324" y="24"/>
                  </a:lnTo>
                  <a:lnTo>
                    <a:pt x="2298" y="17"/>
                  </a:lnTo>
                  <a:lnTo>
                    <a:pt x="2271" y="11"/>
                  </a:lnTo>
                  <a:lnTo>
                    <a:pt x="2243" y="6"/>
                  </a:lnTo>
                  <a:lnTo>
                    <a:pt x="2216" y="3"/>
                  </a:lnTo>
                  <a:lnTo>
                    <a:pt x="2189" y="0"/>
                  </a:lnTo>
                  <a:lnTo>
                    <a:pt x="2160" y="0"/>
                  </a:lnTo>
                  <a:lnTo>
                    <a:pt x="2160" y="0"/>
                  </a:lnTo>
                  <a:lnTo>
                    <a:pt x="2131" y="0"/>
                  </a:lnTo>
                  <a:lnTo>
                    <a:pt x="2104" y="3"/>
                  </a:lnTo>
                  <a:lnTo>
                    <a:pt x="2077" y="6"/>
                  </a:lnTo>
                  <a:lnTo>
                    <a:pt x="2049" y="11"/>
                  </a:lnTo>
                  <a:lnTo>
                    <a:pt x="2022" y="17"/>
                  </a:lnTo>
                  <a:lnTo>
                    <a:pt x="1996" y="24"/>
                  </a:lnTo>
                  <a:lnTo>
                    <a:pt x="1970" y="33"/>
                  </a:lnTo>
                  <a:lnTo>
                    <a:pt x="1946" y="43"/>
                  </a:lnTo>
                  <a:lnTo>
                    <a:pt x="1922" y="55"/>
                  </a:lnTo>
                  <a:lnTo>
                    <a:pt x="1897" y="66"/>
                  </a:lnTo>
                  <a:lnTo>
                    <a:pt x="1874" y="79"/>
                  </a:lnTo>
                  <a:lnTo>
                    <a:pt x="1851" y="93"/>
                  </a:lnTo>
                  <a:lnTo>
                    <a:pt x="1830" y="109"/>
                  </a:lnTo>
                  <a:lnTo>
                    <a:pt x="1810" y="126"/>
                  </a:lnTo>
                  <a:lnTo>
                    <a:pt x="1789" y="144"/>
                  </a:lnTo>
                  <a:lnTo>
                    <a:pt x="1769" y="161"/>
                  </a:lnTo>
                  <a:lnTo>
                    <a:pt x="1752" y="181"/>
                  </a:lnTo>
                  <a:lnTo>
                    <a:pt x="1735" y="201"/>
                  </a:lnTo>
                  <a:lnTo>
                    <a:pt x="1718" y="221"/>
                  </a:lnTo>
                  <a:lnTo>
                    <a:pt x="1703" y="243"/>
                  </a:lnTo>
                  <a:lnTo>
                    <a:pt x="1689" y="266"/>
                  </a:lnTo>
                  <a:lnTo>
                    <a:pt x="1675" y="289"/>
                  </a:lnTo>
                  <a:lnTo>
                    <a:pt x="1663" y="312"/>
                  </a:lnTo>
                  <a:lnTo>
                    <a:pt x="1652" y="336"/>
                  </a:lnTo>
                  <a:lnTo>
                    <a:pt x="1642" y="362"/>
                  </a:lnTo>
                  <a:lnTo>
                    <a:pt x="1633" y="388"/>
                  </a:lnTo>
                  <a:lnTo>
                    <a:pt x="1626" y="414"/>
                  </a:lnTo>
                  <a:lnTo>
                    <a:pt x="1620" y="441"/>
                  </a:lnTo>
                  <a:lnTo>
                    <a:pt x="1614" y="467"/>
                  </a:lnTo>
                  <a:lnTo>
                    <a:pt x="1611" y="495"/>
                  </a:lnTo>
                  <a:lnTo>
                    <a:pt x="1609" y="523"/>
                  </a:lnTo>
                  <a:lnTo>
                    <a:pt x="1609" y="551"/>
                  </a:lnTo>
                  <a:lnTo>
                    <a:pt x="1609" y="551"/>
                  </a:lnTo>
                  <a:lnTo>
                    <a:pt x="1610" y="593"/>
                  </a:lnTo>
                  <a:lnTo>
                    <a:pt x="1614" y="635"/>
                  </a:lnTo>
                  <a:lnTo>
                    <a:pt x="1623" y="675"/>
                  </a:lnTo>
                  <a:lnTo>
                    <a:pt x="1633" y="714"/>
                  </a:lnTo>
                  <a:lnTo>
                    <a:pt x="1646" y="753"/>
                  </a:lnTo>
                  <a:lnTo>
                    <a:pt x="1662" y="788"/>
                  </a:lnTo>
                  <a:lnTo>
                    <a:pt x="1680" y="824"/>
                  </a:lnTo>
                  <a:lnTo>
                    <a:pt x="1702" y="857"/>
                  </a:lnTo>
                  <a:lnTo>
                    <a:pt x="1725" y="890"/>
                  </a:lnTo>
                  <a:lnTo>
                    <a:pt x="1751" y="921"/>
                  </a:lnTo>
                  <a:lnTo>
                    <a:pt x="1778" y="948"/>
                  </a:lnTo>
                  <a:lnTo>
                    <a:pt x="1807" y="975"/>
                  </a:lnTo>
                  <a:lnTo>
                    <a:pt x="1838" y="1000"/>
                  </a:lnTo>
                  <a:lnTo>
                    <a:pt x="1871" y="1021"/>
                  </a:lnTo>
                  <a:lnTo>
                    <a:pt x="1906" y="1041"/>
                  </a:lnTo>
                  <a:lnTo>
                    <a:pt x="1942" y="1058"/>
                  </a:lnTo>
                  <a:lnTo>
                    <a:pt x="1942" y="1700"/>
                  </a:lnTo>
                  <a:lnTo>
                    <a:pt x="1942" y="1700"/>
                  </a:lnTo>
                  <a:lnTo>
                    <a:pt x="1942" y="1713"/>
                  </a:lnTo>
                  <a:lnTo>
                    <a:pt x="1940" y="1728"/>
                  </a:lnTo>
                  <a:lnTo>
                    <a:pt x="1937" y="1745"/>
                  </a:lnTo>
                  <a:lnTo>
                    <a:pt x="1933" y="1764"/>
                  </a:lnTo>
                  <a:lnTo>
                    <a:pt x="1927" y="1782"/>
                  </a:lnTo>
                  <a:lnTo>
                    <a:pt x="1919" y="1802"/>
                  </a:lnTo>
                  <a:lnTo>
                    <a:pt x="1906" y="1824"/>
                  </a:lnTo>
                  <a:lnTo>
                    <a:pt x="1890" y="1844"/>
                  </a:lnTo>
                  <a:lnTo>
                    <a:pt x="1881" y="1853"/>
                  </a:lnTo>
                  <a:lnTo>
                    <a:pt x="1871" y="1863"/>
                  </a:lnTo>
                  <a:lnTo>
                    <a:pt x="1860" y="1873"/>
                  </a:lnTo>
                  <a:lnTo>
                    <a:pt x="1847" y="1881"/>
                  </a:lnTo>
                  <a:lnTo>
                    <a:pt x="1834" y="1890"/>
                  </a:lnTo>
                  <a:lnTo>
                    <a:pt x="1818" y="1897"/>
                  </a:lnTo>
                  <a:lnTo>
                    <a:pt x="1802" y="1906"/>
                  </a:lnTo>
                  <a:lnTo>
                    <a:pt x="1784" y="1913"/>
                  </a:lnTo>
                  <a:lnTo>
                    <a:pt x="1765" y="1919"/>
                  </a:lnTo>
                  <a:lnTo>
                    <a:pt x="1745" y="1924"/>
                  </a:lnTo>
                  <a:lnTo>
                    <a:pt x="1722" y="1930"/>
                  </a:lnTo>
                  <a:lnTo>
                    <a:pt x="1698" y="1933"/>
                  </a:lnTo>
                  <a:lnTo>
                    <a:pt x="1673" y="1937"/>
                  </a:lnTo>
                  <a:lnTo>
                    <a:pt x="1646" y="1940"/>
                  </a:lnTo>
                  <a:lnTo>
                    <a:pt x="1616" y="1942"/>
                  </a:lnTo>
                  <a:lnTo>
                    <a:pt x="1586" y="1942"/>
                  </a:lnTo>
                  <a:lnTo>
                    <a:pt x="1126" y="1942"/>
                  </a:lnTo>
                  <a:lnTo>
                    <a:pt x="1126" y="1942"/>
                  </a:lnTo>
                  <a:lnTo>
                    <a:pt x="1073" y="1943"/>
                  </a:lnTo>
                  <a:lnTo>
                    <a:pt x="1021" y="1947"/>
                  </a:lnTo>
                  <a:lnTo>
                    <a:pt x="972" y="1953"/>
                  </a:lnTo>
                  <a:lnTo>
                    <a:pt x="925" y="1963"/>
                  </a:lnTo>
                  <a:lnTo>
                    <a:pt x="880" y="1973"/>
                  </a:lnTo>
                  <a:lnTo>
                    <a:pt x="837" y="1988"/>
                  </a:lnTo>
                  <a:lnTo>
                    <a:pt x="796" y="2003"/>
                  </a:lnTo>
                  <a:lnTo>
                    <a:pt x="757" y="2021"/>
                  </a:lnTo>
                  <a:lnTo>
                    <a:pt x="720" y="2041"/>
                  </a:lnTo>
                  <a:lnTo>
                    <a:pt x="684" y="2061"/>
                  </a:lnTo>
                  <a:lnTo>
                    <a:pt x="651" y="2084"/>
                  </a:lnTo>
                  <a:lnTo>
                    <a:pt x="619" y="2108"/>
                  </a:lnTo>
                  <a:lnTo>
                    <a:pt x="590" y="2134"/>
                  </a:lnTo>
                  <a:lnTo>
                    <a:pt x="562" y="2161"/>
                  </a:lnTo>
                  <a:lnTo>
                    <a:pt x="536" y="2189"/>
                  </a:lnTo>
                  <a:lnTo>
                    <a:pt x="511" y="2219"/>
                  </a:lnTo>
                  <a:lnTo>
                    <a:pt x="488" y="2249"/>
                  </a:lnTo>
                  <a:lnTo>
                    <a:pt x="468" y="2279"/>
                  </a:lnTo>
                  <a:lnTo>
                    <a:pt x="448" y="2311"/>
                  </a:lnTo>
                  <a:lnTo>
                    <a:pt x="431" y="2344"/>
                  </a:lnTo>
                  <a:lnTo>
                    <a:pt x="415" y="2377"/>
                  </a:lnTo>
                  <a:lnTo>
                    <a:pt x="399" y="2410"/>
                  </a:lnTo>
                  <a:lnTo>
                    <a:pt x="386" y="2443"/>
                  </a:lnTo>
                  <a:lnTo>
                    <a:pt x="375" y="2476"/>
                  </a:lnTo>
                  <a:lnTo>
                    <a:pt x="365" y="2509"/>
                  </a:lnTo>
                  <a:lnTo>
                    <a:pt x="356" y="2543"/>
                  </a:lnTo>
                  <a:lnTo>
                    <a:pt x="349" y="2576"/>
                  </a:lnTo>
                  <a:lnTo>
                    <a:pt x="343" y="2610"/>
                  </a:lnTo>
                  <a:lnTo>
                    <a:pt x="339" y="2641"/>
                  </a:lnTo>
                  <a:lnTo>
                    <a:pt x="336" y="2673"/>
                  </a:lnTo>
                  <a:lnTo>
                    <a:pt x="333" y="2704"/>
                  </a:lnTo>
                  <a:lnTo>
                    <a:pt x="333" y="2734"/>
                  </a:lnTo>
                  <a:lnTo>
                    <a:pt x="333" y="3262"/>
                  </a:lnTo>
                  <a:lnTo>
                    <a:pt x="333" y="3262"/>
                  </a:lnTo>
                  <a:lnTo>
                    <a:pt x="297" y="3279"/>
                  </a:lnTo>
                  <a:lnTo>
                    <a:pt x="263" y="3299"/>
                  </a:lnTo>
                  <a:lnTo>
                    <a:pt x="230" y="3320"/>
                  </a:lnTo>
                  <a:lnTo>
                    <a:pt x="198" y="3345"/>
                  </a:lnTo>
                  <a:lnTo>
                    <a:pt x="169" y="3372"/>
                  </a:lnTo>
                  <a:lnTo>
                    <a:pt x="142" y="3399"/>
                  </a:lnTo>
                  <a:lnTo>
                    <a:pt x="116" y="3430"/>
                  </a:lnTo>
                  <a:lnTo>
                    <a:pt x="93" y="3463"/>
                  </a:lnTo>
                  <a:lnTo>
                    <a:pt x="72" y="3496"/>
                  </a:lnTo>
                  <a:lnTo>
                    <a:pt x="53" y="3532"/>
                  </a:lnTo>
                  <a:lnTo>
                    <a:pt x="37" y="3567"/>
                  </a:lnTo>
                  <a:lnTo>
                    <a:pt x="24" y="3606"/>
                  </a:lnTo>
                  <a:lnTo>
                    <a:pt x="14" y="3645"/>
                  </a:lnTo>
                  <a:lnTo>
                    <a:pt x="6" y="3685"/>
                  </a:lnTo>
                  <a:lnTo>
                    <a:pt x="1" y="3727"/>
                  </a:lnTo>
                  <a:lnTo>
                    <a:pt x="0" y="3769"/>
                  </a:lnTo>
                  <a:lnTo>
                    <a:pt x="0" y="3769"/>
                  </a:lnTo>
                  <a:lnTo>
                    <a:pt x="0" y="3797"/>
                  </a:lnTo>
                  <a:lnTo>
                    <a:pt x="3" y="3825"/>
                  </a:lnTo>
                  <a:lnTo>
                    <a:pt x="6" y="3853"/>
                  </a:lnTo>
                  <a:lnTo>
                    <a:pt x="11" y="3879"/>
                  </a:lnTo>
                  <a:lnTo>
                    <a:pt x="17" y="3906"/>
                  </a:lnTo>
                  <a:lnTo>
                    <a:pt x="24" y="3932"/>
                  </a:lnTo>
                  <a:lnTo>
                    <a:pt x="33" y="3958"/>
                  </a:lnTo>
                  <a:lnTo>
                    <a:pt x="43" y="3984"/>
                  </a:lnTo>
                  <a:lnTo>
                    <a:pt x="55" y="4008"/>
                  </a:lnTo>
                  <a:lnTo>
                    <a:pt x="66" y="4031"/>
                  </a:lnTo>
                  <a:lnTo>
                    <a:pt x="79" y="4054"/>
                  </a:lnTo>
                  <a:lnTo>
                    <a:pt x="93" y="4077"/>
                  </a:lnTo>
                  <a:lnTo>
                    <a:pt x="109" y="4099"/>
                  </a:lnTo>
                  <a:lnTo>
                    <a:pt x="126" y="4119"/>
                  </a:lnTo>
                  <a:lnTo>
                    <a:pt x="144" y="4139"/>
                  </a:lnTo>
                  <a:lnTo>
                    <a:pt x="161" y="4159"/>
                  </a:lnTo>
                  <a:lnTo>
                    <a:pt x="181" y="4176"/>
                  </a:lnTo>
                  <a:lnTo>
                    <a:pt x="201" y="4194"/>
                  </a:lnTo>
                  <a:lnTo>
                    <a:pt x="221" y="4211"/>
                  </a:lnTo>
                  <a:lnTo>
                    <a:pt x="243" y="4227"/>
                  </a:lnTo>
                  <a:lnTo>
                    <a:pt x="266" y="4241"/>
                  </a:lnTo>
                  <a:lnTo>
                    <a:pt x="289" y="4254"/>
                  </a:lnTo>
                  <a:lnTo>
                    <a:pt x="312" y="4265"/>
                  </a:lnTo>
                  <a:lnTo>
                    <a:pt x="336" y="4277"/>
                  </a:lnTo>
                  <a:lnTo>
                    <a:pt x="362" y="4287"/>
                  </a:lnTo>
                  <a:lnTo>
                    <a:pt x="388" y="4296"/>
                  </a:lnTo>
                  <a:lnTo>
                    <a:pt x="414" y="4303"/>
                  </a:lnTo>
                  <a:lnTo>
                    <a:pt x="441" y="4309"/>
                  </a:lnTo>
                  <a:lnTo>
                    <a:pt x="467" y="4314"/>
                  </a:lnTo>
                  <a:lnTo>
                    <a:pt x="495" y="4317"/>
                  </a:lnTo>
                  <a:lnTo>
                    <a:pt x="523" y="4320"/>
                  </a:lnTo>
                  <a:lnTo>
                    <a:pt x="551" y="4320"/>
                  </a:lnTo>
                  <a:lnTo>
                    <a:pt x="551" y="4320"/>
                  </a:lnTo>
                  <a:lnTo>
                    <a:pt x="580" y="4320"/>
                  </a:lnTo>
                  <a:lnTo>
                    <a:pt x="608" y="4317"/>
                  </a:lnTo>
                  <a:lnTo>
                    <a:pt x="635" y="4314"/>
                  </a:lnTo>
                  <a:lnTo>
                    <a:pt x="662" y="4309"/>
                  </a:lnTo>
                  <a:lnTo>
                    <a:pt x="689" y="4303"/>
                  </a:lnTo>
                  <a:lnTo>
                    <a:pt x="715" y="4296"/>
                  </a:lnTo>
                  <a:lnTo>
                    <a:pt x="741" y="4287"/>
                  </a:lnTo>
                  <a:lnTo>
                    <a:pt x="765" y="4277"/>
                  </a:lnTo>
                  <a:lnTo>
                    <a:pt x="790" y="4265"/>
                  </a:lnTo>
                  <a:lnTo>
                    <a:pt x="814" y="4254"/>
                  </a:lnTo>
                  <a:lnTo>
                    <a:pt x="837" y="4241"/>
                  </a:lnTo>
                  <a:lnTo>
                    <a:pt x="860" y="4227"/>
                  </a:lnTo>
                  <a:lnTo>
                    <a:pt x="882" y="4211"/>
                  </a:lnTo>
                  <a:lnTo>
                    <a:pt x="902" y="4194"/>
                  </a:lnTo>
                  <a:lnTo>
                    <a:pt x="922" y="4176"/>
                  </a:lnTo>
                  <a:lnTo>
                    <a:pt x="941" y="4159"/>
                  </a:lnTo>
                  <a:lnTo>
                    <a:pt x="959" y="4139"/>
                  </a:lnTo>
                  <a:lnTo>
                    <a:pt x="977" y="4119"/>
                  </a:lnTo>
                  <a:lnTo>
                    <a:pt x="994" y="4099"/>
                  </a:lnTo>
                  <a:lnTo>
                    <a:pt x="1008" y="4077"/>
                  </a:lnTo>
                  <a:lnTo>
                    <a:pt x="1023" y="4054"/>
                  </a:lnTo>
                  <a:lnTo>
                    <a:pt x="1037" y="4031"/>
                  </a:lnTo>
                  <a:lnTo>
                    <a:pt x="1048" y="4008"/>
                  </a:lnTo>
                  <a:lnTo>
                    <a:pt x="1060" y="3984"/>
                  </a:lnTo>
                  <a:lnTo>
                    <a:pt x="1070" y="3958"/>
                  </a:lnTo>
                  <a:lnTo>
                    <a:pt x="1079" y="3932"/>
                  </a:lnTo>
                  <a:lnTo>
                    <a:pt x="1086" y="3906"/>
                  </a:lnTo>
                  <a:lnTo>
                    <a:pt x="1091" y="3879"/>
                  </a:lnTo>
                  <a:lnTo>
                    <a:pt x="1097" y="3853"/>
                  </a:lnTo>
                  <a:lnTo>
                    <a:pt x="1100" y="3825"/>
                  </a:lnTo>
                  <a:lnTo>
                    <a:pt x="1102" y="3797"/>
                  </a:lnTo>
                  <a:lnTo>
                    <a:pt x="1103" y="3769"/>
                  </a:lnTo>
                  <a:lnTo>
                    <a:pt x="1103" y="3769"/>
                  </a:lnTo>
                  <a:lnTo>
                    <a:pt x="1102" y="3727"/>
                  </a:lnTo>
                  <a:lnTo>
                    <a:pt x="1097" y="3685"/>
                  </a:lnTo>
                  <a:lnTo>
                    <a:pt x="1089" y="3645"/>
                  </a:lnTo>
                  <a:lnTo>
                    <a:pt x="1079" y="3606"/>
                  </a:lnTo>
                  <a:lnTo>
                    <a:pt x="1066" y="3567"/>
                  </a:lnTo>
                  <a:lnTo>
                    <a:pt x="1050" y="3532"/>
                  </a:lnTo>
                  <a:lnTo>
                    <a:pt x="1031" y="3496"/>
                  </a:lnTo>
                  <a:lnTo>
                    <a:pt x="1010" y="3463"/>
                  </a:lnTo>
                  <a:lnTo>
                    <a:pt x="987" y="3430"/>
                  </a:lnTo>
                  <a:lnTo>
                    <a:pt x="961" y="3399"/>
                  </a:lnTo>
                  <a:lnTo>
                    <a:pt x="934" y="3372"/>
                  </a:lnTo>
                  <a:lnTo>
                    <a:pt x="905" y="3345"/>
                  </a:lnTo>
                  <a:lnTo>
                    <a:pt x="873" y="3320"/>
                  </a:lnTo>
                  <a:lnTo>
                    <a:pt x="840" y="3299"/>
                  </a:lnTo>
                  <a:lnTo>
                    <a:pt x="806" y="3279"/>
                  </a:lnTo>
                  <a:lnTo>
                    <a:pt x="770" y="3262"/>
                  </a:lnTo>
                  <a:lnTo>
                    <a:pt x="770" y="2734"/>
                  </a:lnTo>
                  <a:lnTo>
                    <a:pt x="770" y="2734"/>
                  </a:lnTo>
                  <a:lnTo>
                    <a:pt x="771" y="2701"/>
                  </a:lnTo>
                  <a:lnTo>
                    <a:pt x="774" y="2680"/>
                  </a:lnTo>
                  <a:lnTo>
                    <a:pt x="777" y="2654"/>
                  </a:lnTo>
                  <a:lnTo>
                    <a:pt x="784" y="2625"/>
                  </a:lnTo>
                  <a:lnTo>
                    <a:pt x="793" y="2595"/>
                  </a:lnTo>
                  <a:lnTo>
                    <a:pt x="806" y="2565"/>
                  </a:lnTo>
                  <a:lnTo>
                    <a:pt x="813" y="2549"/>
                  </a:lnTo>
                  <a:lnTo>
                    <a:pt x="820" y="2533"/>
                  </a:lnTo>
                  <a:lnTo>
                    <a:pt x="830" y="2519"/>
                  </a:lnTo>
                  <a:lnTo>
                    <a:pt x="840" y="2505"/>
                  </a:lnTo>
                  <a:lnTo>
                    <a:pt x="852" y="2489"/>
                  </a:lnTo>
                  <a:lnTo>
                    <a:pt x="865" y="2476"/>
                  </a:lnTo>
                  <a:lnTo>
                    <a:pt x="878" y="2462"/>
                  </a:lnTo>
                  <a:lnTo>
                    <a:pt x="893" y="2449"/>
                  </a:lnTo>
                  <a:lnTo>
                    <a:pt x="909" y="2437"/>
                  </a:lnTo>
                  <a:lnTo>
                    <a:pt x="928" y="2426"/>
                  </a:lnTo>
                  <a:lnTo>
                    <a:pt x="946" y="2416"/>
                  </a:lnTo>
                  <a:lnTo>
                    <a:pt x="967" y="2406"/>
                  </a:lnTo>
                  <a:lnTo>
                    <a:pt x="990" y="2398"/>
                  </a:lnTo>
                  <a:lnTo>
                    <a:pt x="1014" y="2391"/>
                  </a:lnTo>
                  <a:lnTo>
                    <a:pt x="1038" y="2385"/>
                  </a:lnTo>
                  <a:lnTo>
                    <a:pt x="1066" y="2381"/>
                  </a:lnTo>
                  <a:lnTo>
                    <a:pt x="1094" y="2380"/>
                  </a:lnTo>
                  <a:lnTo>
                    <a:pt x="1126" y="2378"/>
                  </a:lnTo>
                  <a:lnTo>
                    <a:pt x="1586" y="2378"/>
                  </a:lnTo>
                  <a:lnTo>
                    <a:pt x="1586" y="2378"/>
                  </a:lnTo>
                  <a:lnTo>
                    <a:pt x="1637" y="2377"/>
                  </a:lnTo>
                  <a:lnTo>
                    <a:pt x="1686" y="2374"/>
                  </a:lnTo>
                  <a:lnTo>
                    <a:pt x="1733" y="2370"/>
                  </a:lnTo>
                  <a:lnTo>
                    <a:pt x="1779" y="2364"/>
                  </a:lnTo>
                  <a:lnTo>
                    <a:pt x="1823" y="2355"/>
                  </a:lnTo>
                  <a:lnTo>
                    <a:pt x="1864" y="2345"/>
                  </a:lnTo>
                  <a:lnTo>
                    <a:pt x="1904" y="2334"/>
                  </a:lnTo>
                  <a:lnTo>
                    <a:pt x="1942" y="2321"/>
                  </a:lnTo>
                  <a:lnTo>
                    <a:pt x="1942" y="3263"/>
                  </a:lnTo>
                  <a:lnTo>
                    <a:pt x="1942" y="3263"/>
                  </a:lnTo>
                  <a:lnTo>
                    <a:pt x="1906" y="3279"/>
                  </a:lnTo>
                  <a:lnTo>
                    <a:pt x="1871" y="3299"/>
                  </a:lnTo>
                  <a:lnTo>
                    <a:pt x="1838" y="3320"/>
                  </a:lnTo>
                  <a:lnTo>
                    <a:pt x="1807" y="3345"/>
                  </a:lnTo>
                  <a:lnTo>
                    <a:pt x="1778" y="3372"/>
                  </a:lnTo>
                  <a:lnTo>
                    <a:pt x="1751" y="3399"/>
                  </a:lnTo>
                  <a:lnTo>
                    <a:pt x="1725" y="3430"/>
                  </a:lnTo>
                  <a:lnTo>
                    <a:pt x="1702" y="3463"/>
                  </a:lnTo>
                  <a:lnTo>
                    <a:pt x="1680" y="3496"/>
                  </a:lnTo>
                  <a:lnTo>
                    <a:pt x="1662" y="3532"/>
                  </a:lnTo>
                  <a:lnTo>
                    <a:pt x="1646" y="3567"/>
                  </a:lnTo>
                  <a:lnTo>
                    <a:pt x="1633" y="3606"/>
                  </a:lnTo>
                  <a:lnTo>
                    <a:pt x="1623" y="3645"/>
                  </a:lnTo>
                  <a:lnTo>
                    <a:pt x="1614" y="3685"/>
                  </a:lnTo>
                  <a:lnTo>
                    <a:pt x="1610" y="3727"/>
                  </a:lnTo>
                  <a:lnTo>
                    <a:pt x="1609" y="3769"/>
                  </a:lnTo>
                  <a:lnTo>
                    <a:pt x="1609" y="3769"/>
                  </a:lnTo>
                  <a:lnTo>
                    <a:pt x="1609" y="3797"/>
                  </a:lnTo>
                  <a:lnTo>
                    <a:pt x="1611" y="3825"/>
                  </a:lnTo>
                  <a:lnTo>
                    <a:pt x="1614" y="3853"/>
                  </a:lnTo>
                  <a:lnTo>
                    <a:pt x="1620" y="3879"/>
                  </a:lnTo>
                  <a:lnTo>
                    <a:pt x="1626" y="3906"/>
                  </a:lnTo>
                  <a:lnTo>
                    <a:pt x="1633" y="3932"/>
                  </a:lnTo>
                  <a:lnTo>
                    <a:pt x="1642" y="3958"/>
                  </a:lnTo>
                  <a:lnTo>
                    <a:pt x="1652" y="3984"/>
                  </a:lnTo>
                  <a:lnTo>
                    <a:pt x="1663" y="4008"/>
                  </a:lnTo>
                  <a:lnTo>
                    <a:pt x="1675" y="4031"/>
                  </a:lnTo>
                  <a:lnTo>
                    <a:pt x="1689" y="4054"/>
                  </a:lnTo>
                  <a:lnTo>
                    <a:pt x="1703" y="4077"/>
                  </a:lnTo>
                  <a:lnTo>
                    <a:pt x="1718" y="4099"/>
                  </a:lnTo>
                  <a:lnTo>
                    <a:pt x="1735" y="4119"/>
                  </a:lnTo>
                  <a:lnTo>
                    <a:pt x="1752" y="4139"/>
                  </a:lnTo>
                  <a:lnTo>
                    <a:pt x="1769" y="4159"/>
                  </a:lnTo>
                  <a:lnTo>
                    <a:pt x="1789" y="4176"/>
                  </a:lnTo>
                  <a:lnTo>
                    <a:pt x="1810" y="4194"/>
                  </a:lnTo>
                  <a:lnTo>
                    <a:pt x="1830" y="4211"/>
                  </a:lnTo>
                  <a:lnTo>
                    <a:pt x="1851" y="4227"/>
                  </a:lnTo>
                  <a:lnTo>
                    <a:pt x="1874" y="4241"/>
                  </a:lnTo>
                  <a:lnTo>
                    <a:pt x="1897" y="4254"/>
                  </a:lnTo>
                  <a:lnTo>
                    <a:pt x="1922" y="4265"/>
                  </a:lnTo>
                  <a:lnTo>
                    <a:pt x="1946" y="4277"/>
                  </a:lnTo>
                  <a:lnTo>
                    <a:pt x="1970" y="4287"/>
                  </a:lnTo>
                  <a:lnTo>
                    <a:pt x="1996" y="4296"/>
                  </a:lnTo>
                  <a:lnTo>
                    <a:pt x="2022" y="4303"/>
                  </a:lnTo>
                  <a:lnTo>
                    <a:pt x="2049" y="4309"/>
                  </a:lnTo>
                  <a:lnTo>
                    <a:pt x="2077" y="4314"/>
                  </a:lnTo>
                  <a:lnTo>
                    <a:pt x="2104" y="4317"/>
                  </a:lnTo>
                  <a:lnTo>
                    <a:pt x="2131" y="4320"/>
                  </a:lnTo>
                  <a:lnTo>
                    <a:pt x="2160" y="4320"/>
                  </a:lnTo>
                  <a:lnTo>
                    <a:pt x="2160" y="4320"/>
                  </a:lnTo>
                  <a:lnTo>
                    <a:pt x="2189" y="4320"/>
                  </a:lnTo>
                  <a:lnTo>
                    <a:pt x="2216" y="4317"/>
                  </a:lnTo>
                  <a:lnTo>
                    <a:pt x="2243" y="4314"/>
                  </a:lnTo>
                  <a:lnTo>
                    <a:pt x="2271" y="4309"/>
                  </a:lnTo>
                  <a:lnTo>
                    <a:pt x="2298" y="4303"/>
                  </a:lnTo>
                  <a:lnTo>
                    <a:pt x="2324" y="4296"/>
                  </a:lnTo>
                  <a:lnTo>
                    <a:pt x="2350" y="4287"/>
                  </a:lnTo>
                  <a:lnTo>
                    <a:pt x="2374" y="4277"/>
                  </a:lnTo>
                  <a:lnTo>
                    <a:pt x="2398" y="4265"/>
                  </a:lnTo>
                  <a:lnTo>
                    <a:pt x="2423" y="4254"/>
                  </a:lnTo>
                  <a:lnTo>
                    <a:pt x="2446" y="4241"/>
                  </a:lnTo>
                  <a:lnTo>
                    <a:pt x="2469" y="4227"/>
                  </a:lnTo>
                  <a:lnTo>
                    <a:pt x="2490" y="4211"/>
                  </a:lnTo>
                  <a:lnTo>
                    <a:pt x="2510" y="4194"/>
                  </a:lnTo>
                  <a:lnTo>
                    <a:pt x="2531" y="4176"/>
                  </a:lnTo>
                  <a:lnTo>
                    <a:pt x="2551" y="4159"/>
                  </a:lnTo>
                  <a:lnTo>
                    <a:pt x="2568" y="4139"/>
                  </a:lnTo>
                  <a:lnTo>
                    <a:pt x="2585" y="4119"/>
                  </a:lnTo>
                  <a:lnTo>
                    <a:pt x="2602" y="4099"/>
                  </a:lnTo>
                  <a:lnTo>
                    <a:pt x="2617" y="4077"/>
                  </a:lnTo>
                  <a:lnTo>
                    <a:pt x="2631" y="4054"/>
                  </a:lnTo>
                  <a:lnTo>
                    <a:pt x="2645" y="4031"/>
                  </a:lnTo>
                  <a:lnTo>
                    <a:pt x="2657" y="4008"/>
                  </a:lnTo>
                  <a:lnTo>
                    <a:pt x="2668" y="3984"/>
                  </a:lnTo>
                  <a:lnTo>
                    <a:pt x="2678" y="3958"/>
                  </a:lnTo>
                  <a:lnTo>
                    <a:pt x="2687" y="3932"/>
                  </a:lnTo>
                  <a:lnTo>
                    <a:pt x="2694" y="3906"/>
                  </a:lnTo>
                  <a:lnTo>
                    <a:pt x="2700" y="3879"/>
                  </a:lnTo>
                  <a:lnTo>
                    <a:pt x="2706" y="3853"/>
                  </a:lnTo>
                  <a:lnTo>
                    <a:pt x="2709" y="3825"/>
                  </a:lnTo>
                  <a:lnTo>
                    <a:pt x="2711" y="3797"/>
                  </a:lnTo>
                  <a:lnTo>
                    <a:pt x="2711" y="3769"/>
                  </a:lnTo>
                  <a:lnTo>
                    <a:pt x="2711" y="3769"/>
                  </a:lnTo>
                  <a:lnTo>
                    <a:pt x="2710" y="3727"/>
                  </a:lnTo>
                  <a:lnTo>
                    <a:pt x="2706" y="3685"/>
                  </a:lnTo>
                  <a:lnTo>
                    <a:pt x="2697" y="3645"/>
                  </a:lnTo>
                  <a:lnTo>
                    <a:pt x="2687" y="3606"/>
                  </a:lnTo>
                  <a:lnTo>
                    <a:pt x="2674" y="3567"/>
                  </a:lnTo>
                  <a:lnTo>
                    <a:pt x="2658" y="3532"/>
                  </a:lnTo>
                  <a:lnTo>
                    <a:pt x="2640" y="3496"/>
                  </a:lnTo>
                  <a:lnTo>
                    <a:pt x="2618" y="3463"/>
                  </a:lnTo>
                  <a:lnTo>
                    <a:pt x="2595" y="3430"/>
                  </a:lnTo>
                  <a:lnTo>
                    <a:pt x="2569" y="3399"/>
                  </a:lnTo>
                  <a:lnTo>
                    <a:pt x="2542" y="3372"/>
                  </a:lnTo>
                  <a:lnTo>
                    <a:pt x="2513" y="3345"/>
                  </a:lnTo>
                  <a:lnTo>
                    <a:pt x="2482" y="3320"/>
                  </a:lnTo>
                  <a:lnTo>
                    <a:pt x="2449" y="3299"/>
                  </a:lnTo>
                  <a:lnTo>
                    <a:pt x="2414" y="3279"/>
                  </a:lnTo>
                  <a:lnTo>
                    <a:pt x="2378" y="3262"/>
                  </a:lnTo>
                  <a:lnTo>
                    <a:pt x="2378" y="2321"/>
                  </a:lnTo>
                  <a:lnTo>
                    <a:pt x="2378" y="2321"/>
                  </a:lnTo>
                  <a:lnTo>
                    <a:pt x="2416" y="2334"/>
                  </a:lnTo>
                  <a:lnTo>
                    <a:pt x="2456" y="2345"/>
                  </a:lnTo>
                  <a:lnTo>
                    <a:pt x="2498" y="2355"/>
                  </a:lnTo>
                  <a:lnTo>
                    <a:pt x="2541" y="2364"/>
                  </a:lnTo>
                  <a:lnTo>
                    <a:pt x="2587" y="2370"/>
                  </a:lnTo>
                  <a:lnTo>
                    <a:pt x="2634" y="2374"/>
                  </a:lnTo>
                  <a:lnTo>
                    <a:pt x="2683" y="2377"/>
                  </a:lnTo>
                  <a:lnTo>
                    <a:pt x="2734" y="2378"/>
                  </a:lnTo>
                  <a:lnTo>
                    <a:pt x="3194" y="2378"/>
                  </a:lnTo>
                  <a:lnTo>
                    <a:pt x="3194" y="2378"/>
                  </a:lnTo>
                  <a:lnTo>
                    <a:pt x="3224" y="2380"/>
                  </a:lnTo>
                  <a:lnTo>
                    <a:pt x="3251" y="2381"/>
                  </a:lnTo>
                  <a:lnTo>
                    <a:pt x="3277" y="2385"/>
                  </a:lnTo>
                  <a:lnTo>
                    <a:pt x="3303" y="2390"/>
                  </a:lnTo>
                  <a:lnTo>
                    <a:pt x="3326" y="2397"/>
                  </a:lnTo>
                  <a:lnTo>
                    <a:pt x="3348" y="2404"/>
                  </a:lnTo>
                  <a:lnTo>
                    <a:pt x="3368" y="2413"/>
                  </a:lnTo>
                  <a:lnTo>
                    <a:pt x="3386" y="2423"/>
                  </a:lnTo>
                  <a:lnTo>
                    <a:pt x="3404" y="2433"/>
                  </a:lnTo>
                  <a:lnTo>
                    <a:pt x="3420" y="2444"/>
                  </a:lnTo>
                  <a:lnTo>
                    <a:pt x="3435" y="2456"/>
                  </a:lnTo>
                  <a:lnTo>
                    <a:pt x="3450" y="2469"/>
                  </a:lnTo>
                  <a:lnTo>
                    <a:pt x="3461" y="2483"/>
                  </a:lnTo>
                  <a:lnTo>
                    <a:pt x="3473" y="2496"/>
                  </a:lnTo>
                  <a:lnTo>
                    <a:pt x="3484" y="2510"/>
                  </a:lnTo>
                  <a:lnTo>
                    <a:pt x="3493" y="2526"/>
                  </a:lnTo>
                  <a:lnTo>
                    <a:pt x="3501" y="2541"/>
                  </a:lnTo>
                  <a:lnTo>
                    <a:pt x="3510" y="2555"/>
                  </a:lnTo>
                  <a:lnTo>
                    <a:pt x="3523" y="2585"/>
                  </a:lnTo>
                  <a:lnTo>
                    <a:pt x="3533" y="2615"/>
                  </a:lnTo>
                  <a:lnTo>
                    <a:pt x="3540" y="2644"/>
                  </a:lnTo>
                  <a:lnTo>
                    <a:pt x="3544" y="2671"/>
                  </a:lnTo>
                  <a:lnTo>
                    <a:pt x="3547" y="2696"/>
                  </a:lnTo>
                  <a:lnTo>
                    <a:pt x="3550" y="2717"/>
                  </a:lnTo>
                  <a:lnTo>
                    <a:pt x="3550" y="2734"/>
                  </a:lnTo>
                  <a:lnTo>
                    <a:pt x="3550" y="3262"/>
                  </a:lnTo>
                  <a:lnTo>
                    <a:pt x="3550" y="3262"/>
                  </a:lnTo>
                  <a:lnTo>
                    <a:pt x="3514" y="3279"/>
                  </a:lnTo>
                  <a:lnTo>
                    <a:pt x="3480" y="3299"/>
                  </a:lnTo>
                  <a:lnTo>
                    <a:pt x="3447" y="3320"/>
                  </a:lnTo>
                  <a:lnTo>
                    <a:pt x="3415" y="3345"/>
                  </a:lnTo>
                  <a:lnTo>
                    <a:pt x="3386" y="3372"/>
                  </a:lnTo>
                  <a:lnTo>
                    <a:pt x="3359" y="3399"/>
                  </a:lnTo>
                  <a:lnTo>
                    <a:pt x="3333" y="3430"/>
                  </a:lnTo>
                  <a:lnTo>
                    <a:pt x="3310" y="3463"/>
                  </a:lnTo>
                  <a:lnTo>
                    <a:pt x="3289" y="3496"/>
                  </a:lnTo>
                  <a:lnTo>
                    <a:pt x="3270" y="3532"/>
                  </a:lnTo>
                  <a:lnTo>
                    <a:pt x="3254" y="3567"/>
                  </a:lnTo>
                  <a:lnTo>
                    <a:pt x="3241" y="3606"/>
                  </a:lnTo>
                  <a:lnTo>
                    <a:pt x="3231" y="3645"/>
                  </a:lnTo>
                  <a:lnTo>
                    <a:pt x="3223" y="3685"/>
                  </a:lnTo>
                  <a:lnTo>
                    <a:pt x="3218" y="3727"/>
                  </a:lnTo>
                  <a:lnTo>
                    <a:pt x="3217" y="3769"/>
                  </a:lnTo>
                  <a:lnTo>
                    <a:pt x="3217" y="3769"/>
                  </a:lnTo>
                  <a:lnTo>
                    <a:pt x="3218" y="3797"/>
                  </a:lnTo>
                  <a:lnTo>
                    <a:pt x="3220" y="3825"/>
                  </a:lnTo>
                  <a:lnTo>
                    <a:pt x="3223" y="3853"/>
                  </a:lnTo>
                  <a:lnTo>
                    <a:pt x="3229" y="3879"/>
                  </a:lnTo>
                  <a:lnTo>
                    <a:pt x="3234" y="3906"/>
                  </a:lnTo>
                  <a:lnTo>
                    <a:pt x="3241" y="3932"/>
                  </a:lnTo>
                  <a:lnTo>
                    <a:pt x="3250" y="3958"/>
                  </a:lnTo>
                  <a:lnTo>
                    <a:pt x="3260" y="3984"/>
                  </a:lnTo>
                  <a:lnTo>
                    <a:pt x="3272" y="4008"/>
                  </a:lnTo>
                  <a:lnTo>
                    <a:pt x="3283" y="4031"/>
                  </a:lnTo>
                  <a:lnTo>
                    <a:pt x="3297" y="4054"/>
                  </a:lnTo>
                  <a:lnTo>
                    <a:pt x="3312" y="4077"/>
                  </a:lnTo>
                  <a:lnTo>
                    <a:pt x="3326" y="4099"/>
                  </a:lnTo>
                  <a:lnTo>
                    <a:pt x="3343" y="4119"/>
                  </a:lnTo>
                  <a:lnTo>
                    <a:pt x="3361" y="4139"/>
                  </a:lnTo>
                  <a:lnTo>
                    <a:pt x="3379" y="4159"/>
                  </a:lnTo>
                  <a:lnTo>
                    <a:pt x="3398" y="4176"/>
                  </a:lnTo>
                  <a:lnTo>
                    <a:pt x="3418" y="4194"/>
                  </a:lnTo>
                  <a:lnTo>
                    <a:pt x="3438" y="4211"/>
                  </a:lnTo>
                  <a:lnTo>
                    <a:pt x="3460" y="4227"/>
                  </a:lnTo>
                  <a:lnTo>
                    <a:pt x="3483" y="4241"/>
                  </a:lnTo>
                  <a:lnTo>
                    <a:pt x="3506" y="4254"/>
                  </a:lnTo>
                  <a:lnTo>
                    <a:pt x="3530" y="4265"/>
                  </a:lnTo>
                  <a:lnTo>
                    <a:pt x="3555" y="4277"/>
                  </a:lnTo>
                  <a:lnTo>
                    <a:pt x="3579" y="4287"/>
                  </a:lnTo>
                  <a:lnTo>
                    <a:pt x="3605" y="4296"/>
                  </a:lnTo>
                  <a:lnTo>
                    <a:pt x="3631" y="4303"/>
                  </a:lnTo>
                  <a:lnTo>
                    <a:pt x="3658" y="4309"/>
                  </a:lnTo>
                  <a:lnTo>
                    <a:pt x="3685" y="4314"/>
                  </a:lnTo>
                  <a:lnTo>
                    <a:pt x="3713" y="4317"/>
                  </a:lnTo>
                  <a:lnTo>
                    <a:pt x="3740" y="4320"/>
                  </a:lnTo>
                  <a:lnTo>
                    <a:pt x="3769" y="4320"/>
                  </a:lnTo>
                  <a:lnTo>
                    <a:pt x="3769" y="4320"/>
                  </a:lnTo>
                  <a:lnTo>
                    <a:pt x="3797" y="4320"/>
                  </a:lnTo>
                  <a:lnTo>
                    <a:pt x="3825" y="4317"/>
                  </a:lnTo>
                  <a:lnTo>
                    <a:pt x="3853" y="4314"/>
                  </a:lnTo>
                  <a:lnTo>
                    <a:pt x="3879" y="4309"/>
                  </a:lnTo>
                  <a:lnTo>
                    <a:pt x="3906" y="4303"/>
                  </a:lnTo>
                  <a:lnTo>
                    <a:pt x="3932" y="4296"/>
                  </a:lnTo>
                  <a:lnTo>
                    <a:pt x="3958" y="4287"/>
                  </a:lnTo>
                  <a:lnTo>
                    <a:pt x="3984" y="4277"/>
                  </a:lnTo>
                  <a:lnTo>
                    <a:pt x="4008" y="4265"/>
                  </a:lnTo>
                  <a:lnTo>
                    <a:pt x="4031" y="4254"/>
                  </a:lnTo>
                  <a:lnTo>
                    <a:pt x="4054" y="4241"/>
                  </a:lnTo>
                  <a:lnTo>
                    <a:pt x="4077" y="4227"/>
                  </a:lnTo>
                  <a:lnTo>
                    <a:pt x="4099" y="4211"/>
                  </a:lnTo>
                  <a:lnTo>
                    <a:pt x="4119" y="4194"/>
                  </a:lnTo>
                  <a:lnTo>
                    <a:pt x="4139" y="4176"/>
                  </a:lnTo>
                  <a:lnTo>
                    <a:pt x="4159" y="4159"/>
                  </a:lnTo>
                  <a:lnTo>
                    <a:pt x="4176" y="4139"/>
                  </a:lnTo>
                  <a:lnTo>
                    <a:pt x="4194" y="4119"/>
                  </a:lnTo>
                  <a:lnTo>
                    <a:pt x="4211" y="4099"/>
                  </a:lnTo>
                  <a:lnTo>
                    <a:pt x="4227" y="4077"/>
                  </a:lnTo>
                  <a:lnTo>
                    <a:pt x="4241" y="4054"/>
                  </a:lnTo>
                  <a:lnTo>
                    <a:pt x="4254" y="4031"/>
                  </a:lnTo>
                  <a:lnTo>
                    <a:pt x="4265" y="4008"/>
                  </a:lnTo>
                  <a:lnTo>
                    <a:pt x="4277" y="3984"/>
                  </a:lnTo>
                  <a:lnTo>
                    <a:pt x="4287" y="3958"/>
                  </a:lnTo>
                  <a:lnTo>
                    <a:pt x="4296" y="3932"/>
                  </a:lnTo>
                  <a:lnTo>
                    <a:pt x="4303" y="3906"/>
                  </a:lnTo>
                  <a:lnTo>
                    <a:pt x="4309" y="3879"/>
                  </a:lnTo>
                  <a:lnTo>
                    <a:pt x="4314" y="3853"/>
                  </a:lnTo>
                  <a:lnTo>
                    <a:pt x="4317" y="3825"/>
                  </a:lnTo>
                  <a:lnTo>
                    <a:pt x="4320" y="3797"/>
                  </a:lnTo>
                  <a:lnTo>
                    <a:pt x="4320" y="3769"/>
                  </a:lnTo>
                  <a:lnTo>
                    <a:pt x="4320" y="3769"/>
                  </a:lnTo>
                  <a:lnTo>
                    <a:pt x="4319" y="3727"/>
                  </a:lnTo>
                  <a:lnTo>
                    <a:pt x="4314" y="3685"/>
                  </a:lnTo>
                  <a:lnTo>
                    <a:pt x="4306" y="3645"/>
                  </a:lnTo>
                  <a:lnTo>
                    <a:pt x="4296" y="3606"/>
                  </a:lnTo>
                  <a:lnTo>
                    <a:pt x="4283" y="3567"/>
                  </a:lnTo>
                  <a:lnTo>
                    <a:pt x="4267" y="3532"/>
                  </a:lnTo>
                  <a:lnTo>
                    <a:pt x="4248" y="3496"/>
                  </a:lnTo>
                  <a:lnTo>
                    <a:pt x="4227" y="3463"/>
                  </a:lnTo>
                  <a:lnTo>
                    <a:pt x="4204" y="3430"/>
                  </a:lnTo>
                  <a:lnTo>
                    <a:pt x="4178" y="3399"/>
                  </a:lnTo>
                  <a:lnTo>
                    <a:pt x="4151" y="3372"/>
                  </a:lnTo>
                  <a:lnTo>
                    <a:pt x="4122" y="3345"/>
                  </a:lnTo>
                  <a:lnTo>
                    <a:pt x="4090" y="3320"/>
                  </a:lnTo>
                  <a:lnTo>
                    <a:pt x="4057" y="3299"/>
                  </a:lnTo>
                  <a:lnTo>
                    <a:pt x="4023" y="3279"/>
                  </a:lnTo>
                  <a:lnTo>
                    <a:pt x="3987" y="3262"/>
                  </a:lnTo>
                  <a:lnTo>
                    <a:pt x="3987" y="3262"/>
                  </a:lnTo>
                  <a:close/>
                  <a:moveTo>
                    <a:pt x="869" y="3769"/>
                  </a:moveTo>
                  <a:lnTo>
                    <a:pt x="869" y="3769"/>
                  </a:lnTo>
                  <a:lnTo>
                    <a:pt x="867" y="3802"/>
                  </a:lnTo>
                  <a:lnTo>
                    <a:pt x="863" y="3833"/>
                  </a:lnTo>
                  <a:lnTo>
                    <a:pt x="855" y="3863"/>
                  </a:lnTo>
                  <a:lnTo>
                    <a:pt x="844" y="3892"/>
                  </a:lnTo>
                  <a:lnTo>
                    <a:pt x="832" y="3921"/>
                  </a:lnTo>
                  <a:lnTo>
                    <a:pt x="816" y="3947"/>
                  </a:lnTo>
                  <a:lnTo>
                    <a:pt x="797" y="3971"/>
                  </a:lnTo>
                  <a:lnTo>
                    <a:pt x="777" y="3994"/>
                  </a:lnTo>
                  <a:lnTo>
                    <a:pt x="754" y="4014"/>
                  </a:lnTo>
                  <a:lnTo>
                    <a:pt x="730" y="4033"/>
                  </a:lnTo>
                  <a:lnTo>
                    <a:pt x="702" y="4049"/>
                  </a:lnTo>
                  <a:lnTo>
                    <a:pt x="675" y="4061"/>
                  </a:lnTo>
                  <a:lnTo>
                    <a:pt x="646" y="4073"/>
                  </a:lnTo>
                  <a:lnTo>
                    <a:pt x="616" y="4080"/>
                  </a:lnTo>
                  <a:lnTo>
                    <a:pt x="585" y="4086"/>
                  </a:lnTo>
                  <a:lnTo>
                    <a:pt x="551" y="4087"/>
                  </a:lnTo>
                  <a:lnTo>
                    <a:pt x="551" y="4087"/>
                  </a:lnTo>
                  <a:lnTo>
                    <a:pt x="518" y="4086"/>
                  </a:lnTo>
                  <a:lnTo>
                    <a:pt x="487" y="4080"/>
                  </a:lnTo>
                  <a:lnTo>
                    <a:pt x="457" y="4073"/>
                  </a:lnTo>
                  <a:lnTo>
                    <a:pt x="428" y="4061"/>
                  </a:lnTo>
                  <a:lnTo>
                    <a:pt x="399" y="4049"/>
                  </a:lnTo>
                  <a:lnTo>
                    <a:pt x="373" y="4033"/>
                  </a:lnTo>
                  <a:lnTo>
                    <a:pt x="349" y="4014"/>
                  </a:lnTo>
                  <a:lnTo>
                    <a:pt x="326" y="3994"/>
                  </a:lnTo>
                  <a:lnTo>
                    <a:pt x="306" y="3971"/>
                  </a:lnTo>
                  <a:lnTo>
                    <a:pt x="287" y="3947"/>
                  </a:lnTo>
                  <a:lnTo>
                    <a:pt x="271" y="3921"/>
                  </a:lnTo>
                  <a:lnTo>
                    <a:pt x="259" y="3892"/>
                  </a:lnTo>
                  <a:lnTo>
                    <a:pt x="247" y="3863"/>
                  </a:lnTo>
                  <a:lnTo>
                    <a:pt x="240" y="3833"/>
                  </a:lnTo>
                  <a:lnTo>
                    <a:pt x="234" y="3802"/>
                  </a:lnTo>
                  <a:lnTo>
                    <a:pt x="233" y="3769"/>
                  </a:lnTo>
                  <a:lnTo>
                    <a:pt x="233" y="3769"/>
                  </a:lnTo>
                  <a:lnTo>
                    <a:pt x="234" y="3735"/>
                  </a:lnTo>
                  <a:lnTo>
                    <a:pt x="240" y="3704"/>
                  </a:lnTo>
                  <a:lnTo>
                    <a:pt x="247" y="3674"/>
                  </a:lnTo>
                  <a:lnTo>
                    <a:pt x="259" y="3645"/>
                  </a:lnTo>
                  <a:lnTo>
                    <a:pt x="271" y="3616"/>
                  </a:lnTo>
                  <a:lnTo>
                    <a:pt x="287" y="3590"/>
                  </a:lnTo>
                  <a:lnTo>
                    <a:pt x="306" y="3566"/>
                  </a:lnTo>
                  <a:lnTo>
                    <a:pt x="326" y="3543"/>
                  </a:lnTo>
                  <a:lnTo>
                    <a:pt x="349" y="3523"/>
                  </a:lnTo>
                  <a:lnTo>
                    <a:pt x="373" y="3504"/>
                  </a:lnTo>
                  <a:lnTo>
                    <a:pt x="399" y="3488"/>
                  </a:lnTo>
                  <a:lnTo>
                    <a:pt x="428" y="3476"/>
                  </a:lnTo>
                  <a:lnTo>
                    <a:pt x="457" y="3465"/>
                  </a:lnTo>
                  <a:lnTo>
                    <a:pt x="487" y="3457"/>
                  </a:lnTo>
                  <a:lnTo>
                    <a:pt x="518" y="3453"/>
                  </a:lnTo>
                  <a:lnTo>
                    <a:pt x="551" y="3451"/>
                  </a:lnTo>
                  <a:lnTo>
                    <a:pt x="551" y="3451"/>
                  </a:lnTo>
                  <a:lnTo>
                    <a:pt x="585" y="3453"/>
                  </a:lnTo>
                  <a:lnTo>
                    <a:pt x="616" y="3457"/>
                  </a:lnTo>
                  <a:lnTo>
                    <a:pt x="646" y="3465"/>
                  </a:lnTo>
                  <a:lnTo>
                    <a:pt x="675" y="3476"/>
                  </a:lnTo>
                  <a:lnTo>
                    <a:pt x="702" y="3488"/>
                  </a:lnTo>
                  <a:lnTo>
                    <a:pt x="730" y="3504"/>
                  </a:lnTo>
                  <a:lnTo>
                    <a:pt x="754" y="3523"/>
                  </a:lnTo>
                  <a:lnTo>
                    <a:pt x="777" y="3543"/>
                  </a:lnTo>
                  <a:lnTo>
                    <a:pt x="797" y="3566"/>
                  </a:lnTo>
                  <a:lnTo>
                    <a:pt x="816" y="3590"/>
                  </a:lnTo>
                  <a:lnTo>
                    <a:pt x="832" y="3616"/>
                  </a:lnTo>
                  <a:lnTo>
                    <a:pt x="844" y="3645"/>
                  </a:lnTo>
                  <a:lnTo>
                    <a:pt x="855" y="3674"/>
                  </a:lnTo>
                  <a:lnTo>
                    <a:pt x="863" y="3704"/>
                  </a:lnTo>
                  <a:lnTo>
                    <a:pt x="867" y="3735"/>
                  </a:lnTo>
                  <a:lnTo>
                    <a:pt x="869" y="3769"/>
                  </a:lnTo>
                  <a:lnTo>
                    <a:pt x="869" y="3769"/>
                  </a:lnTo>
                  <a:close/>
                  <a:moveTo>
                    <a:pt x="1841" y="551"/>
                  </a:moveTo>
                  <a:lnTo>
                    <a:pt x="1841" y="551"/>
                  </a:lnTo>
                  <a:lnTo>
                    <a:pt x="1844" y="518"/>
                  </a:lnTo>
                  <a:lnTo>
                    <a:pt x="1848" y="487"/>
                  </a:lnTo>
                  <a:lnTo>
                    <a:pt x="1856" y="457"/>
                  </a:lnTo>
                  <a:lnTo>
                    <a:pt x="1867" y="428"/>
                  </a:lnTo>
                  <a:lnTo>
                    <a:pt x="1880" y="399"/>
                  </a:lnTo>
                  <a:lnTo>
                    <a:pt x="1896" y="373"/>
                  </a:lnTo>
                  <a:lnTo>
                    <a:pt x="1914" y="349"/>
                  </a:lnTo>
                  <a:lnTo>
                    <a:pt x="1935" y="326"/>
                  </a:lnTo>
                  <a:lnTo>
                    <a:pt x="1958" y="306"/>
                  </a:lnTo>
                  <a:lnTo>
                    <a:pt x="1982" y="287"/>
                  </a:lnTo>
                  <a:lnTo>
                    <a:pt x="2008" y="271"/>
                  </a:lnTo>
                  <a:lnTo>
                    <a:pt x="2036" y="259"/>
                  </a:lnTo>
                  <a:lnTo>
                    <a:pt x="2065" y="247"/>
                  </a:lnTo>
                  <a:lnTo>
                    <a:pt x="2095" y="240"/>
                  </a:lnTo>
                  <a:lnTo>
                    <a:pt x="2127" y="234"/>
                  </a:lnTo>
                  <a:lnTo>
                    <a:pt x="2160" y="233"/>
                  </a:lnTo>
                  <a:lnTo>
                    <a:pt x="2160" y="233"/>
                  </a:lnTo>
                  <a:lnTo>
                    <a:pt x="2193" y="234"/>
                  </a:lnTo>
                  <a:lnTo>
                    <a:pt x="2225" y="240"/>
                  </a:lnTo>
                  <a:lnTo>
                    <a:pt x="2255" y="247"/>
                  </a:lnTo>
                  <a:lnTo>
                    <a:pt x="2284" y="259"/>
                  </a:lnTo>
                  <a:lnTo>
                    <a:pt x="2312" y="271"/>
                  </a:lnTo>
                  <a:lnTo>
                    <a:pt x="2338" y="287"/>
                  </a:lnTo>
                  <a:lnTo>
                    <a:pt x="2363" y="306"/>
                  </a:lnTo>
                  <a:lnTo>
                    <a:pt x="2385" y="326"/>
                  </a:lnTo>
                  <a:lnTo>
                    <a:pt x="2406" y="349"/>
                  </a:lnTo>
                  <a:lnTo>
                    <a:pt x="2424" y="373"/>
                  </a:lnTo>
                  <a:lnTo>
                    <a:pt x="2440" y="399"/>
                  </a:lnTo>
                  <a:lnTo>
                    <a:pt x="2453" y="428"/>
                  </a:lnTo>
                  <a:lnTo>
                    <a:pt x="2464" y="457"/>
                  </a:lnTo>
                  <a:lnTo>
                    <a:pt x="2472" y="487"/>
                  </a:lnTo>
                  <a:lnTo>
                    <a:pt x="2476" y="518"/>
                  </a:lnTo>
                  <a:lnTo>
                    <a:pt x="2479" y="551"/>
                  </a:lnTo>
                  <a:lnTo>
                    <a:pt x="2479" y="551"/>
                  </a:lnTo>
                  <a:lnTo>
                    <a:pt x="2476" y="585"/>
                  </a:lnTo>
                  <a:lnTo>
                    <a:pt x="2472" y="616"/>
                  </a:lnTo>
                  <a:lnTo>
                    <a:pt x="2464" y="646"/>
                  </a:lnTo>
                  <a:lnTo>
                    <a:pt x="2453" y="675"/>
                  </a:lnTo>
                  <a:lnTo>
                    <a:pt x="2440" y="704"/>
                  </a:lnTo>
                  <a:lnTo>
                    <a:pt x="2424" y="730"/>
                  </a:lnTo>
                  <a:lnTo>
                    <a:pt x="2406" y="754"/>
                  </a:lnTo>
                  <a:lnTo>
                    <a:pt x="2385" y="777"/>
                  </a:lnTo>
                  <a:lnTo>
                    <a:pt x="2363" y="797"/>
                  </a:lnTo>
                  <a:lnTo>
                    <a:pt x="2338" y="816"/>
                  </a:lnTo>
                  <a:lnTo>
                    <a:pt x="2312" y="832"/>
                  </a:lnTo>
                  <a:lnTo>
                    <a:pt x="2284" y="844"/>
                  </a:lnTo>
                  <a:lnTo>
                    <a:pt x="2255" y="855"/>
                  </a:lnTo>
                  <a:lnTo>
                    <a:pt x="2225" y="863"/>
                  </a:lnTo>
                  <a:lnTo>
                    <a:pt x="2193" y="867"/>
                  </a:lnTo>
                  <a:lnTo>
                    <a:pt x="2160" y="869"/>
                  </a:lnTo>
                  <a:lnTo>
                    <a:pt x="2160" y="869"/>
                  </a:lnTo>
                  <a:lnTo>
                    <a:pt x="2127" y="867"/>
                  </a:lnTo>
                  <a:lnTo>
                    <a:pt x="2095" y="863"/>
                  </a:lnTo>
                  <a:lnTo>
                    <a:pt x="2065" y="855"/>
                  </a:lnTo>
                  <a:lnTo>
                    <a:pt x="2036" y="844"/>
                  </a:lnTo>
                  <a:lnTo>
                    <a:pt x="2008" y="832"/>
                  </a:lnTo>
                  <a:lnTo>
                    <a:pt x="1982" y="816"/>
                  </a:lnTo>
                  <a:lnTo>
                    <a:pt x="1958" y="797"/>
                  </a:lnTo>
                  <a:lnTo>
                    <a:pt x="1935" y="777"/>
                  </a:lnTo>
                  <a:lnTo>
                    <a:pt x="1914" y="754"/>
                  </a:lnTo>
                  <a:lnTo>
                    <a:pt x="1896" y="730"/>
                  </a:lnTo>
                  <a:lnTo>
                    <a:pt x="1880" y="704"/>
                  </a:lnTo>
                  <a:lnTo>
                    <a:pt x="1867" y="675"/>
                  </a:lnTo>
                  <a:lnTo>
                    <a:pt x="1856" y="646"/>
                  </a:lnTo>
                  <a:lnTo>
                    <a:pt x="1848" y="616"/>
                  </a:lnTo>
                  <a:lnTo>
                    <a:pt x="1844" y="585"/>
                  </a:lnTo>
                  <a:lnTo>
                    <a:pt x="1841" y="551"/>
                  </a:lnTo>
                  <a:lnTo>
                    <a:pt x="1841" y="551"/>
                  </a:lnTo>
                  <a:close/>
                  <a:moveTo>
                    <a:pt x="2479" y="3769"/>
                  </a:moveTo>
                  <a:lnTo>
                    <a:pt x="2479" y="3769"/>
                  </a:lnTo>
                  <a:lnTo>
                    <a:pt x="2476" y="3802"/>
                  </a:lnTo>
                  <a:lnTo>
                    <a:pt x="2472" y="3833"/>
                  </a:lnTo>
                  <a:lnTo>
                    <a:pt x="2464" y="3863"/>
                  </a:lnTo>
                  <a:lnTo>
                    <a:pt x="2453" y="3892"/>
                  </a:lnTo>
                  <a:lnTo>
                    <a:pt x="2440" y="3921"/>
                  </a:lnTo>
                  <a:lnTo>
                    <a:pt x="2424" y="3947"/>
                  </a:lnTo>
                  <a:lnTo>
                    <a:pt x="2406" y="3971"/>
                  </a:lnTo>
                  <a:lnTo>
                    <a:pt x="2385" y="3994"/>
                  </a:lnTo>
                  <a:lnTo>
                    <a:pt x="2363" y="4014"/>
                  </a:lnTo>
                  <a:lnTo>
                    <a:pt x="2338" y="4033"/>
                  </a:lnTo>
                  <a:lnTo>
                    <a:pt x="2312" y="4049"/>
                  </a:lnTo>
                  <a:lnTo>
                    <a:pt x="2284" y="4061"/>
                  </a:lnTo>
                  <a:lnTo>
                    <a:pt x="2255" y="4073"/>
                  </a:lnTo>
                  <a:lnTo>
                    <a:pt x="2225" y="4080"/>
                  </a:lnTo>
                  <a:lnTo>
                    <a:pt x="2193" y="4086"/>
                  </a:lnTo>
                  <a:lnTo>
                    <a:pt x="2160" y="4087"/>
                  </a:lnTo>
                  <a:lnTo>
                    <a:pt x="2160" y="4087"/>
                  </a:lnTo>
                  <a:lnTo>
                    <a:pt x="2127" y="4086"/>
                  </a:lnTo>
                  <a:lnTo>
                    <a:pt x="2095" y="4080"/>
                  </a:lnTo>
                  <a:lnTo>
                    <a:pt x="2065" y="4073"/>
                  </a:lnTo>
                  <a:lnTo>
                    <a:pt x="2036" y="4061"/>
                  </a:lnTo>
                  <a:lnTo>
                    <a:pt x="2008" y="4049"/>
                  </a:lnTo>
                  <a:lnTo>
                    <a:pt x="1982" y="4033"/>
                  </a:lnTo>
                  <a:lnTo>
                    <a:pt x="1958" y="4014"/>
                  </a:lnTo>
                  <a:lnTo>
                    <a:pt x="1935" y="3994"/>
                  </a:lnTo>
                  <a:lnTo>
                    <a:pt x="1914" y="3971"/>
                  </a:lnTo>
                  <a:lnTo>
                    <a:pt x="1896" y="3947"/>
                  </a:lnTo>
                  <a:lnTo>
                    <a:pt x="1880" y="3921"/>
                  </a:lnTo>
                  <a:lnTo>
                    <a:pt x="1867" y="3892"/>
                  </a:lnTo>
                  <a:lnTo>
                    <a:pt x="1856" y="3863"/>
                  </a:lnTo>
                  <a:lnTo>
                    <a:pt x="1848" y="3833"/>
                  </a:lnTo>
                  <a:lnTo>
                    <a:pt x="1844" y="3802"/>
                  </a:lnTo>
                  <a:lnTo>
                    <a:pt x="1841" y="3769"/>
                  </a:lnTo>
                  <a:lnTo>
                    <a:pt x="1841" y="3769"/>
                  </a:lnTo>
                  <a:lnTo>
                    <a:pt x="1844" y="3735"/>
                  </a:lnTo>
                  <a:lnTo>
                    <a:pt x="1848" y="3704"/>
                  </a:lnTo>
                  <a:lnTo>
                    <a:pt x="1856" y="3674"/>
                  </a:lnTo>
                  <a:lnTo>
                    <a:pt x="1867" y="3645"/>
                  </a:lnTo>
                  <a:lnTo>
                    <a:pt x="1880" y="3616"/>
                  </a:lnTo>
                  <a:lnTo>
                    <a:pt x="1896" y="3590"/>
                  </a:lnTo>
                  <a:lnTo>
                    <a:pt x="1914" y="3566"/>
                  </a:lnTo>
                  <a:lnTo>
                    <a:pt x="1935" y="3543"/>
                  </a:lnTo>
                  <a:lnTo>
                    <a:pt x="1958" y="3523"/>
                  </a:lnTo>
                  <a:lnTo>
                    <a:pt x="1982" y="3504"/>
                  </a:lnTo>
                  <a:lnTo>
                    <a:pt x="2008" y="3488"/>
                  </a:lnTo>
                  <a:lnTo>
                    <a:pt x="2036" y="3476"/>
                  </a:lnTo>
                  <a:lnTo>
                    <a:pt x="2065" y="3465"/>
                  </a:lnTo>
                  <a:lnTo>
                    <a:pt x="2095" y="3457"/>
                  </a:lnTo>
                  <a:lnTo>
                    <a:pt x="2127" y="3453"/>
                  </a:lnTo>
                  <a:lnTo>
                    <a:pt x="2160" y="3451"/>
                  </a:lnTo>
                  <a:lnTo>
                    <a:pt x="2160" y="3451"/>
                  </a:lnTo>
                  <a:lnTo>
                    <a:pt x="2193" y="3453"/>
                  </a:lnTo>
                  <a:lnTo>
                    <a:pt x="2225" y="3457"/>
                  </a:lnTo>
                  <a:lnTo>
                    <a:pt x="2255" y="3465"/>
                  </a:lnTo>
                  <a:lnTo>
                    <a:pt x="2284" y="3476"/>
                  </a:lnTo>
                  <a:lnTo>
                    <a:pt x="2312" y="3488"/>
                  </a:lnTo>
                  <a:lnTo>
                    <a:pt x="2338" y="3504"/>
                  </a:lnTo>
                  <a:lnTo>
                    <a:pt x="2363" y="3523"/>
                  </a:lnTo>
                  <a:lnTo>
                    <a:pt x="2385" y="3543"/>
                  </a:lnTo>
                  <a:lnTo>
                    <a:pt x="2406" y="3566"/>
                  </a:lnTo>
                  <a:lnTo>
                    <a:pt x="2424" y="3590"/>
                  </a:lnTo>
                  <a:lnTo>
                    <a:pt x="2440" y="3616"/>
                  </a:lnTo>
                  <a:lnTo>
                    <a:pt x="2453" y="3645"/>
                  </a:lnTo>
                  <a:lnTo>
                    <a:pt x="2464" y="3674"/>
                  </a:lnTo>
                  <a:lnTo>
                    <a:pt x="2472" y="3704"/>
                  </a:lnTo>
                  <a:lnTo>
                    <a:pt x="2476" y="3735"/>
                  </a:lnTo>
                  <a:lnTo>
                    <a:pt x="2479" y="3769"/>
                  </a:lnTo>
                  <a:lnTo>
                    <a:pt x="2479" y="3769"/>
                  </a:lnTo>
                  <a:close/>
                  <a:moveTo>
                    <a:pt x="3769" y="4087"/>
                  </a:moveTo>
                  <a:lnTo>
                    <a:pt x="3769" y="4087"/>
                  </a:lnTo>
                  <a:lnTo>
                    <a:pt x="3735" y="4086"/>
                  </a:lnTo>
                  <a:lnTo>
                    <a:pt x="3704" y="4080"/>
                  </a:lnTo>
                  <a:lnTo>
                    <a:pt x="3674" y="4073"/>
                  </a:lnTo>
                  <a:lnTo>
                    <a:pt x="3645" y="4061"/>
                  </a:lnTo>
                  <a:lnTo>
                    <a:pt x="3618" y="4049"/>
                  </a:lnTo>
                  <a:lnTo>
                    <a:pt x="3590" y="4033"/>
                  </a:lnTo>
                  <a:lnTo>
                    <a:pt x="3566" y="4014"/>
                  </a:lnTo>
                  <a:lnTo>
                    <a:pt x="3543" y="3994"/>
                  </a:lnTo>
                  <a:lnTo>
                    <a:pt x="3523" y="3971"/>
                  </a:lnTo>
                  <a:lnTo>
                    <a:pt x="3504" y="3947"/>
                  </a:lnTo>
                  <a:lnTo>
                    <a:pt x="3488" y="3921"/>
                  </a:lnTo>
                  <a:lnTo>
                    <a:pt x="3476" y="3892"/>
                  </a:lnTo>
                  <a:lnTo>
                    <a:pt x="3465" y="3863"/>
                  </a:lnTo>
                  <a:lnTo>
                    <a:pt x="3457" y="3833"/>
                  </a:lnTo>
                  <a:lnTo>
                    <a:pt x="3453" y="3802"/>
                  </a:lnTo>
                  <a:lnTo>
                    <a:pt x="3451" y="3769"/>
                  </a:lnTo>
                  <a:lnTo>
                    <a:pt x="3451" y="3769"/>
                  </a:lnTo>
                  <a:lnTo>
                    <a:pt x="3453" y="3735"/>
                  </a:lnTo>
                  <a:lnTo>
                    <a:pt x="3457" y="3704"/>
                  </a:lnTo>
                  <a:lnTo>
                    <a:pt x="3465" y="3674"/>
                  </a:lnTo>
                  <a:lnTo>
                    <a:pt x="3476" y="3645"/>
                  </a:lnTo>
                  <a:lnTo>
                    <a:pt x="3488" y="3616"/>
                  </a:lnTo>
                  <a:lnTo>
                    <a:pt x="3504" y="3590"/>
                  </a:lnTo>
                  <a:lnTo>
                    <a:pt x="3523" y="3566"/>
                  </a:lnTo>
                  <a:lnTo>
                    <a:pt x="3543" y="3543"/>
                  </a:lnTo>
                  <a:lnTo>
                    <a:pt x="3566" y="3523"/>
                  </a:lnTo>
                  <a:lnTo>
                    <a:pt x="3590" y="3504"/>
                  </a:lnTo>
                  <a:lnTo>
                    <a:pt x="3618" y="3488"/>
                  </a:lnTo>
                  <a:lnTo>
                    <a:pt x="3645" y="3476"/>
                  </a:lnTo>
                  <a:lnTo>
                    <a:pt x="3674" y="3465"/>
                  </a:lnTo>
                  <a:lnTo>
                    <a:pt x="3704" y="3457"/>
                  </a:lnTo>
                  <a:lnTo>
                    <a:pt x="3735" y="3453"/>
                  </a:lnTo>
                  <a:lnTo>
                    <a:pt x="3769" y="3451"/>
                  </a:lnTo>
                  <a:lnTo>
                    <a:pt x="3769" y="3451"/>
                  </a:lnTo>
                  <a:lnTo>
                    <a:pt x="3802" y="3453"/>
                  </a:lnTo>
                  <a:lnTo>
                    <a:pt x="3833" y="3457"/>
                  </a:lnTo>
                  <a:lnTo>
                    <a:pt x="3863" y="3465"/>
                  </a:lnTo>
                  <a:lnTo>
                    <a:pt x="3892" y="3476"/>
                  </a:lnTo>
                  <a:lnTo>
                    <a:pt x="3921" y="3488"/>
                  </a:lnTo>
                  <a:lnTo>
                    <a:pt x="3947" y="3504"/>
                  </a:lnTo>
                  <a:lnTo>
                    <a:pt x="3971" y="3523"/>
                  </a:lnTo>
                  <a:lnTo>
                    <a:pt x="3994" y="3543"/>
                  </a:lnTo>
                  <a:lnTo>
                    <a:pt x="4014" y="3566"/>
                  </a:lnTo>
                  <a:lnTo>
                    <a:pt x="4033" y="3590"/>
                  </a:lnTo>
                  <a:lnTo>
                    <a:pt x="4049" y="3616"/>
                  </a:lnTo>
                  <a:lnTo>
                    <a:pt x="4061" y="3645"/>
                  </a:lnTo>
                  <a:lnTo>
                    <a:pt x="4073" y="3674"/>
                  </a:lnTo>
                  <a:lnTo>
                    <a:pt x="4080" y="3704"/>
                  </a:lnTo>
                  <a:lnTo>
                    <a:pt x="4086" y="3735"/>
                  </a:lnTo>
                  <a:lnTo>
                    <a:pt x="4087" y="3769"/>
                  </a:lnTo>
                  <a:lnTo>
                    <a:pt x="4087" y="3769"/>
                  </a:lnTo>
                  <a:lnTo>
                    <a:pt x="4086" y="3802"/>
                  </a:lnTo>
                  <a:lnTo>
                    <a:pt x="4080" y="3833"/>
                  </a:lnTo>
                  <a:lnTo>
                    <a:pt x="4073" y="3863"/>
                  </a:lnTo>
                  <a:lnTo>
                    <a:pt x="4061" y="3892"/>
                  </a:lnTo>
                  <a:lnTo>
                    <a:pt x="4049" y="3921"/>
                  </a:lnTo>
                  <a:lnTo>
                    <a:pt x="4033" y="3947"/>
                  </a:lnTo>
                  <a:lnTo>
                    <a:pt x="4014" y="3971"/>
                  </a:lnTo>
                  <a:lnTo>
                    <a:pt x="3994" y="3994"/>
                  </a:lnTo>
                  <a:lnTo>
                    <a:pt x="3971" y="4014"/>
                  </a:lnTo>
                  <a:lnTo>
                    <a:pt x="3947" y="4033"/>
                  </a:lnTo>
                  <a:lnTo>
                    <a:pt x="3921" y="4049"/>
                  </a:lnTo>
                  <a:lnTo>
                    <a:pt x="3892" y="4061"/>
                  </a:lnTo>
                  <a:lnTo>
                    <a:pt x="3863" y="4073"/>
                  </a:lnTo>
                  <a:lnTo>
                    <a:pt x="3833" y="4080"/>
                  </a:lnTo>
                  <a:lnTo>
                    <a:pt x="3802" y="4086"/>
                  </a:lnTo>
                  <a:lnTo>
                    <a:pt x="3769" y="4087"/>
                  </a:lnTo>
                  <a:lnTo>
                    <a:pt x="3769" y="4087"/>
                  </a:lnTo>
                  <a:close/>
                </a:path>
              </a:pathLst>
            </a:custGeom>
            <a:solidFill>
              <a:srgbClr val="1AC3EC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8" name="TextBox 187"/>
            <p:cNvSpPr txBox="1"/>
            <p:nvPr/>
          </p:nvSpPr>
          <p:spPr>
            <a:xfrm>
              <a:off x="4662704" y="1613103"/>
              <a:ext cx="18473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n-US" dirty="0" smtClean="0">
                <a:latin typeface="+mn-lt"/>
              </a:endParaRPr>
            </a:p>
          </p:txBody>
        </p:sp>
      </p:grpSp>
      <p:grpSp>
        <p:nvGrpSpPr>
          <p:cNvPr id="260" name="Group 259"/>
          <p:cNvGrpSpPr/>
          <p:nvPr/>
        </p:nvGrpSpPr>
        <p:grpSpPr>
          <a:xfrm>
            <a:off x="3193487" y="3018638"/>
            <a:ext cx="758952" cy="758952"/>
            <a:chOff x="3229920" y="2993710"/>
            <a:chExt cx="758952" cy="758952"/>
          </a:xfrm>
        </p:grpSpPr>
        <p:sp>
          <p:nvSpPr>
            <p:cNvPr id="116" name="Oval 115"/>
            <p:cNvSpPr>
              <a:spLocks noChangeAspect="1"/>
            </p:cNvSpPr>
            <p:nvPr/>
          </p:nvSpPr>
          <p:spPr>
            <a:xfrm>
              <a:off x="3229920" y="2993710"/>
              <a:ext cx="758952" cy="758952"/>
            </a:xfrm>
            <a:prstGeom prst="ellipse">
              <a:avLst/>
            </a:prstGeom>
            <a:solidFill>
              <a:srgbClr val="00507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grpSp>
          <p:nvGrpSpPr>
            <p:cNvPr id="228" name="Group 227"/>
            <p:cNvGrpSpPr>
              <a:grpSpLocks noChangeAspect="1"/>
            </p:cNvGrpSpPr>
            <p:nvPr/>
          </p:nvGrpSpPr>
          <p:grpSpPr>
            <a:xfrm>
              <a:off x="3345499" y="3089762"/>
              <a:ext cx="232355" cy="283424"/>
              <a:chOff x="4929188" y="1022351"/>
              <a:chExt cx="689769" cy="841375"/>
            </a:xfrm>
          </p:grpSpPr>
          <p:sp>
            <p:nvSpPr>
              <p:cNvPr id="229" name="Freeform 124"/>
              <p:cNvSpPr>
                <a:spLocks noEditPoints="1"/>
              </p:cNvSpPr>
              <p:nvPr/>
            </p:nvSpPr>
            <p:spPr bwMode="auto">
              <a:xfrm>
                <a:off x="4929188" y="1184276"/>
                <a:ext cx="687388" cy="679450"/>
              </a:xfrm>
              <a:custGeom>
                <a:avLst/>
                <a:gdLst>
                  <a:gd name="T0" fmla="*/ 266 w 393"/>
                  <a:gd name="T1" fmla="*/ 8 h 388"/>
                  <a:gd name="T2" fmla="*/ 219 w 393"/>
                  <a:gd name="T3" fmla="*/ 24 h 388"/>
                  <a:gd name="T4" fmla="*/ 61 w 393"/>
                  <a:gd name="T5" fmla="*/ 153 h 388"/>
                  <a:gd name="T6" fmla="*/ 0 w 393"/>
                  <a:gd name="T7" fmla="*/ 353 h 388"/>
                  <a:gd name="T8" fmla="*/ 36 w 393"/>
                  <a:gd name="T9" fmla="*/ 388 h 388"/>
                  <a:gd name="T10" fmla="*/ 71 w 393"/>
                  <a:gd name="T11" fmla="*/ 353 h 388"/>
                  <a:gd name="T12" fmla="*/ 94 w 393"/>
                  <a:gd name="T13" fmla="*/ 241 h 388"/>
                  <a:gd name="T14" fmla="*/ 198 w 393"/>
                  <a:gd name="T15" fmla="*/ 115 h 388"/>
                  <a:gd name="T16" fmla="*/ 279 w 393"/>
                  <a:gd name="T17" fmla="*/ 77 h 388"/>
                  <a:gd name="T18" fmla="*/ 308 w 393"/>
                  <a:gd name="T19" fmla="*/ 39 h 388"/>
                  <a:gd name="T20" fmla="*/ 266 w 393"/>
                  <a:gd name="T21" fmla="*/ 8 h 388"/>
                  <a:gd name="T22" fmla="*/ 375 w 393"/>
                  <a:gd name="T23" fmla="*/ 0 h 388"/>
                  <a:gd name="T24" fmla="*/ 378 w 393"/>
                  <a:gd name="T25" fmla="*/ 2 h 388"/>
                  <a:gd name="T26" fmla="*/ 378 w 393"/>
                  <a:gd name="T27" fmla="*/ 2 h 388"/>
                  <a:gd name="T28" fmla="*/ 392 w 393"/>
                  <a:gd name="T29" fmla="*/ 31 h 388"/>
                  <a:gd name="T30" fmla="*/ 386 w 393"/>
                  <a:gd name="T31" fmla="*/ 52 h 388"/>
                  <a:gd name="T32" fmla="*/ 386 w 393"/>
                  <a:gd name="T33" fmla="*/ 52 h 388"/>
                  <a:gd name="T34" fmla="*/ 382 w 393"/>
                  <a:gd name="T35" fmla="*/ 56 h 388"/>
                  <a:gd name="T36" fmla="*/ 393 w 393"/>
                  <a:gd name="T37" fmla="*/ 31 h 388"/>
                  <a:gd name="T38" fmla="*/ 375 w 393"/>
                  <a:gd name="T39" fmla="*/ 0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93" h="388">
                    <a:moveTo>
                      <a:pt x="266" y="8"/>
                    </a:moveTo>
                    <a:cubicBezTo>
                      <a:pt x="250" y="12"/>
                      <a:pt x="234" y="17"/>
                      <a:pt x="219" y="24"/>
                    </a:cubicBezTo>
                    <a:cubicBezTo>
                      <a:pt x="154" y="51"/>
                      <a:pt x="100" y="96"/>
                      <a:pt x="61" y="153"/>
                    </a:cubicBezTo>
                    <a:cubicBezTo>
                      <a:pt x="23" y="210"/>
                      <a:pt x="0" y="279"/>
                      <a:pt x="0" y="353"/>
                    </a:cubicBezTo>
                    <a:cubicBezTo>
                      <a:pt x="0" y="373"/>
                      <a:pt x="16" y="388"/>
                      <a:pt x="36" y="388"/>
                    </a:cubicBezTo>
                    <a:cubicBezTo>
                      <a:pt x="55" y="388"/>
                      <a:pt x="71" y="373"/>
                      <a:pt x="71" y="353"/>
                    </a:cubicBezTo>
                    <a:cubicBezTo>
                      <a:pt x="71" y="313"/>
                      <a:pt x="79" y="276"/>
                      <a:pt x="94" y="241"/>
                    </a:cubicBezTo>
                    <a:cubicBezTo>
                      <a:pt x="115" y="190"/>
                      <a:pt x="152" y="146"/>
                      <a:pt x="198" y="115"/>
                    </a:cubicBezTo>
                    <a:cubicBezTo>
                      <a:pt x="222" y="98"/>
                      <a:pt x="250" y="85"/>
                      <a:pt x="279" y="77"/>
                    </a:cubicBezTo>
                    <a:cubicBezTo>
                      <a:pt x="308" y="39"/>
                      <a:pt x="308" y="39"/>
                      <a:pt x="308" y="39"/>
                    </a:cubicBezTo>
                    <a:cubicBezTo>
                      <a:pt x="266" y="8"/>
                      <a:pt x="266" y="8"/>
                      <a:pt x="266" y="8"/>
                    </a:cubicBezTo>
                    <a:moveTo>
                      <a:pt x="375" y="0"/>
                    </a:moveTo>
                    <a:cubicBezTo>
                      <a:pt x="378" y="2"/>
                      <a:pt x="378" y="2"/>
                      <a:pt x="378" y="2"/>
                    </a:cubicBezTo>
                    <a:cubicBezTo>
                      <a:pt x="378" y="2"/>
                      <a:pt x="378" y="2"/>
                      <a:pt x="378" y="2"/>
                    </a:cubicBezTo>
                    <a:cubicBezTo>
                      <a:pt x="388" y="9"/>
                      <a:pt x="393" y="20"/>
                      <a:pt x="392" y="31"/>
                    </a:cubicBezTo>
                    <a:cubicBezTo>
                      <a:pt x="392" y="38"/>
                      <a:pt x="390" y="46"/>
                      <a:pt x="386" y="52"/>
                    </a:cubicBezTo>
                    <a:cubicBezTo>
                      <a:pt x="386" y="52"/>
                      <a:pt x="386" y="52"/>
                      <a:pt x="386" y="52"/>
                    </a:cubicBezTo>
                    <a:cubicBezTo>
                      <a:pt x="382" y="56"/>
                      <a:pt x="382" y="56"/>
                      <a:pt x="382" y="56"/>
                    </a:cubicBezTo>
                    <a:cubicBezTo>
                      <a:pt x="389" y="50"/>
                      <a:pt x="393" y="41"/>
                      <a:pt x="393" y="31"/>
                    </a:cubicBezTo>
                    <a:cubicBezTo>
                      <a:pt x="393" y="18"/>
                      <a:pt x="386" y="6"/>
                      <a:pt x="375" y="0"/>
                    </a:cubicBezTo>
                  </a:path>
                </a:pathLst>
              </a:cu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0" name="Freeform 125"/>
              <p:cNvSpPr>
                <a:spLocks/>
              </p:cNvSpPr>
              <p:nvPr/>
            </p:nvSpPr>
            <p:spPr bwMode="auto">
              <a:xfrm>
                <a:off x="5272088" y="1022351"/>
                <a:ext cx="312738" cy="176212"/>
              </a:xfrm>
              <a:custGeom>
                <a:avLst/>
                <a:gdLst>
                  <a:gd name="T0" fmla="*/ 40 w 179"/>
                  <a:gd name="T1" fmla="*/ 0 h 101"/>
                  <a:gd name="T2" fmla="*/ 12 w 179"/>
                  <a:gd name="T3" fmla="*/ 14 h 101"/>
                  <a:gd name="T4" fmla="*/ 19 w 179"/>
                  <a:gd name="T5" fmla="*/ 64 h 101"/>
                  <a:gd name="T6" fmla="*/ 70 w 179"/>
                  <a:gd name="T7" fmla="*/ 101 h 101"/>
                  <a:gd name="T8" fmla="*/ 159 w 179"/>
                  <a:gd name="T9" fmla="*/ 89 h 101"/>
                  <a:gd name="T10" fmla="*/ 161 w 179"/>
                  <a:gd name="T11" fmla="*/ 89 h 101"/>
                  <a:gd name="T12" fmla="*/ 164 w 179"/>
                  <a:gd name="T13" fmla="*/ 89 h 101"/>
                  <a:gd name="T14" fmla="*/ 179 w 179"/>
                  <a:gd name="T15" fmla="*/ 93 h 101"/>
                  <a:gd name="T16" fmla="*/ 61 w 179"/>
                  <a:gd name="T17" fmla="*/ 7 h 101"/>
                  <a:gd name="T18" fmla="*/ 40 w 179"/>
                  <a:gd name="T19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9" h="101">
                    <a:moveTo>
                      <a:pt x="40" y="0"/>
                    </a:moveTo>
                    <a:cubicBezTo>
                      <a:pt x="30" y="0"/>
                      <a:pt x="19" y="5"/>
                      <a:pt x="12" y="14"/>
                    </a:cubicBezTo>
                    <a:cubicBezTo>
                      <a:pt x="0" y="30"/>
                      <a:pt x="4" y="52"/>
                      <a:pt x="19" y="64"/>
                    </a:cubicBezTo>
                    <a:cubicBezTo>
                      <a:pt x="70" y="101"/>
                      <a:pt x="70" y="101"/>
                      <a:pt x="70" y="101"/>
                    </a:cubicBezTo>
                    <a:cubicBezTo>
                      <a:pt x="98" y="93"/>
                      <a:pt x="128" y="89"/>
                      <a:pt x="159" y="89"/>
                    </a:cubicBezTo>
                    <a:cubicBezTo>
                      <a:pt x="160" y="89"/>
                      <a:pt x="161" y="89"/>
                      <a:pt x="161" y="89"/>
                    </a:cubicBezTo>
                    <a:cubicBezTo>
                      <a:pt x="162" y="89"/>
                      <a:pt x="163" y="89"/>
                      <a:pt x="164" y="89"/>
                    </a:cubicBezTo>
                    <a:cubicBezTo>
                      <a:pt x="169" y="89"/>
                      <a:pt x="174" y="91"/>
                      <a:pt x="179" y="93"/>
                    </a:cubicBezTo>
                    <a:cubicBezTo>
                      <a:pt x="61" y="7"/>
                      <a:pt x="61" y="7"/>
                      <a:pt x="61" y="7"/>
                    </a:cubicBezTo>
                    <a:cubicBezTo>
                      <a:pt x="55" y="2"/>
                      <a:pt x="48" y="0"/>
                      <a:pt x="40" y="0"/>
                    </a:cubicBezTo>
                  </a:path>
                </a:pathLst>
              </a:cu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1" name="Freeform 126"/>
              <p:cNvSpPr>
                <a:spLocks noEditPoints="1"/>
              </p:cNvSpPr>
              <p:nvPr/>
            </p:nvSpPr>
            <p:spPr bwMode="auto">
              <a:xfrm>
                <a:off x="5394325" y="1177926"/>
                <a:ext cx="196850" cy="74612"/>
              </a:xfrm>
              <a:custGeom>
                <a:avLst/>
                <a:gdLst>
                  <a:gd name="T0" fmla="*/ 94 w 112"/>
                  <a:gd name="T1" fmla="*/ 0 h 43"/>
                  <a:gd name="T2" fmla="*/ 112 w 112"/>
                  <a:gd name="T3" fmla="*/ 6 h 43"/>
                  <a:gd name="T4" fmla="*/ 109 w 112"/>
                  <a:gd name="T5" fmla="*/ 4 h 43"/>
                  <a:gd name="T6" fmla="*/ 94 w 112"/>
                  <a:gd name="T7" fmla="*/ 0 h 43"/>
                  <a:gd name="T8" fmla="*/ 89 w 112"/>
                  <a:gd name="T9" fmla="*/ 0 h 43"/>
                  <a:gd name="T10" fmla="*/ 0 w 112"/>
                  <a:gd name="T11" fmla="*/ 12 h 43"/>
                  <a:gd name="T12" fmla="*/ 42 w 112"/>
                  <a:gd name="T13" fmla="*/ 43 h 43"/>
                  <a:gd name="T14" fmla="*/ 63 w 112"/>
                  <a:gd name="T15" fmla="*/ 14 h 43"/>
                  <a:gd name="T16" fmla="*/ 89 w 112"/>
                  <a:gd name="T17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2" h="43">
                    <a:moveTo>
                      <a:pt x="94" y="0"/>
                    </a:moveTo>
                    <a:cubicBezTo>
                      <a:pt x="100" y="0"/>
                      <a:pt x="106" y="2"/>
                      <a:pt x="112" y="6"/>
                    </a:cubicBezTo>
                    <a:cubicBezTo>
                      <a:pt x="109" y="4"/>
                      <a:pt x="109" y="4"/>
                      <a:pt x="109" y="4"/>
                    </a:cubicBezTo>
                    <a:cubicBezTo>
                      <a:pt x="104" y="2"/>
                      <a:pt x="99" y="0"/>
                      <a:pt x="94" y="0"/>
                    </a:cubicBezTo>
                    <a:moveTo>
                      <a:pt x="89" y="0"/>
                    </a:moveTo>
                    <a:cubicBezTo>
                      <a:pt x="58" y="0"/>
                      <a:pt x="28" y="4"/>
                      <a:pt x="0" y="12"/>
                    </a:cubicBezTo>
                    <a:cubicBezTo>
                      <a:pt x="42" y="43"/>
                      <a:pt x="42" y="43"/>
                      <a:pt x="42" y="43"/>
                    </a:cubicBezTo>
                    <a:cubicBezTo>
                      <a:pt x="63" y="14"/>
                      <a:pt x="63" y="14"/>
                      <a:pt x="63" y="14"/>
                    </a:cubicBezTo>
                    <a:cubicBezTo>
                      <a:pt x="69" y="5"/>
                      <a:pt x="79" y="0"/>
                      <a:pt x="89" y="0"/>
                    </a:cubicBezTo>
                  </a:path>
                </a:pathLst>
              </a:custGeom>
              <a:solidFill>
                <a:srgbClr val="008BD7"/>
              </a:solidFill>
              <a:ln>
                <a:solidFill>
                  <a:srgbClr val="008BD7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2" name="Freeform 127"/>
              <p:cNvSpPr>
                <a:spLocks/>
              </p:cNvSpPr>
              <p:nvPr/>
            </p:nvSpPr>
            <p:spPr bwMode="auto">
              <a:xfrm>
                <a:off x="5330825" y="1282701"/>
                <a:ext cx="266700" cy="228600"/>
              </a:xfrm>
              <a:custGeom>
                <a:avLst/>
                <a:gdLst>
                  <a:gd name="T0" fmla="*/ 153 w 153"/>
                  <a:gd name="T1" fmla="*/ 0 h 131"/>
                  <a:gd name="T2" fmla="*/ 129 w 153"/>
                  <a:gd name="T3" fmla="*/ 10 h 131"/>
                  <a:gd name="T4" fmla="*/ 50 w 153"/>
                  <a:gd name="T5" fmla="*/ 21 h 131"/>
                  <a:gd name="T6" fmla="*/ 11 w 153"/>
                  <a:gd name="T7" fmla="*/ 75 h 131"/>
                  <a:gd name="T8" fmla="*/ 19 w 153"/>
                  <a:gd name="T9" fmla="*/ 124 h 131"/>
                  <a:gd name="T10" fmla="*/ 40 w 153"/>
                  <a:gd name="T11" fmla="*/ 131 h 131"/>
                  <a:gd name="T12" fmla="*/ 68 w 153"/>
                  <a:gd name="T13" fmla="*/ 117 h 131"/>
                  <a:gd name="T14" fmla="*/ 153 w 153"/>
                  <a:gd name="T15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3" h="131">
                    <a:moveTo>
                      <a:pt x="153" y="0"/>
                    </a:moveTo>
                    <a:cubicBezTo>
                      <a:pt x="147" y="7"/>
                      <a:pt x="138" y="10"/>
                      <a:pt x="129" y="10"/>
                    </a:cubicBezTo>
                    <a:cubicBezTo>
                      <a:pt x="102" y="10"/>
                      <a:pt x="75" y="14"/>
                      <a:pt x="50" y="21"/>
                    </a:cubicBezTo>
                    <a:cubicBezTo>
                      <a:pt x="11" y="75"/>
                      <a:pt x="11" y="75"/>
                      <a:pt x="11" y="75"/>
                    </a:cubicBezTo>
                    <a:cubicBezTo>
                      <a:pt x="0" y="91"/>
                      <a:pt x="3" y="113"/>
                      <a:pt x="19" y="124"/>
                    </a:cubicBezTo>
                    <a:cubicBezTo>
                      <a:pt x="25" y="129"/>
                      <a:pt x="32" y="131"/>
                      <a:pt x="40" y="131"/>
                    </a:cubicBezTo>
                    <a:cubicBezTo>
                      <a:pt x="50" y="131"/>
                      <a:pt x="61" y="126"/>
                      <a:pt x="68" y="117"/>
                    </a:cubicBezTo>
                    <a:cubicBezTo>
                      <a:pt x="153" y="0"/>
                      <a:pt x="153" y="0"/>
                      <a:pt x="153" y="0"/>
                    </a:cubicBezTo>
                  </a:path>
                </a:pathLst>
              </a:cu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3" name="Freeform 128"/>
              <p:cNvSpPr>
                <a:spLocks/>
              </p:cNvSpPr>
              <p:nvPr/>
            </p:nvSpPr>
            <p:spPr bwMode="auto">
              <a:xfrm>
                <a:off x="5418138" y="1252538"/>
                <a:ext cx="187325" cy="66675"/>
              </a:xfrm>
              <a:custGeom>
                <a:avLst/>
                <a:gdLst>
                  <a:gd name="T0" fmla="*/ 29 w 107"/>
                  <a:gd name="T1" fmla="*/ 0 h 38"/>
                  <a:gd name="T2" fmla="*/ 0 w 107"/>
                  <a:gd name="T3" fmla="*/ 38 h 38"/>
                  <a:gd name="T4" fmla="*/ 79 w 107"/>
                  <a:gd name="T5" fmla="*/ 27 h 38"/>
                  <a:gd name="T6" fmla="*/ 103 w 107"/>
                  <a:gd name="T7" fmla="*/ 17 h 38"/>
                  <a:gd name="T8" fmla="*/ 107 w 107"/>
                  <a:gd name="T9" fmla="*/ 13 h 38"/>
                  <a:gd name="T10" fmla="*/ 78 w 107"/>
                  <a:gd name="T11" fmla="*/ 27 h 38"/>
                  <a:gd name="T12" fmla="*/ 57 w 107"/>
                  <a:gd name="T13" fmla="*/ 20 h 38"/>
                  <a:gd name="T14" fmla="*/ 29 w 107"/>
                  <a:gd name="T1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7" h="38">
                    <a:moveTo>
                      <a:pt x="29" y="0"/>
                    </a:moveTo>
                    <a:cubicBezTo>
                      <a:pt x="0" y="38"/>
                      <a:pt x="0" y="38"/>
                      <a:pt x="0" y="38"/>
                    </a:cubicBezTo>
                    <a:cubicBezTo>
                      <a:pt x="25" y="31"/>
                      <a:pt x="52" y="27"/>
                      <a:pt x="79" y="27"/>
                    </a:cubicBezTo>
                    <a:cubicBezTo>
                      <a:pt x="88" y="27"/>
                      <a:pt x="97" y="24"/>
                      <a:pt x="103" y="17"/>
                    </a:cubicBezTo>
                    <a:cubicBezTo>
                      <a:pt x="107" y="13"/>
                      <a:pt x="107" y="13"/>
                      <a:pt x="107" y="13"/>
                    </a:cubicBezTo>
                    <a:cubicBezTo>
                      <a:pt x="100" y="22"/>
                      <a:pt x="89" y="27"/>
                      <a:pt x="78" y="27"/>
                    </a:cubicBezTo>
                    <a:cubicBezTo>
                      <a:pt x="71" y="27"/>
                      <a:pt x="64" y="25"/>
                      <a:pt x="57" y="20"/>
                    </a:cubicBezTo>
                    <a:cubicBezTo>
                      <a:pt x="29" y="0"/>
                      <a:pt x="29" y="0"/>
                      <a:pt x="29" y="0"/>
                    </a:cubicBezTo>
                  </a:path>
                </a:pathLst>
              </a:custGeom>
              <a:solidFill>
                <a:srgbClr val="008BD7"/>
              </a:solidFill>
              <a:ln>
                <a:solidFill>
                  <a:srgbClr val="008BD7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4" name="Freeform 129"/>
              <p:cNvSpPr>
                <a:spLocks/>
              </p:cNvSpPr>
              <p:nvPr/>
            </p:nvSpPr>
            <p:spPr bwMode="auto">
              <a:xfrm>
                <a:off x="5549900" y="1177926"/>
                <a:ext cx="9525" cy="0"/>
              </a:xfrm>
              <a:custGeom>
                <a:avLst/>
                <a:gdLst>
                  <a:gd name="T0" fmla="*/ 2 w 5"/>
                  <a:gd name="T1" fmla="*/ 0 w 5"/>
                  <a:gd name="T2" fmla="*/ 3 w 5"/>
                  <a:gd name="T3" fmla="*/ 5 w 5"/>
                  <a:gd name="T4" fmla="*/ 2 w 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5">
                    <a:moveTo>
                      <a:pt x="2" y="0"/>
                    </a:moveTo>
                    <a:cubicBezTo>
                      <a:pt x="2" y="0"/>
                      <a:pt x="1" y="0"/>
                      <a:pt x="0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4" y="0"/>
                      <a:pt x="3" y="0"/>
                      <a:pt x="2" y="0"/>
                    </a:cubicBezTo>
                  </a:path>
                </a:pathLst>
              </a:custGeom>
              <a:solidFill>
                <a:srgbClr val="008B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5" name="Freeform 130"/>
              <p:cNvSpPr>
                <a:spLocks/>
              </p:cNvSpPr>
              <p:nvPr/>
            </p:nvSpPr>
            <p:spPr bwMode="auto">
              <a:xfrm>
                <a:off x="5471319" y="1177926"/>
                <a:ext cx="147638" cy="122237"/>
              </a:xfrm>
              <a:custGeom>
                <a:avLst/>
                <a:gdLst>
                  <a:gd name="T0" fmla="*/ 50 w 85"/>
                  <a:gd name="T1" fmla="*/ 0 h 70"/>
                  <a:gd name="T2" fmla="*/ 47 w 85"/>
                  <a:gd name="T3" fmla="*/ 0 h 70"/>
                  <a:gd name="T4" fmla="*/ 21 w 85"/>
                  <a:gd name="T5" fmla="*/ 14 h 70"/>
                  <a:gd name="T6" fmla="*/ 0 w 85"/>
                  <a:gd name="T7" fmla="*/ 43 h 70"/>
                  <a:gd name="T8" fmla="*/ 28 w 85"/>
                  <a:gd name="T9" fmla="*/ 63 h 70"/>
                  <a:gd name="T10" fmla="*/ 49 w 85"/>
                  <a:gd name="T11" fmla="*/ 70 h 70"/>
                  <a:gd name="T12" fmla="*/ 78 w 85"/>
                  <a:gd name="T13" fmla="*/ 56 h 70"/>
                  <a:gd name="T14" fmla="*/ 78 w 85"/>
                  <a:gd name="T15" fmla="*/ 56 h 70"/>
                  <a:gd name="T16" fmla="*/ 84 w 85"/>
                  <a:gd name="T17" fmla="*/ 35 h 70"/>
                  <a:gd name="T18" fmla="*/ 70 w 85"/>
                  <a:gd name="T19" fmla="*/ 6 h 70"/>
                  <a:gd name="T20" fmla="*/ 70 w 85"/>
                  <a:gd name="T21" fmla="*/ 6 h 70"/>
                  <a:gd name="T22" fmla="*/ 52 w 85"/>
                  <a:gd name="T23" fmla="*/ 0 h 70"/>
                  <a:gd name="T24" fmla="*/ 50 w 85"/>
                  <a:gd name="T25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5" h="70">
                    <a:moveTo>
                      <a:pt x="50" y="0"/>
                    </a:moveTo>
                    <a:cubicBezTo>
                      <a:pt x="49" y="0"/>
                      <a:pt x="48" y="0"/>
                      <a:pt x="47" y="0"/>
                    </a:cubicBezTo>
                    <a:cubicBezTo>
                      <a:pt x="37" y="0"/>
                      <a:pt x="27" y="5"/>
                      <a:pt x="21" y="14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28" y="63"/>
                      <a:pt x="28" y="63"/>
                      <a:pt x="28" y="63"/>
                    </a:cubicBezTo>
                    <a:cubicBezTo>
                      <a:pt x="35" y="68"/>
                      <a:pt x="42" y="70"/>
                      <a:pt x="49" y="70"/>
                    </a:cubicBezTo>
                    <a:cubicBezTo>
                      <a:pt x="60" y="70"/>
                      <a:pt x="71" y="65"/>
                      <a:pt x="78" y="56"/>
                    </a:cubicBezTo>
                    <a:cubicBezTo>
                      <a:pt x="78" y="56"/>
                      <a:pt x="78" y="56"/>
                      <a:pt x="78" y="56"/>
                    </a:cubicBezTo>
                    <a:cubicBezTo>
                      <a:pt x="82" y="50"/>
                      <a:pt x="84" y="42"/>
                      <a:pt x="84" y="35"/>
                    </a:cubicBezTo>
                    <a:cubicBezTo>
                      <a:pt x="85" y="24"/>
                      <a:pt x="80" y="13"/>
                      <a:pt x="70" y="6"/>
                    </a:cubicBezTo>
                    <a:cubicBezTo>
                      <a:pt x="70" y="6"/>
                      <a:pt x="70" y="6"/>
                      <a:pt x="70" y="6"/>
                    </a:cubicBezTo>
                    <a:cubicBezTo>
                      <a:pt x="64" y="2"/>
                      <a:pt x="58" y="0"/>
                      <a:pt x="52" y="0"/>
                    </a:cubicBezTo>
                    <a:cubicBezTo>
                      <a:pt x="51" y="0"/>
                      <a:pt x="50" y="0"/>
                      <a:pt x="50" y="0"/>
                    </a:cubicBezTo>
                  </a:path>
                </a:pathLst>
              </a:custGeom>
              <a:solidFill>
                <a:srgbClr val="0066C5"/>
              </a:solidFill>
              <a:ln>
                <a:solidFill>
                  <a:srgbClr val="0066C5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36" name="Group 235"/>
            <p:cNvGrpSpPr>
              <a:grpSpLocks noChangeAspect="1"/>
            </p:cNvGrpSpPr>
            <p:nvPr/>
          </p:nvGrpSpPr>
          <p:grpSpPr>
            <a:xfrm rot="16200000">
              <a:off x="3340771" y="3378452"/>
              <a:ext cx="234060" cy="283428"/>
              <a:chOff x="4929188" y="1027114"/>
              <a:chExt cx="694822" cy="841375"/>
            </a:xfrm>
          </p:grpSpPr>
          <p:sp>
            <p:nvSpPr>
              <p:cNvPr id="237" name="Freeform 121"/>
              <p:cNvSpPr>
                <a:spLocks noEditPoints="1"/>
              </p:cNvSpPr>
              <p:nvPr/>
            </p:nvSpPr>
            <p:spPr bwMode="auto">
              <a:xfrm>
                <a:off x="4929188" y="1187451"/>
                <a:ext cx="687388" cy="681038"/>
              </a:xfrm>
              <a:custGeom>
                <a:avLst/>
                <a:gdLst>
                  <a:gd name="T0" fmla="*/ 266 w 393"/>
                  <a:gd name="T1" fmla="*/ 8 h 389"/>
                  <a:gd name="T2" fmla="*/ 219 w 393"/>
                  <a:gd name="T3" fmla="*/ 24 h 389"/>
                  <a:gd name="T4" fmla="*/ 61 w 393"/>
                  <a:gd name="T5" fmla="*/ 154 h 389"/>
                  <a:gd name="T6" fmla="*/ 0 w 393"/>
                  <a:gd name="T7" fmla="*/ 354 h 389"/>
                  <a:gd name="T8" fmla="*/ 36 w 393"/>
                  <a:gd name="T9" fmla="*/ 389 h 389"/>
                  <a:gd name="T10" fmla="*/ 71 w 393"/>
                  <a:gd name="T11" fmla="*/ 354 h 389"/>
                  <a:gd name="T12" fmla="*/ 94 w 393"/>
                  <a:gd name="T13" fmla="*/ 242 h 389"/>
                  <a:gd name="T14" fmla="*/ 198 w 393"/>
                  <a:gd name="T15" fmla="*/ 116 h 389"/>
                  <a:gd name="T16" fmla="*/ 279 w 393"/>
                  <a:gd name="T17" fmla="*/ 78 h 389"/>
                  <a:gd name="T18" fmla="*/ 308 w 393"/>
                  <a:gd name="T19" fmla="*/ 39 h 389"/>
                  <a:gd name="T20" fmla="*/ 266 w 393"/>
                  <a:gd name="T21" fmla="*/ 8 h 389"/>
                  <a:gd name="T22" fmla="*/ 375 w 393"/>
                  <a:gd name="T23" fmla="*/ 0 h 389"/>
                  <a:gd name="T24" fmla="*/ 378 w 393"/>
                  <a:gd name="T25" fmla="*/ 3 h 389"/>
                  <a:gd name="T26" fmla="*/ 378 w 393"/>
                  <a:gd name="T27" fmla="*/ 3 h 389"/>
                  <a:gd name="T28" fmla="*/ 392 w 393"/>
                  <a:gd name="T29" fmla="*/ 32 h 389"/>
                  <a:gd name="T30" fmla="*/ 386 w 393"/>
                  <a:gd name="T31" fmla="*/ 52 h 389"/>
                  <a:gd name="T32" fmla="*/ 386 w 393"/>
                  <a:gd name="T33" fmla="*/ 52 h 389"/>
                  <a:gd name="T34" fmla="*/ 382 w 393"/>
                  <a:gd name="T35" fmla="*/ 57 h 389"/>
                  <a:gd name="T36" fmla="*/ 393 w 393"/>
                  <a:gd name="T37" fmla="*/ 32 h 389"/>
                  <a:gd name="T38" fmla="*/ 375 w 393"/>
                  <a:gd name="T39" fmla="*/ 0 h 3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93" h="389">
                    <a:moveTo>
                      <a:pt x="266" y="8"/>
                    </a:moveTo>
                    <a:cubicBezTo>
                      <a:pt x="250" y="13"/>
                      <a:pt x="234" y="18"/>
                      <a:pt x="219" y="24"/>
                    </a:cubicBezTo>
                    <a:cubicBezTo>
                      <a:pt x="154" y="52"/>
                      <a:pt x="100" y="97"/>
                      <a:pt x="61" y="154"/>
                    </a:cubicBezTo>
                    <a:cubicBezTo>
                      <a:pt x="23" y="211"/>
                      <a:pt x="0" y="280"/>
                      <a:pt x="0" y="354"/>
                    </a:cubicBezTo>
                    <a:cubicBezTo>
                      <a:pt x="0" y="373"/>
                      <a:pt x="16" y="389"/>
                      <a:pt x="36" y="389"/>
                    </a:cubicBezTo>
                    <a:cubicBezTo>
                      <a:pt x="55" y="389"/>
                      <a:pt x="71" y="373"/>
                      <a:pt x="71" y="354"/>
                    </a:cubicBezTo>
                    <a:cubicBezTo>
                      <a:pt x="71" y="314"/>
                      <a:pt x="79" y="276"/>
                      <a:pt x="94" y="242"/>
                    </a:cubicBezTo>
                    <a:cubicBezTo>
                      <a:pt x="115" y="191"/>
                      <a:pt x="152" y="147"/>
                      <a:pt x="198" y="116"/>
                    </a:cubicBezTo>
                    <a:cubicBezTo>
                      <a:pt x="222" y="99"/>
                      <a:pt x="250" y="86"/>
                      <a:pt x="279" y="78"/>
                    </a:cubicBezTo>
                    <a:cubicBezTo>
                      <a:pt x="308" y="39"/>
                      <a:pt x="308" y="39"/>
                      <a:pt x="308" y="39"/>
                    </a:cubicBezTo>
                    <a:cubicBezTo>
                      <a:pt x="266" y="8"/>
                      <a:pt x="266" y="8"/>
                      <a:pt x="266" y="8"/>
                    </a:cubicBezTo>
                    <a:moveTo>
                      <a:pt x="375" y="0"/>
                    </a:moveTo>
                    <a:cubicBezTo>
                      <a:pt x="378" y="3"/>
                      <a:pt x="378" y="3"/>
                      <a:pt x="378" y="3"/>
                    </a:cubicBezTo>
                    <a:cubicBezTo>
                      <a:pt x="378" y="3"/>
                      <a:pt x="378" y="3"/>
                      <a:pt x="378" y="3"/>
                    </a:cubicBezTo>
                    <a:cubicBezTo>
                      <a:pt x="388" y="10"/>
                      <a:pt x="393" y="21"/>
                      <a:pt x="392" y="32"/>
                    </a:cubicBezTo>
                    <a:cubicBezTo>
                      <a:pt x="392" y="39"/>
                      <a:pt x="390" y="46"/>
                      <a:pt x="386" y="52"/>
                    </a:cubicBezTo>
                    <a:cubicBezTo>
                      <a:pt x="386" y="52"/>
                      <a:pt x="386" y="52"/>
                      <a:pt x="386" y="52"/>
                    </a:cubicBezTo>
                    <a:cubicBezTo>
                      <a:pt x="382" y="57"/>
                      <a:pt x="382" y="57"/>
                      <a:pt x="382" y="57"/>
                    </a:cubicBezTo>
                    <a:cubicBezTo>
                      <a:pt x="389" y="51"/>
                      <a:pt x="393" y="42"/>
                      <a:pt x="393" y="32"/>
                    </a:cubicBezTo>
                    <a:cubicBezTo>
                      <a:pt x="393" y="18"/>
                      <a:pt x="386" y="6"/>
                      <a:pt x="375" y="0"/>
                    </a:cubicBezTo>
                  </a:path>
                </a:pathLst>
              </a:custGeom>
              <a:solidFill>
                <a:schemeClr val="accent2"/>
              </a:solidFill>
              <a:ln>
                <a:solidFill>
                  <a:schemeClr val="accent2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8" name="Freeform 122"/>
              <p:cNvSpPr>
                <a:spLocks/>
              </p:cNvSpPr>
              <p:nvPr/>
            </p:nvSpPr>
            <p:spPr bwMode="auto">
              <a:xfrm>
                <a:off x="5272088" y="1027114"/>
                <a:ext cx="312738" cy="174625"/>
              </a:xfrm>
              <a:custGeom>
                <a:avLst/>
                <a:gdLst>
                  <a:gd name="T0" fmla="*/ 40 w 179"/>
                  <a:gd name="T1" fmla="*/ 0 h 100"/>
                  <a:gd name="T2" fmla="*/ 12 w 179"/>
                  <a:gd name="T3" fmla="*/ 14 h 100"/>
                  <a:gd name="T4" fmla="*/ 19 w 179"/>
                  <a:gd name="T5" fmla="*/ 63 h 100"/>
                  <a:gd name="T6" fmla="*/ 70 w 179"/>
                  <a:gd name="T7" fmla="*/ 100 h 100"/>
                  <a:gd name="T8" fmla="*/ 159 w 179"/>
                  <a:gd name="T9" fmla="*/ 88 h 100"/>
                  <a:gd name="T10" fmla="*/ 161 w 179"/>
                  <a:gd name="T11" fmla="*/ 88 h 100"/>
                  <a:gd name="T12" fmla="*/ 164 w 179"/>
                  <a:gd name="T13" fmla="*/ 88 h 100"/>
                  <a:gd name="T14" fmla="*/ 179 w 179"/>
                  <a:gd name="T15" fmla="*/ 92 h 100"/>
                  <a:gd name="T16" fmla="*/ 61 w 179"/>
                  <a:gd name="T17" fmla="*/ 6 h 100"/>
                  <a:gd name="T18" fmla="*/ 40 w 179"/>
                  <a:gd name="T19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9" h="100">
                    <a:moveTo>
                      <a:pt x="40" y="0"/>
                    </a:moveTo>
                    <a:cubicBezTo>
                      <a:pt x="30" y="0"/>
                      <a:pt x="19" y="5"/>
                      <a:pt x="12" y="14"/>
                    </a:cubicBezTo>
                    <a:cubicBezTo>
                      <a:pt x="0" y="30"/>
                      <a:pt x="4" y="52"/>
                      <a:pt x="19" y="63"/>
                    </a:cubicBezTo>
                    <a:cubicBezTo>
                      <a:pt x="70" y="100"/>
                      <a:pt x="70" y="100"/>
                      <a:pt x="70" y="100"/>
                    </a:cubicBezTo>
                    <a:cubicBezTo>
                      <a:pt x="98" y="93"/>
                      <a:pt x="128" y="88"/>
                      <a:pt x="159" y="88"/>
                    </a:cubicBezTo>
                    <a:cubicBezTo>
                      <a:pt x="160" y="88"/>
                      <a:pt x="161" y="88"/>
                      <a:pt x="161" y="88"/>
                    </a:cubicBezTo>
                    <a:cubicBezTo>
                      <a:pt x="162" y="88"/>
                      <a:pt x="163" y="88"/>
                      <a:pt x="164" y="88"/>
                    </a:cubicBezTo>
                    <a:cubicBezTo>
                      <a:pt x="169" y="89"/>
                      <a:pt x="174" y="90"/>
                      <a:pt x="179" y="92"/>
                    </a:cubicBezTo>
                    <a:cubicBezTo>
                      <a:pt x="61" y="6"/>
                      <a:pt x="61" y="6"/>
                      <a:pt x="61" y="6"/>
                    </a:cubicBezTo>
                    <a:cubicBezTo>
                      <a:pt x="55" y="2"/>
                      <a:pt x="48" y="0"/>
                      <a:pt x="40" y="0"/>
                    </a:cubicBezTo>
                  </a:path>
                </a:pathLst>
              </a:custGeom>
              <a:solidFill>
                <a:schemeClr val="accent2"/>
              </a:solidFill>
              <a:ln>
                <a:solidFill>
                  <a:schemeClr val="accent2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9" name="Freeform 123"/>
              <p:cNvSpPr>
                <a:spLocks noEditPoints="1"/>
              </p:cNvSpPr>
              <p:nvPr/>
            </p:nvSpPr>
            <p:spPr bwMode="auto">
              <a:xfrm>
                <a:off x="5394325" y="1181101"/>
                <a:ext cx="196850" cy="74613"/>
              </a:xfrm>
              <a:custGeom>
                <a:avLst/>
                <a:gdLst>
                  <a:gd name="T0" fmla="*/ 94 w 112"/>
                  <a:gd name="T1" fmla="*/ 0 h 43"/>
                  <a:gd name="T2" fmla="*/ 112 w 112"/>
                  <a:gd name="T3" fmla="*/ 7 h 43"/>
                  <a:gd name="T4" fmla="*/ 109 w 112"/>
                  <a:gd name="T5" fmla="*/ 4 h 43"/>
                  <a:gd name="T6" fmla="*/ 94 w 112"/>
                  <a:gd name="T7" fmla="*/ 0 h 43"/>
                  <a:gd name="T8" fmla="*/ 89 w 112"/>
                  <a:gd name="T9" fmla="*/ 0 h 43"/>
                  <a:gd name="T10" fmla="*/ 0 w 112"/>
                  <a:gd name="T11" fmla="*/ 12 h 43"/>
                  <a:gd name="T12" fmla="*/ 42 w 112"/>
                  <a:gd name="T13" fmla="*/ 43 h 43"/>
                  <a:gd name="T14" fmla="*/ 63 w 112"/>
                  <a:gd name="T15" fmla="*/ 15 h 43"/>
                  <a:gd name="T16" fmla="*/ 89 w 112"/>
                  <a:gd name="T17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2" h="43">
                    <a:moveTo>
                      <a:pt x="94" y="0"/>
                    </a:moveTo>
                    <a:cubicBezTo>
                      <a:pt x="100" y="1"/>
                      <a:pt x="106" y="3"/>
                      <a:pt x="112" y="7"/>
                    </a:cubicBezTo>
                    <a:cubicBezTo>
                      <a:pt x="109" y="4"/>
                      <a:pt x="109" y="4"/>
                      <a:pt x="109" y="4"/>
                    </a:cubicBezTo>
                    <a:cubicBezTo>
                      <a:pt x="104" y="2"/>
                      <a:pt x="99" y="1"/>
                      <a:pt x="94" y="0"/>
                    </a:cubicBezTo>
                    <a:moveTo>
                      <a:pt x="89" y="0"/>
                    </a:moveTo>
                    <a:cubicBezTo>
                      <a:pt x="58" y="0"/>
                      <a:pt x="28" y="5"/>
                      <a:pt x="0" y="12"/>
                    </a:cubicBezTo>
                    <a:cubicBezTo>
                      <a:pt x="42" y="43"/>
                      <a:pt x="42" y="43"/>
                      <a:pt x="42" y="43"/>
                    </a:cubicBezTo>
                    <a:cubicBezTo>
                      <a:pt x="63" y="15"/>
                      <a:pt x="63" y="15"/>
                      <a:pt x="63" y="15"/>
                    </a:cubicBezTo>
                    <a:cubicBezTo>
                      <a:pt x="69" y="6"/>
                      <a:pt x="79" y="1"/>
                      <a:pt x="89" y="0"/>
                    </a:cubicBezTo>
                  </a:path>
                </a:pathLst>
              </a:custGeom>
              <a:solidFill>
                <a:srgbClr val="308F15"/>
              </a:solidFill>
              <a:ln>
                <a:solidFill>
                  <a:srgbClr val="308F15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0" name="Freeform 124"/>
              <p:cNvSpPr>
                <a:spLocks/>
              </p:cNvSpPr>
              <p:nvPr/>
            </p:nvSpPr>
            <p:spPr bwMode="auto">
              <a:xfrm>
                <a:off x="5330825" y="1287464"/>
                <a:ext cx="266700" cy="230188"/>
              </a:xfrm>
              <a:custGeom>
                <a:avLst/>
                <a:gdLst>
                  <a:gd name="T0" fmla="*/ 153 w 153"/>
                  <a:gd name="T1" fmla="*/ 0 h 131"/>
                  <a:gd name="T2" fmla="*/ 129 w 153"/>
                  <a:gd name="T3" fmla="*/ 10 h 131"/>
                  <a:gd name="T4" fmla="*/ 50 w 153"/>
                  <a:gd name="T5" fmla="*/ 21 h 131"/>
                  <a:gd name="T6" fmla="*/ 11 w 153"/>
                  <a:gd name="T7" fmla="*/ 74 h 131"/>
                  <a:gd name="T8" fmla="*/ 19 w 153"/>
                  <a:gd name="T9" fmla="*/ 124 h 131"/>
                  <a:gd name="T10" fmla="*/ 40 w 153"/>
                  <a:gd name="T11" fmla="*/ 131 h 131"/>
                  <a:gd name="T12" fmla="*/ 68 w 153"/>
                  <a:gd name="T13" fmla="*/ 116 h 131"/>
                  <a:gd name="T14" fmla="*/ 153 w 153"/>
                  <a:gd name="T15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3" h="131">
                    <a:moveTo>
                      <a:pt x="153" y="0"/>
                    </a:moveTo>
                    <a:cubicBezTo>
                      <a:pt x="147" y="6"/>
                      <a:pt x="138" y="10"/>
                      <a:pt x="129" y="10"/>
                    </a:cubicBezTo>
                    <a:cubicBezTo>
                      <a:pt x="102" y="10"/>
                      <a:pt x="75" y="14"/>
                      <a:pt x="50" y="21"/>
                    </a:cubicBezTo>
                    <a:cubicBezTo>
                      <a:pt x="11" y="74"/>
                      <a:pt x="11" y="74"/>
                      <a:pt x="11" y="74"/>
                    </a:cubicBezTo>
                    <a:cubicBezTo>
                      <a:pt x="0" y="90"/>
                      <a:pt x="3" y="112"/>
                      <a:pt x="19" y="124"/>
                    </a:cubicBezTo>
                    <a:cubicBezTo>
                      <a:pt x="25" y="128"/>
                      <a:pt x="32" y="131"/>
                      <a:pt x="40" y="131"/>
                    </a:cubicBezTo>
                    <a:cubicBezTo>
                      <a:pt x="50" y="131"/>
                      <a:pt x="61" y="126"/>
                      <a:pt x="68" y="116"/>
                    </a:cubicBezTo>
                    <a:cubicBezTo>
                      <a:pt x="153" y="0"/>
                      <a:pt x="153" y="0"/>
                      <a:pt x="153" y="0"/>
                    </a:cubicBezTo>
                  </a:path>
                </a:pathLst>
              </a:custGeom>
              <a:solidFill>
                <a:schemeClr val="accent2"/>
              </a:solidFill>
              <a:ln>
                <a:solidFill>
                  <a:schemeClr val="accent2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1" name="Freeform 125"/>
              <p:cNvSpPr>
                <a:spLocks/>
              </p:cNvSpPr>
              <p:nvPr/>
            </p:nvSpPr>
            <p:spPr bwMode="auto">
              <a:xfrm>
                <a:off x="5418138" y="1255714"/>
                <a:ext cx="187325" cy="68263"/>
              </a:xfrm>
              <a:custGeom>
                <a:avLst/>
                <a:gdLst>
                  <a:gd name="T0" fmla="*/ 29 w 107"/>
                  <a:gd name="T1" fmla="*/ 0 h 39"/>
                  <a:gd name="T2" fmla="*/ 0 w 107"/>
                  <a:gd name="T3" fmla="*/ 39 h 39"/>
                  <a:gd name="T4" fmla="*/ 79 w 107"/>
                  <a:gd name="T5" fmla="*/ 28 h 39"/>
                  <a:gd name="T6" fmla="*/ 103 w 107"/>
                  <a:gd name="T7" fmla="*/ 18 h 39"/>
                  <a:gd name="T8" fmla="*/ 107 w 107"/>
                  <a:gd name="T9" fmla="*/ 13 h 39"/>
                  <a:gd name="T10" fmla="*/ 78 w 107"/>
                  <a:gd name="T11" fmla="*/ 28 h 39"/>
                  <a:gd name="T12" fmla="*/ 57 w 107"/>
                  <a:gd name="T13" fmla="*/ 21 h 39"/>
                  <a:gd name="T14" fmla="*/ 29 w 107"/>
                  <a:gd name="T15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7" h="39">
                    <a:moveTo>
                      <a:pt x="29" y="0"/>
                    </a:moveTo>
                    <a:cubicBezTo>
                      <a:pt x="0" y="39"/>
                      <a:pt x="0" y="39"/>
                      <a:pt x="0" y="39"/>
                    </a:cubicBezTo>
                    <a:cubicBezTo>
                      <a:pt x="25" y="32"/>
                      <a:pt x="52" y="28"/>
                      <a:pt x="79" y="28"/>
                    </a:cubicBezTo>
                    <a:cubicBezTo>
                      <a:pt x="88" y="28"/>
                      <a:pt x="97" y="24"/>
                      <a:pt x="103" y="18"/>
                    </a:cubicBezTo>
                    <a:cubicBezTo>
                      <a:pt x="107" y="13"/>
                      <a:pt x="107" y="13"/>
                      <a:pt x="107" y="13"/>
                    </a:cubicBezTo>
                    <a:cubicBezTo>
                      <a:pt x="100" y="23"/>
                      <a:pt x="89" y="28"/>
                      <a:pt x="78" y="28"/>
                    </a:cubicBezTo>
                    <a:cubicBezTo>
                      <a:pt x="71" y="28"/>
                      <a:pt x="64" y="26"/>
                      <a:pt x="57" y="21"/>
                    </a:cubicBezTo>
                    <a:cubicBezTo>
                      <a:pt x="29" y="0"/>
                      <a:pt x="29" y="0"/>
                      <a:pt x="29" y="0"/>
                    </a:cubicBezTo>
                  </a:path>
                </a:pathLst>
              </a:custGeom>
              <a:solidFill>
                <a:srgbClr val="308F15"/>
              </a:solidFill>
              <a:ln>
                <a:solidFill>
                  <a:srgbClr val="308F15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2" name="Freeform 126"/>
              <p:cNvSpPr>
                <a:spLocks/>
              </p:cNvSpPr>
              <p:nvPr/>
            </p:nvSpPr>
            <p:spPr bwMode="auto">
              <a:xfrm>
                <a:off x="5549900" y="1181101"/>
                <a:ext cx="9525" cy="0"/>
              </a:xfrm>
              <a:custGeom>
                <a:avLst/>
                <a:gdLst>
                  <a:gd name="T0" fmla="*/ 2 w 5"/>
                  <a:gd name="T1" fmla="*/ 0 w 5"/>
                  <a:gd name="T2" fmla="*/ 3 w 5"/>
                  <a:gd name="T3" fmla="*/ 5 w 5"/>
                  <a:gd name="T4" fmla="*/ 2 w 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5">
                    <a:moveTo>
                      <a:pt x="2" y="0"/>
                    </a:moveTo>
                    <a:cubicBezTo>
                      <a:pt x="2" y="0"/>
                      <a:pt x="1" y="0"/>
                      <a:pt x="0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4" y="0"/>
                      <a:pt x="3" y="0"/>
                      <a:pt x="2" y="0"/>
                    </a:cubicBezTo>
                  </a:path>
                </a:pathLst>
              </a:custGeom>
              <a:solidFill>
                <a:srgbClr val="308F1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3" name="Freeform 127"/>
              <p:cNvSpPr>
                <a:spLocks/>
              </p:cNvSpPr>
              <p:nvPr/>
            </p:nvSpPr>
            <p:spPr bwMode="auto">
              <a:xfrm>
                <a:off x="5476372" y="1181101"/>
                <a:ext cx="147638" cy="123825"/>
              </a:xfrm>
              <a:custGeom>
                <a:avLst/>
                <a:gdLst>
                  <a:gd name="T0" fmla="*/ 50 w 85"/>
                  <a:gd name="T1" fmla="*/ 0 h 71"/>
                  <a:gd name="T2" fmla="*/ 47 w 85"/>
                  <a:gd name="T3" fmla="*/ 0 h 71"/>
                  <a:gd name="T4" fmla="*/ 21 w 85"/>
                  <a:gd name="T5" fmla="*/ 15 h 71"/>
                  <a:gd name="T6" fmla="*/ 0 w 85"/>
                  <a:gd name="T7" fmla="*/ 43 h 71"/>
                  <a:gd name="T8" fmla="*/ 28 w 85"/>
                  <a:gd name="T9" fmla="*/ 64 h 71"/>
                  <a:gd name="T10" fmla="*/ 49 w 85"/>
                  <a:gd name="T11" fmla="*/ 71 h 71"/>
                  <a:gd name="T12" fmla="*/ 78 w 85"/>
                  <a:gd name="T13" fmla="*/ 56 h 71"/>
                  <a:gd name="T14" fmla="*/ 78 w 85"/>
                  <a:gd name="T15" fmla="*/ 56 h 71"/>
                  <a:gd name="T16" fmla="*/ 84 w 85"/>
                  <a:gd name="T17" fmla="*/ 36 h 71"/>
                  <a:gd name="T18" fmla="*/ 70 w 85"/>
                  <a:gd name="T19" fmla="*/ 7 h 71"/>
                  <a:gd name="T20" fmla="*/ 70 w 85"/>
                  <a:gd name="T21" fmla="*/ 7 h 71"/>
                  <a:gd name="T22" fmla="*/ 52 w 85"/>
                  <a:gd name="T23" fmla="*/ 0 h 71"/>
                  <a:gd name="T24" fmla="*/ 50 w 85"/>
                  <a:gd name="T25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5" h="71">
                    <a:moveTo>
                      <a:pt x="50" y="0"/>
                    </a:moveTo>
                    <a:cubicBezTo>
                      <a:pt x="49" y="0"/>
                      <a:pt x="48" y="0"/>
                      <a:pt x="47" y="0"/>
                    </a:cubicBezTo>
                    <a:cubicBezTo>
                      <a:pt x="37" y="1"/>
                      <a:pt x="27" y="6"/>
                      <a:pt x="21" y="15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28" y="64"/>
                      <a:pt x="28" y="64"/>
                      <a:pt x="28" y="64"/>
                    </a:cubicBezTo>
                    <a:cubicBezTo>
                      <a:pt x="35" y="69"/>
                      <a:pt x="42" y="71"/>
                      <a:pt x="49" y="71"/>
                    </a:cubicBezTo>
                    <a:cubicBezTo>
                      <a:pt x="60" y="71"/>
                      <a:pt x="71" y="66"/>
                      <a:pt x="78" y="56"/>
                    </a:cubicBezTo>
                    <a:cubicBezTo>
                      <a:pt x="78" y="56"/>
                      <a:pt x="78" y="56"/>
                      <a:pt x="78" y="56"/>
                    </a:cubicBezTo>
                    <a:cubicBezTo>
                      <a:pt x="82" y="50"/>
                      <a:pt x="84" y="43"/>
                      <a:pt x="84" y="36"/>
                    </a:cubicBezTo>
                    <a:cubicBezTo>
                      <a:pt x="85" y="25"/>
                      <a:pt x="80" y="14"/>
                      <a:pt x="70" y="7"/>
                    </a:cubicBezTo>
                    <a:cubicBezTo>
                      <a:pt x="70" y="7"/>
                      <a:pt x="70" y="7"/>
                      <a:pt x="70" y="7"/>
                    </a:cubicBezTo>
                    <a:cubicBezTo>
                      <a:pt x="64" y="3"/>
                      <a:pt x="58" y="1"/>
                      <a:pt x="52" y="0"/>
                    </a:cubicBezTo>
                    <a:cubicBezTo>
                      <a:pt x="51" y="0"/>
                      <a:pt x="50" y="0"/>
                      <a:pt x="50" y="0"/>
                    </a:cubicBezTo>
                  </a:path>
                </a:pathLst>
              </a:custGeom>
              <a:solidFill>
                <a:srgbClr val="156B06"/>
              </a:solidFill>
              <a:ln>
                <a:solidFill>
                  <a:srgbClr val="156B06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44" name="Group 243"/>
            <p:cNvGrpSpPr>
              <a:grpSpLocks noChangeAspect="1"/>
            </p:cNvGrpSpPr>
            <p:nvPr/>
          </p:nvGrpSpPr>
          <p:grpSpPr>
            <a:xfrm rot="5400000">
              <a:off x="3633859" y="3101527"/>
              <a:ext cx="234058" cy="283426"/>
              <a:chOff x="4929188" y="1023937"/>
              <a:chExt cx="694822" cy="841375"/>
            </a:xfrm>
          </p:grpSpPr>
          <p:sp>
            <p:nvSpPr>
              <p:cNvPr id="245" name="Freeform 123"/>
              <p:cNvSpPr>
                <a:spLocks noEditPoints="1"/>
              </p:cNvSpPr>
              <p:nvPr/>
            </p:nvSpPr>
            <p:spPr bwMode="auto">
              <a:xfrm>
                <a:off x="4929188" y="1185862"/>
                <a:ext cx="687388" cy="679450"/>
              </a:xfrm>
              <a:custGeom>
                <a:avLst/>
                <a:gdLst>
                  <a:gd name="T0" fmla="*/ 266 w 393"/>
                  <a:gd name="T1" fmla="*/ 7 h 388"/>
                  <a:gd name="T2" fmla="*/ 219 w 393"/>
                  <a:gd name="T3" fmla="*/ 23 h 388"/>
                  <a:gd name="T4" fmla="*/ 61 w 393"/>
                  <a:gd name="T5" fmla="*/ 153 h 388"/>
                  <a:gd name="T6" fmla="*/ 0 w 393"/>
                  <a:gd name="T7" fmla="*/ 353 h 388"/>
                  <a:gd name="T8" fmla="*/ 36 w 393"/>
                  <a:gd name="T9" fmla="*/ 388 h 388"/>
                  <a:gd name="T10" fmla="*/ 71 w 393"/>
                  <a:gd name="T11" fmla="*/ 353 h 388"/>
                  <a:gd name="T12" fmla="*/ 94 w 393"/>
                  <a:gd name="T13" fmla="*/ 241 h 388"/>
                  <a:gd name="T14" fmla="*/ 198 w 393"/>
                  <a:gd name="T15" fmla="*/ 115 h 388"/>
                  <a:gd name="T16" fmla="*/ 279 w 393"/>
                  <a:gd name="T17" fmla="*/ 77 h 388"/>
                  <a:gd name="T18" fmla="*/ 308 w 393"/>
                  <a:gd name="T19" fmla="*/ 38 h 388"/>
                  <a:gd name="T20" fmla="*/ 266 w 393"/>
                  <a:gd name="T21" fmla="*/ 7 h 388"/>
                  <a:gd name="T22" fmla="*/ 375 w 393"/>
                  <a:gd name="T23" fmla="*/ 0 h 388"/>
                  <a:gd name="T24" fmla="*/ 378 w 393"/>
                  <a:gd name="T25" fmla="*/ 2 h 388"/>
                  <a:gd name="T26" fmla="*/ 378 w 393"/>
                  <a:gd name="T27" fmla="*/ 2 h 388"/>
                  <a:gd name="T28" fmla="*/ 392 w 393"/>
                  <a:gd name="T29" fmla="*/ 31 h 388"/>
                  <a:gd name="T30" fmla="*/ 386 w 393"/>
                  <a:gd name="T31" fmla="*/ 52 h 388"/>
                  <a:gd name="T32" fmla="*/ 386 w 393"/>
                  <a:gd name="T33" fmla="*/ 52 h 388"/>
                  <a:gd name="T34" fmla="*/ 382 w 393"/>
                  <a:gd name="T35" fmla="*/ 56 h 388"/>
                  <a:gd name="T36" fmla="*/ 393 w 393"/>
                  <a:gd name="T37" fmla="*/ 31 h 388"/>
                  <a:gd name="T38" fmla="*/ 375 w 393"/>
                  <a:gd name="T39" fmla="*/ 0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93" h="388">
                    <a:moveTo>
                      <a:pt x="266" y="7"/>
                    </a:moveTo>
                    <a:cubicBezTo>
                      <a:pt x="250" y="12"/>
                      <a:pt x="234" y="17"/>
                      <a:pt x="219" y="23"/>
                    </a:cubicBezTo>
                    <a:cubicBezTo>
                      <a:pt x="154" y="51"/>
                      <a:pt x="100" y="96"/>
                      <a:pt x="61" y="153"/>
                    </a:cubicBezTo>
                    <a:cubicBezTo>
                      <a:pt x="23" y="210"/>
                      <a:pt x="0" y="279"/>
                      <a:pt x="0" y="353"/>
                    </a:cubicBezTo>
                    <a:cubicBezTo>
                      <a:pt x="0" y="372"/>
                      <a:pt x="16" y="388"/>
                      <a:pt x="36" y="388"/>
                    </a:cubicBezTo>
                    <a:cubicBezTo>
                      <a:pt x="55" y="388"/>
                      <a:pt x="71" y="372"/>
                      <a:pt x="71" y="353"/>
                    </a:cubicBezTo>
                    <a:cubicBezTo>
                      <a:pt x="71" y="313"/>
                      <a:pt x="79" y="275"/>
                      <a:pt x="94" y="241"/>
                    </a:cubicBezTo>
                    <a:cubicBezTo>
                      <a:pt x="115" y="190"/>
                      <a:pt x="152" y="146"/>
                      <a:pt x="198" y="115"/>
                    </a:cubicBezTo>
                    <a:cubicBezTo>
                      <a:pt x="222" y="98"/>
                      <a:pt x="250" y="85"/>
                      <a:pt x="279" y="77"/>
                    </a:cubicBezTo>
                    <a:cubicBezTo>
                      <a:pt x="308" y="38"/>
                      <a:pt x="308" y="38"/>
                      <a:pt x="308" y="38"/>
                    </a:cubicBezTo>
                    <a:cubicBezTo>
                      <a:pt x="266" y="7"/>
                      <a:pt x="266" y="7"/>
                      <a:pt x="266" y="7"/>
                    </a:cubicBezTo>
                    <a:moveTo>
                      <a:pt x="375" y="0"/>
                    </a:moveTo>
                    <a:cubicBezTo>
                      <a:pt x="378" y="2"/>
                      <a:pt x="378" y="2"/>
                      <a:pt x="378" y="2"/>
                    </a:cubicBezTo>
                    <a:cubicBezTo>
                      <a:pt x="378" y="2"/>
                      <a:pt x="378" y="2"/>
                      <a:pt x="378" y="2"/>
                    </a:cubicBezTo>
                    <a:cubicBezTo>
                      <a:pt x="388" y="9"/>
                      <a:pt x="393" y="20"/>
                      <a:pt x="392" y="31"/>
                    </a:cubicBezTo>
                    <a:cubicBezTo>
                      <a:pt x="392" y="38"/>
                      <a:pt x="390" y="45"/>
                      <a:pt x="386" y="52"/>
                    </a:cubicBezTo>
                    <a:cubicBezTo>
                      <a:pt x="386" y="52"/>
                      <a:pt x="386" y="52"/>
                      <a:pt x="386" y="52"/>
                    </a:cubicBezTo>
                    <a:cubicBezTo>
                      <a:pt x="382" y="56"/>
                      <a:pt x="382" y="56"/>
                      <a:pt x="382" y="56"/>
                    </a:cubicBezTo>
                    <a:cubicBezTo>
                      <a:pt x="389" y="50"/>
                      <a:pt x="393" y="41"/>
                      <a:pt x="393" y="31"/>
                    </a:cubicBezTo>
                    <a:cubicBezTo>
                      <a:pt x="393" y="17"/>
                      <a:pt x="386" y="6"/>
                      <a:pt x="375" y="0"/>
                    </a:cubicBezTo>
                  </a:path>
                </a:pathLst>
              </a:custGeom>
              <a:solidFill>
                <a:schemeClr val="accent5"/>
              </a:solidFill>
              <a:ln w="12700">
                <a:solidFill>
                  <a:schemeClr val="accent5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6" name="Freeform 124"/>
              <p:cNvSpPr>
                <a:spLocks/>
              </p:cNvSpPr>
              <p:nvPr/>
            </p:nvSpPr>
            <p:spPr bwMode="auto">
              <a:xfrm>
                <a:off x="5272088" y="1023937"/>
                <a:ext cx="312738" cy="174625"/>
              </a:xfrm>
              <a:custGeom>
                <a:avLst/>
                <a:gdLst>
                  <a:gd name="T0" fmla="*/ 40 w 179"/>
                  <a:gd name="T1" fmla="*/ 0 h 100"/>
                  <a:gd name="T2" fmla="*/ 12 w 179"/>
                  <a:gd name="T3" fmla="*/ 14 h 100"/>
                  <a:gd name="T4" fmla="*/ 19 w 179"/>
                  <a:gd name="T5" fmla="*/ 64 h 100"/>
                  <a:gd name="T6" fmla="*/ 70 w 179"/>
                  <a:gd name="T7" fmla="*/ 100 h 100"/>
                  <a:gd name="T8" fmla="*/ 159 w 179"/>
                  <a:gd name="T9" fmla="*/ 88 h 100"/>
                  <a:gd name="T10" fmla="*/ 161 w 179"/>
                  <a:gd name="T11" fmla="*/ 88 h 100"/>
                  <a:gd name="T12" fmla="*/ 164 w 179"/>
                  <a:gd name="T13" fmla="*/ 88 h 100"/>
                  <a:gd name="T14" fmla="*/ 179 w 179"/>
                  <a:gd name="T15" fmla="*/ 93 h 100"/>
                  <a:gd name="T16" fmla="*/ 61 w 179"/>
                  <a:gd name="T17" fmla="*/ 7 h 100"/>
                  <a:gd name="T18" fmla="*/ 40 w 179"/>
                  <a:gd name="T19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9" h="100">
                    <a:moveTo>
                      <a:pt x="40" y="0"/>
                    </a:moveTo>
                    <a:cubicBezTo>
                      <a:pt x="30" y="0"/>
                      <a:pt x="19" y="5"/>
                      <a:pt x="12" y="14"/>
                    </a:cubicBezTo>
                    <a:cubicBezTo>
                      <a:pt x="0" y="30"/>
                      <a:pt x="4" y="52"/>
                      <a:pt x="19" y="64"/>
                    </a:cubicBezTo>
                    <a:cubicBezTo>
                      <a:pt x="70" y="100"/>
                      <a:pt x="70" y="100"/>
                      <a:pt x="70" y="100"/>
                    </a:cubicBezTo>
                    <a:cubicBezTo>
                      <a:pt x="98" y="93"/>
                      <a:pt x="128" y="89"/>
                      <a:pt x="159" y="88"/>
                    </a:cubicBezTo>
                    <a:cubicBezTo>
                      <a:pt x="160" y="88"/>
                      <a:pt x="161" y="88"/>
                      <a:pt x="161" y="88"/>
                    </a:cubicBezTo>
                    <a:cubicBezTo>
                      <a:pt x="162" y="88"/>
                      <a:pt x="163" y="88"/>
                      <a:pt x="164" y="88"/>
                    </a:cubicBezTo>
                    <a:cubicBezTo>
                      <a:pt x="169" y="89"/>
                      <a:pt x="174" y="90"/>
                      <a:pt x="179" y="93"/>
                    </a:cubicBezTo>
                    <a:cubicBezTo>
                      <a:pt x="61" y="7"/>
                      <a:pt x="61" y="7"/>
                      <a:pt x="61" y="7"/>
                    </a:cubicBezTo>
                    <a:cubicBezTo>
                      <a:pt x="55" y="2"/>
                      <a:pt x="48" y="0"/>
                      <a:pt x="40" y="0"/>
                    </a:cubicBezTo>
                  </a:path>
                </a:pathLst>
              </a:custGeom>
              <a:solidFill>
                <a:schemeClr val="accent5"/>
              </a:solidFill>
              <a:ln w="12700">
                <a:solidFill>
                  <a:schemeClr val="accent5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7" name="Freeform 125"/>
              <p:cNvSpPr>
                <a:spLocks noEditPoints="1"/>
              </p:cNvSpPr>
              <p:nvPr/>
            </p:nvSpPr>
            <p:spPr bwMode="auto">
              <a:xfrm>
                <a:off x="5394325" y="1177925"/>
                <a:ext cx="196850" cy="74612"/>
              </a:xfrm>
              <a:custGeom>
                <a:avLst/>
                <a:gdLst>
                  <a:gd name="T0" fmla="*/ 94 w 112"/>
                  <a:gd name="T1" fmla="*/ 0 h 43"/>
                  <a:gd name="T2" fmla="*/ 112 w 112"/>
                  <a:gd name="T3" fmla="*/ 7 h 43"/>
                  <a:gd name="T4" fmla="*/ 109 w 112"/>
                  <a:gd name="T5" fmla="*/ 5 h 43"/>
                  <a:gd name="T6" fmla="*/ 94 w 112"/>
                  <a:gd name="T7" fmla="*/ 0 h 43"/>
                  <a:gd name="T8" fmla="*/ 89 w 112"/>
                  <a:gd name="T9" fmla="*/ 0 h 43"/>
                  <a:gd name="T10" fmla="*/ 0 w 112"/>
                  <a:gd name="T11" fmla="*/ 12 h 43"/>
                  <a:gd name="T12" fmla="*/ 42 w 112"/>
                  <a:gd name="T13" fmla="*/ 43 h 43"/>
                  <a:gd name="T14" fmla="*/ 63 w 112"/>
                  <a:gd name="T15" fmla="*/ 15 h 43"/>
                  <a:gd name="T16" fmla="*/ 89 w 112"/>
                  <a:gd name="T17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2" h="43">
                    <a:moveTo>
                      <a:pt x="94" y="0"/>
                    </a:moveTo>
                    <a:cubicBezTo>
                      <a:pt x="100" y="1"/>
                      <a:pt x="106" y="3"/>
                      <a:pt x="112" y="7"/>
                    </a:cubicBezTo>
                    <a:cubicBezTo>
                      <a:pt x="109" y="5"/>
                      <a:pt x="109" y="5"/>
                      <a:pt x="109" y="5"/>
                    </a:cubicBezTo>
                    <a:cubicBezTo>
                      <a:pt x="104" y="2"/>
                      <a:pt x="99" y="1"/>
                      <a:pt x="94" y="0"/>
                    </a:cubicBezTo>
                    <a:moveTo>
                      <a:pt x="89" y="0"/>
                    </a:moveTo>
                    <a:cubicBezTo>
                      <a:pt x="58" y="1"/>
                      <a:pt x="28" y="5"/>
                      <a:pt x="0" y="12"/>
                    </a:cubicBezTo>
                    <a:cubicBezTo>
                      <a:pt x="42" y="43"/>
                      <a:pt x="42" y="43"/>
                      <a:pt x="42" y="43"/>
                    </a:cubicBezTo>
                    <a:cubicBezTo>
                      <a:pt x="63" y="15"/>
                      <a:pt x="63" y="15"/>
                      <a:pt x="63" y="15"/>
                    </a:cubicBezTo>
                    <a:cubicBezTo>
                      <a:pt x="69" y="6"/>
                      <a:pt x="79" y="1"/>
                      <a:pt x="89" y="0"/>
                    </a:cubicBezTo>
                  </a:path>
                </a:pathLst>
              </a:custGeom>
              <a:solidFill>
                <a:srgbClr val="F77303"/>
              </a:solidFill>
              <a:ln w="12700">
                <a:solidFill>
                  <a:srgbClr val="F77303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8" name="Freeform 126"/>
              <p:cNvSpPr>
                <a:spLocks/>
              </p:cNvSpPr>
              <p:nvPr/>
            </p:nvSpPr>
            <p:spPr bwMode="auto">
              <a:xfrm>
                <a:off x="5330825" y="1284287"/>
                <a:ext cx="266700" cy="228600"/>
              </a:xfrm>
              <a:custGeom>
                <a:avLst/>
                <a:gdLst>
                  <a:gd name="T0" fmla="*/ 153 w 153"/>
                  <a:gd name="T1" fmla="*/ 0 h 131"/>
                  <a:gd name="T2" fmla="*/ 129 w 153"/>
                  <a:gd name="T3" fmla="*/ 10 h 131"/>
                  <a:gd name="T4" fmla="*/ 50 w 153"/>
                  <a:gd name="T5" fmla="*/ 21 h 131"/>
                  <a:gd name="T6" fmla="*/ 11 w 153"/>
                  <a:gd name="T7" fmla="*/ 75 h 131"/>
                  <a:gd name="T8" fmla="*/ 19 w 153"/>
                  <a:gd name="T9" fmla="*/ 124 h 131"/>
                  <a:gd name="T10" fmla="*/ 40 w 153"/>
                  <a:gd name="T11" fmla="*/ 131 h 131"/>
                  <a:gd name="T12" fmla="*/ 68 w 153"/>
                  <a:gd name="T13" fmla="*/ 116 h 131"/>
                  <a:gd name="T14" fmla="*/ 153 w 153"/>
                  <a:gd name="T15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3" h="131">
                    <a:moveTo>
                      <a:pt x="153" y="0"/>
                    </a:moveTo>
                    <a:cubicBezTo>
                      <a:pt x="147" y="6"/>
                      <a:pt x="138" y="10"/>
                      <a:pt x="129" y="10"/>
                    </a:cubicBezTo>
                    <a:cubicBezTo>
                      <a:pt x="102" y="10"/>
                      <a:pt x="75" y="14"/>
                      <a:pt x="50" y="21"/>
                    </a:cubicBezTo>
                    <a:cubicBezTo>
                      <a:pt x="11" y="75"/>
                      <a:pt x="11" y="75"/>
                      <a:pt x="11" y="75"/>
                    </a:cubicBezTo>
                    <a:cubicBezTo>
                      <a:pt x="0" y="90"/>
                      <a:pt x="3" y="112"/>
                      <a:pt x="19" y="124"/>
                    </a:cubicBezTo>
                    <a:cubicBezTo>
                      <a:pt x="25" y="129"/>
                      <a:pt x="32" y="131"/>
                      <a:pt x="40" y="131"/>
                    </a:cubicBezTo>
                    <a:cubicBezTo>
                      <a:pt x="50" y="131"/>
                      <a:pt x="61" y="126"/>
                      <a:pt x="68" y="116"/>
                    </a:cubicBezTo>
                    <a:cubicBezTo>
                      <a:pt x="153" y="0"/>
                      <a:pt x="153" y="0"/>
                      <a:pt x="153" y="0"/>
                    </a:cubicBezTo>
                  </a:path>
                </a:pathLst>
              </a:custGeom>
              <a:solidFill>
                <a:schemeClr val="accent5"/>
              </a:solidFill>
              <a:ln w="12700">
                <a:solidFill>
                  <a:schemeClr val="accent5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9" name="Freeform 127"/>
              <p:cNvSpPr>
                <a:spLocks/>
              </p:cNvSpPr>
              <p:nvPr/>
            </p:nvSpPr>
            <p:spPr bwMode="auto">
              <a:xfrm>
                <a:off x="5418138" y="1252537"/>
                <a:ext cx="187325" cy="68262"/>
              </a:xfrm>
              <a:custGeom>
                <a:avLst/>
                <a:gdLst>
                  <a:gd name="T0" fmla="*/ 29 w 107"/>
                  <a:gd name="T1" fmla="*/ 0 h 39"/>
                  <a:gd name="T2" fmla="*/ 0 w 107"/>
                  <a:gd name="T3" fmla="*/ 39 h 39"/>
                  <a:gd name="T4" fmla="*/ 79 w 107"/>
                  <a:gd name="T5" fmla="*/ 28 h 39"/>
                  <a:gd name="T6" fmla="*/ 103 w 107"/>
                  <a:gd name="T7" fmla="*/ 18 h 39"/>
                  <a:gd name="T8" fmla="*/ 107 w 107"/>
                  <a:gd name="T9" fmla="*/ 14 h 39"/>
                  <a:gd name="T10" fmla="*/ 78 w 107"/>
                  <a:gd name="T11" fmla="*/ 28 h 39"/>
                  <a:gd name="T12" fmla="*/ 57 w 107"/>
                  <a:gd name="T13" fmla="*/ 21 h 39"/>
                  <a:gd name="T14" fmla="*/ 29 w 107"/>
                  <a:gd name="T15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7" h="39">
                    <a:moveTo>
                      <a:pt x="29" y="0"/>
                    </a:moveTo>
                    <a:cubicBezTo>
                      <a:pt x="0" y="39"/>
                      <a:pt x="0" y="39"/>
                      <a:pt x="0" y="39"/>
                    </a:cubicBezTo>
                    <a:cubicBezTo>
                      <a:pt x="25" y="32"/>
                      <a:pt x="52" y="28"/>
                      <a:pt x="79" y="28"/>
                    </a:cubicBezTo>
                    <a:cubicBezTo>
                      <a:pt x="88" y="28"/>
                      <a:pt x="97" y="24"/>
                      <a:pt x="103" y="18"/>
                    </a:cubicBezTo>
                    <a:cubicBezTo>
                      <a:pt x="107" y="14"/>
                      <a:pt x="107" y="14"/>
                      <a:pt x="107" y="14"/>
                    </a:cubicBezTo>
                    <a:cubicBezTo>
                      <a:pt x="100" y="23"/>
                      <a:pt x="89" y="28"/>
                      <a:pt x="78" y="28"/>
                    </a:cubicBezTo>
                    <a:cubicBezTo>
                      <a:pt x="71" y="28"/>
                      <a:pt x="64" y="26"/>
                      <a:pt x="57" y="21"/>
                    </a:cubicBezTo>
                    <a:cubicBezTo>
                      <a:pt x="29" y="0"/>
                      <a:pt x="29" y="0"/>
                      <a:pt x="29" y="0"/>
                    </a:cubicBezTo>
                  </a:path>
                </a:pathLst>
              </a:custGeom>
              <a:solidFill>
                <a:srgbClr val="F77303"/>
              </a:solidFill>
              <a:ln w="12700">
                <a:solidFill>
                  <a:srgbClr val="F77303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0" name="Freeform 128"/>
              <p:cNvSpPr>
                <a:spLocks/>
              </p:cNvSpPr>
              <p:nvPr/>
            </p:nvSpPr>
            <p:spPr bwMode="auto">
              <a:xfrm>
                <a:off x="5549900" y="1177925"/>
                <a:ext cx="9525" cy="0"/>
              </a:xfrm>
              <a:custGeom>
                <a:avLst/>
                <a:gdLst>
                  <a:gd name="T0" fmla="*/ 2 w 5"/>
                  <a:gd name="T1" fmla="*/ 0 w 5"/>
                  <a:gd name="T2" fmla="*/ 3 w 5"/>
                  <a:gd name="T3" fmla="*/ 5 w 5"/>
                  <a:gd name="T4" fmla="*/ 2 w 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5">
                    <a:moveTo>
                      <a:pt x="2" y="0"/>
                    </a:moveTo>
                    <a:cubicBezTo>
                      <a:pt x="2" y="0"/>
                      <a:pt x="1" y="0"/>
                      <a:pt x="0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4" y="0"/>
                      <a:pt x="3" y="0"/>
                      <a:pt x="2" y="0"/>
                    </a:cubicBezTo>
                  </a:path>
                </a:pathLst>
              </a:custGeom>
              <a:solidFill>
                <a:srgbClr val="F7730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1" name="Freeform 129"/>
              <p:cNvSpPr>
                <a:spLocks/>
              </p:cNvSpPr>
              <p:nvPr/>
            </p:nvSpPr>
            <p:spPr bwMode="auto">
              <a:xfrm>
                <a:off x="5476372" y="1177925"/>
                <a:ext cx="147638" cy="123825"/>
              </a:xfrm>
              <a:custGeom>
                <a:avLst/>
                <a:gdLst>
                  <a:gd name="T0" fmla="*/ 50 w 85"/>
                  <a:gd name="T1" fmla="*/ 0 h 71"/>
                  <a:gd name="T2" fmla="*/ 47 w 85"/>
                  <a:gd name="T3" fmla="*/ 0 h 71"/>
                  <a:gd name="T4" fmla="*/ 21 w 85"/>
                  <a:gd name="T5" fmla="*/ 15 h 71"/>
                  <a:gd name="T6" fmla="*/ 0 w 85"/>
                  <a:gd name="T7" fmla="*/ 43 h 71"/>
                  <a:gd name="T8" fmla="*/ 28 w 85"/>
                  <a:gd name="T9" fmla="*/ 64 h 71"/>
                  <a:gd name="T10" fmla="*/ 49 w 85"/>
                  <a:gd name="T11" fmla="*/ 71 h 71"/>
                  <a:gd name="T12" fmla="*/ 78 w 85"/>
                  <a:gd name="T13" fmla="*/ 57 h 71"/>
                  <a:gd name="T14" fmla="*/ 78 w 85"/>
                  <a:gd name="T15" fmla="*/ 57 h 71"/>
                  <a:gd name="T16" fmla="*/ 84 w 85"/>
                  <a:gd name="T17" fmla="*/ 36 h 71"/>
                  <a:gd name="T18" fmla="*/ 70 w 85"/>
                  <a:gd name="T19" fmla="*/ 7 h 71"/>
                  <a:gd name="T20" fmla="*/ 70 w 85"/>
                  <a:gd name="T21" fmla="*/ 7 h 71"/>
                  <a:gd name="T22" fmla="*/ 52 w 85"/>
                  <a:gd name="T23" fmla="*/ 0 h 71"/>
                  <a:gd name="T24" fmla="*/ 50 w 85"/>
                  <a:gd name="T25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5" h="71">
                    <a:moveTo>
                      <a:pt x="50" y="0"/>
                    </a:moveTo>
                    <a:cubicBezTo>
                      <a:pt x="49" y="0"/>
                      <a:pt x="48" y="0"/>
                      <a:pt x="47" y="0"/>
                    </a:cubicBezTo>
                    <a:cubicBezTo>
                      <a:pt x="37" y="1"/>
                      <a:pt x="27" y="6"/>
                      <a:pt x="21" y="15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28" y="64"/>
                      <a:pt x="28" y="64"/>
                      <a:pt x="28" y="64"/>
                    </a:cubicBezTo>
                    <a:cubicBezTo>
                      <a:pt x="35" y="69"/>
                      <a:pt x="42" y="71"/>
                      <a:pt x="49" y="71"/>
                    </a:cubicBezTo>
                    <a:cubicBezTo>
                      <a:pt x="60" y="71"/>
                      <a:pt x="71" y="66"/>
                      <a:pt x="78" y="57"/>
                    </a:cubicBezTo>
                    <a:cubicBezTo>
                      <a:pt x="78" y="57"/>
                      <a:pt x="78" y="57"/>
                      <a:pt x="78" y="57"/>
                    </a:cubicBezTo>
                    <a:cubicBezTo>
                      <a:pt x="82" y="50"/>
                      <a:pt x="84" y="43"/>
                      <a:pt x="84" y="36"/>
                    </a:cubicBezTo>
                    <a:cubicBezTo>
                      <a:pt x="85" y="25"/>
                      <a:pt x="80" y="14"/>
                      <a:pt x="70" y="7"/>
                    </a:cubicBezTo>
                    <a:cubicBezTo>
                      <a:pt x="70" y="7"/>
                      <a:pt x="70" y="7"/>
                      <a:pt x="70" y="7"/>
                    </a:cubicBezTo>
                    <a:cubicBezTo>
                      <a:pt x="64" y="3"/>
                      <a:pt x="58" y="1"/>
                      <a:pt x="52" y="0"/>
                    </a:cubicBezTo>
                    <a:cubicBezTo>
                      <a:pt x="51" y="0"/>
                      <a:pt x="50" y="0"/>
                      <a:pt x="50" y="0"/>
                    </a:cubicBezTo>
                  </a:path>
                </a:pathLst>
              </a:custGeom>
              <a:solidFill>
                <a:srgbClr val="F34D00"/>
              </a:solidFill>
              <a:ln w="12700">
                <a:solidFill>
                  <a:srgbClr val="F34D00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52" name="Group 251"/>
            <p:cNvGrpSpPr>
              <a:grpSpLocks noChangeAspect="1"/>
            </p:cNvGrpSpPr>
            <p:nvPr/>
          </p:nvGrpSpPr>
          <p:grpSpPr>
            <a:xfrm rot="10800000">
              <a:off x="3627138" y="3390933"/>
              <a:ext cx="234058" cy="283426"/>
              <a:chOff x="4929188" y="1022351"/>
              <a:chExt cx="694822" cy="841375"/>
            </a:xfrm>
          </p:grpSpPr>
          <p:sp>
            <p:nvSpPr>
              <p:cNvPr id="253" name="Freeform 135"/>
              <p:cNvSpPr>
                <a:spLocks noEditPoints="1"/>
              </p:cNvSpPr>
              <p:nvPr/>
            </p:nvSpPr>
            <p:spPr bwMode="auto">
              <a:xfrm>
                <a:off x="4929188" y="1184276"/>
                <a:ext cx="687388" cy="679450"/>
              </a:xfrm>
              <a:custGeom>
                <a:avLst/>
                <a:gdLst>
                  <a:gd name="T0" fmla="*/ 266 w 393"/>
                  <a:gd name="T1" fmla="*/ 7 h 388"/>
                  <a:gd name="T2" fmla="*/ 219 w 393"/>
                  <a:gd name="T3" fmla="*/ 23 h 388"/>
                  <a:gd name="T4" fmla="*/ 61 w 393"/>
                  <a:gd name="T5" fmla="*/ 153 h 388"/>
                  <a:gd name="T6" fmla="*/ 0 w 393"/>
                  <a:gd name="T7" fmla="*/ 353 h 388"/>
                  <a:gd name="T8" fmla="*/ 36 w 393"/>
                  <a:gd name="T9" fmla="*/ 388 h 388"/>
                  <a:gd name="T10" fmla="*/ 71 w 393"/>
                  <a:gd name="T11" fmla="*/ 353 h 388"/>
                  <a:gd name="T12" fmla="*/ 94 w 393"/>
                  <a:gd name="T13" fmla="*/ 241 h 388"/>
                  <a:gd name="T14" fmla="*/ 198 w 393"/>
                  <a:gd name="T15" fmla="*/ 115 h 388"/>
                  <a:gd name="T16" fmla="*/ 279 w 393"/>
                  <a:gd name="T17" fmla="*/ 77 h 388"/>
                  <a:gd name="T18" fmla="*/ 308 w 393"/>
                  <a:gd name="T19" fmla="*/ 38 h 388"/>
                  <a:gd name="T20" fmla="*/ 266 w 393"/>
                  <a:gd name="T21" fmla="*/ 7 h 388"/>
                  <a:gd name="T22" fmla="*/ 375 w 393"/>
                  <a:gd name="T23" fmla="*/ 0 h 388"/>
                  <a:gd name="T24" fmla="*/ 378 w 393"/>
                  <a:gd name="T25" fmla="*/ 2 h 388"/>
                  <a:gd name="T26" fmla="*/ 378 w 393"/>
                  <a:gd name="T27" fmla="*/ 2 h 388"/>
                  <a:gd name="T28" fmla="*/ 392 w 393"/>
                  <a:gd name="T29" fmla="*/ 31 h 388"/>
                  <a:gd name="T30" fmla="*/ 386 w 393"/>
                  <a:gd name="T31" fmla="*/ 52 h 388"/>
                  <a:gd name="T32" fmla="*/ 386 w 393"/>
                  <a:gd name="T33" fmla="*/ 52 h 388"/>
                  <a:gd name="T34" fmla="*/ 382 w 393"/>
                  <a:gd name="T35" fmla="*/ 56 h 388"/>
                  <a:gd name="T36" fmla="*/ 393 w 393"/>
                  <a:gd name="T37" fmla="*/ 31 h 388"/>
                  <a:gd name="T38" fmla="*/ 375 w 393"/>
                  <a:gd name="T39" fmla="*/ 0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93" h="388">
                    <a:moveTo>
                      <a:pt x="266" y="7"/>
                    </a:moveTo>
                    <a:cubicBezTo>
                      <a:pt x="250" y="12"/>
                      <a:pt x="234" y="17"/>
                      <a:pt x="219" y="23"/>
                    </a:cubicBezTo>
                    <a:cubicBezTo>
                      <a:pt x="154" y="51"/>
                      <a:pt x="100" y="96"/>
                      <a:pt x="61" y="153"/>
                    </a:cubicBezTo>
                    <a:cubicBezTo>
                      <a:pt x="23" y="210"/>
                      <a:pt x="0" y="279"/>
                      <a:pt x="0" y="353"/>
                    </a:cubicBezTo>
                    <a:cubicBezTo>
                      <a:pt x="0" y="372"/>
                      <a:pt x="16" y="388"/>
                      <a:pt x="36" y="388"/>
                    </a:cubicBezTo>
                    <a:cubicBezTo>
                      <a:pt x="55" y="388"/>
                      <a:pt x="71" y="372"/>
                      <a:pt x="71" y="353"/>
                    </a:cubicBezTo>
                    <a:cubicBezTo>
                      <a:pt x="71" y="313"/>
                      <a:pt x="79" y="275"/>
                      <a:pt x="94" y="241"/>
                    </a:cubicBezTo>
                    <a:cubicBezTo>
                      <a:pt x="115" y="190"/>
                      <a:pt x="152" y="146"/>
                      <a:pt x="198" y="115"/>
                    </a:cubicBezTo>
                    <a:cubicBezTo>
                      <a:pt x="222" y="98"/>
                      <a:pt x="250" y="85"/>
                      <a:pt x="279" y="77"/>
                    </a:cubicBezTo>
                    <a:cubicBezTo>
                      <a:pt x="308" y="38"/>
                      <a:pt x="308" y="38"/>
                      <a:pt x="308" y="38"/>
                    </a:cubicBezTo>
                    <a:cubicBezTo>
                      <a:pt x="266" y="7"/>
                      <a:pt x="266" y="7"/>
                      <a:pt x="266" y="7"/>
                    </a:cubicBezTo>
                    <a:moveTo>
                      <a:pt x="375" y="0"/>
                    </a:moveTo>
                    <a:cubicBezTo>
                      <a:pt x="378" y="2"/>
                      <a:pt x="378" y="2"/>
                      <a:pt x="378" y="2"/>
                    </a:cubicBezTo>
                    <a:cubicBezTo>
                      <a:pt x="378" y="2"/>
                      <a:pt x="378" y="2"/>
                      <a:pt x="378" y="2"/>
                    </a:cubicBezTo>
                    <a:cubicBezTo>
                      <a:pt x="388" y="9"/>
                      <a:pt x="393" y="20"/>
                      <a:pt x="392" y="31"/>
                    </a:cubicBezTo>
                    <a:cubicBezTo>
                      <a:pt x="392" y="38"/>
                      <a:pt x="390" y="45"/>
                      <a:pt x="386" y="52"/>
                    </a:cubicBezTo>
                    <a:cubicBezTo>
                      <a:pt x="386" y="52"/>
                      <a:pt x="386" y="52"/>
                      <a:pt x="386" y="52"/>
                    </a:cubicBezTo>
                    <a:cubicBezTo>
                      <a:pt x="382" y="56"/>
                      <a:pt x="382" y="56"/>
                      <a:pt x="382" y="56"/>
                    </a:cubicBezTo>
                    <a:cubicBezTo>
                      <a:pt x="389" y="50"/>
                      <a:pt x="393" y="41"/>
                      <a:pt x="393" y="31"/>
                    </a:cubicBezTo>
                    <a:cubicBezTo>
                      <a:pt x="393" y="17"/>
                      <a:pt x="386" y="6"/>
                      <a:pt x="375" y="0"/>
                    </a:cubicBezTo>
                  </a:path>
                </a:pathLst>
              </a:custGeom>
              <a:solidFill>
                <a:schemeClr val="accent6"/>
              </a:solidFill>
              <a:ln w="12700">
                <a:solidFill>
                  <a:schemeClr val="accent6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4" name="Freeform 136"/>
              <p:cNvSpPr>
                <a:spLocks/>
              </p:cNvSpPr>
              <p:nvPr/>
            </p:nvSpPr>
            <p:spPr bwMode="auto">
              <a:xfrm>
                <a:off x="5272088" y="1022351"/>
                <a:ext cx="312738" cy="174625"/>
              </a:xfrm>
              <a:custGeom>
                <a:avLst/>
                <a:gdLst>
                  <a:gd name="T0" fmla="*/ 40 w 179"/>
                  <a:gd name="T1" fmla="*/ 0 h 100"/>
                  <a:gd name="T2" fmla="*/ 12 w 179"/>
                  <a:gd name="T3" fmla="*/ 14 h 100"/>
                  <a:gd name="T4" fmla="*/ 19 w 179"/>
                  <a:gd name="T5" fmla="*/ 64 h 100"/>
                  <a:gd name="T6" fmla="*/ 70 w 179"/>
                  <a:gd name="T7" fmla="*/ 100 h 100"/>
                  <a:gd name="T8" fmla="*/ 159 w 179"/>
                  <a:gd name="T9" fmla="*/ 88 h 100"/>
                  <a:gd name="T10" fmla="*/ 161 w 179"/>
                  <a:gd name="T11" fmla="*/ 88 h 100"/>
                  <a:gd name="T12" fmla="*/ 164 w 179"/>
                  <a:gd name="T13" fmla="*/ 88 h 100"/>
                  <a:gd name="T14" fmla="*/ 179 w 179"/>
                  <a:gd name="T15" fmla="*/ 93 h 100"/>
                  <a:gd name="T16" fmla="*/ 61 w 179"/>
                  <a:gd name="T17" fmla="*/ 7 h 100"/>
                  <a:gd name="T18" fmla="*/ 40 w 179"/>
                  <a:gd name="T19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9" h="100">
                    <a:moveTo>
                      <a:pt x="40" y="0"/>
                    </a:moveTo>
                    <a:cubicBezTo>
                      <a:pt x="30" y="0"/>
                      <a:pt x="19" y="5"/>
                      <a:pt x="12" y="14"/>
                    </a:cubicBezTo>
                    <a:cubicBezTo>
                      <a:pt x="0" y="30"/>
                      <a:pt x="4" y="52"/>
                      <a:pt x="19" y="64"/>
                    </a:cubicBezTo>
                    <a:cubicBezTo>
                      <a:pt x="70" y="100"/>
                      <a:pt x="70" y="100"/>
                      <a:pt x="70" y="100"/>
                    </a:cubicBezTo>
                    <a:cubicBezTo>
                      <a:pt x="98" y="93"/>
                      <a:pt x="128" y="89"/>
                      <a:pt x="159" y="88"/>
                    </a:cubicBezTo>
                    <a:cubicBezTo>
                      <a:pt x="160" y="88"/>
                      <a:pt x="161" y="88"/>
                      <a:pt x="161" y="88"/>
                    </a:cubicBezTo>
                    <a:cubicBezTo>
                      <a:pt x="162" y="88"/>
                      <a:pt x="163" y="88"/>
                      <a:pt x="164" y="88"/>
                    </a:cubicBezTo>
                    <a:cubicBezTo>
                      <a:pt x="169" y="89"/>
                      <a:pt x="174" y="90"/>
                      <a:pt x="179" y="93"/>
                    </a:cubicBezTo>
                    <a:cubicBezTo>
                      <a:pt x="61" y="7"/>
                      <a:pt x="61" y="7"/>
                      <a:pt x="61" y="7"/>
                    </a:cubicBezTo>
                    <a:cubicBezTo>
                      <a:pt x="55" y="2"/>
                      <a:pt x="48" y="0"/>
                      <a:pt x="40" y="0"/>
                    </a:cubicBezTo>
                  </a:path>
                </a:pathLst>
              </a:custGeom>
              <a:solidFill>
                <a:schemeClr val="accent6"/>
              </a:solidFill>
              <a:ln w="12700">
                <a:solidFill>
                  <a:schemeClr val="accent6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5" name="Freeform 137"/>
              <p:cNvSpPr>
                <a:spLocks noEditPoints="1"/>
              </p:cNvSpPr>
              <p:nvPr/>
            </p:nvSpPr>
            <p:spPr bwMode="auto">
              <a:xfrm>
                <a:off x="5394325" y="1176338"/>
                <a:ext cx="196850" cy="74612"/>
              </a:xfrm>
              <a:custGeom>
                <a:avLst/>
                <a:gdLst>
                  <a:gd name="T0" fmla="*/ 94 w 112"/>
                  <a:gd name="T1" fmla="*/ 0 h 43"/>
                  <a:gd name="T2" fmla="*/ 112 w 112"/>
                  <a:gd name="T3" fmla="*/ 7 h 43"/>
                  <a:gd name="T4" fmla="*/ 109 w 112"/>
                  <a:gd name="T5" fmla="*/ 5 h 43"/>
                  <a:gd name="T6" fmla="*/ 94 w 112"/>
                  <a:gd name="T7" fmla="*/ 0 h 43"/>
                  <a:gd name="T8" fmla="*/ 89 w 112"/>
                  <a:gd name="T9" fmla="*/ 0 h 43"/>
                  <a:gd name="T10" fmla="*/ 0 w 112"/>
                  <a:gd name="T11" fmla="*/ 12 h 43"/>
                  <a:gd name="T12" fmla="*/ 42 w 112"/>
                  <a:gd name="T13" fmla="*/ 43 h 43"/>
                  <a:gd name="T14" fmla="*/ 63 w 112"/>
                  <a:gd name="T15" fmla="*/ 15 h 43"/>
                  <a:gd name="T16" fmla="*/ 89 w 112"/>
                  <a:gd name="T17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2" h="43">
                    <a:moveTo>
                      <a:pt x="94" y="0"/>
                    </a:moveTo>
                    <a:cubicBezTo>
                      <a:pt x="100" y="1"/>
                      <a:pt x="106" y="3"/>
                      <a:pt x="112" y="7"/>
                    </a:cubicBezTo>
                    <a:cubicBezTo>
                      <a:pt x="109" y="5"/>
                      <a:pt x="109" y="5"/>
                      <a:pt x="109" y="5"/>
                    </a:cubicBezTo>
                    <a:cubicBezTo>
                      <a:pt x="104" y="2"/>
                      <a:pt x="99" y="1"/>
                      <a:pt x="94" y="0"/>
                    </a:cubicBezTo>
                    <a:moveTo>
                      <a:pt x="89" y="0"/>
                    </a:moveTo>
                    <a:cubicBezTo>
                      <a:pt x="58" y="1"/>
                      <a:pt x="28" y="5"/>
                      <a:pt x="0" y="12"/>
                    </a:cubicBezTo>
                    <a:cubicBezTo>
                      <a:pt x="42" y="43"/>
                      <a:pt x="42" y="43"/>
                      <a:pt x="42" y="43"/>
                    </a:cubicBezTo>
                    <a:cubicBezTo>
                      <a:pt x="63" y="15"/>
                      <a:pt x="63" y="15"/>
                      <a:pt x="63" y="15"/>
                    </a:cubicBezTo>
                    <a:cubicBezTo>
                      <a:pt x="69" y="6"/>
                      <a:pt x="79" y="1"/>
                      <a:pt x="89" y="0"/>
                    </a:cubicBezTo>
                  </a:path>
                </a:pathLst>
              </a:custGeom>
              <a:solidFill>
                <a:srgbClr val="C80606"/>
              </a:solidFill>
              <a:ln w="12700">
                <a:solidFill>
                  <a:srgbClr val="C80606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6" name="Freeform 138"/>
              <p:cNvSpPr>
                <a:spLocks/>
              </p:cNvSpPr>
              <p:nvPr/>
            </p:nvSpPr>
            <p:spPr bwMode="auto">
              <a:xfrm>
                <a:off x="5330825" y="1282701"/>
                <a:ext cx="266700" cy="228600"/>
              </a:xfrm>
              <a:custGeom>
                <a:avLst/>
                <a:gdLst>
                  <a:gd name="T0" fmla="*/ 153 w 153"/>
                  <a:gd name="T1" fmla="*/ 0 h 131"/>
                  <a:gd name="T2" fmla="*/ 129 w 153"/>
                  <a:gd name="T3" fmla="*/ 10 h 131"/>
                  <a:gd name="T4" fmla="*/ 50 w 153"/>
                  <a:gd name="T5" fmla="*/ 21 h 131"/>
                  <a:gd name="T6" fmla="*/ 11 w 153"/>
                  <a:gd name="T7" fmla="*/ 75 h 131"/>
                  <a:gd name="T8" fmla="*/ 19 w 153"/>
                  <a:gd name="T9" fmla="*/ 124 h 131"/>
                  <a:gd name="T10" fmla="*/ 40 w 153"/>
                  <a:gd name="T11" fmla="*/ 131 h 131"/>
                  <a:gd name="T12" fmla="*/ 68 w 153"/>
                  <a:gd name="T13" fmla="*/ 116 h 131"/>
                  <a:gd name="T14" fmla="*/ 153 w 153"/>
                  <a:gd name="T15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3" h="131">
                    <a:moveTo>
                      <a:pt x="153" y="0"/>
                    </a:moveTo>
                    <a:cubicBezTo>
                      <a:pt x="147" y="6"/>
                      <a:pt x="138" y="10"/>
                      <a:pt x="129" y="10"/>
                    </a:cubicBezTo>
                    <a:cubicBezTo>
                      <a:pt x="102" y="10"/>
                      <a:pt x="75" y="14"/>
                      <a:pt x="50" y="21"/>
                    </a:cubicBezTo>
                    <a:cubicBezTo>
                      <a:pt x="11" y="75"/>
                      <a:pt x="11" y="75"/>
                      <a:pt x="11" y="75"/>
                    </a:cubicBezTo>
                    <a:cubicBezTo>
                      <a:pt x="0" y="90"/>
                      <a:pt x="3" y="112"/>
                      <a:pt x="19" y="124"/>
                    </a:cubicBezTo>
                    <a:cubicBezTo>
                      <a:pt x="25" y="129"/>
                      <a:pt x="32" y="131"/>
                      <a:pt x="40" y="131"/>
                    </a:cubicBezTo>
                    <a:cubicBezTo>
                      <a:pt x="50" y="131"/>
                      <a:pt x="61" y="126"/>
                      <a:pt x="68" y="116"/>
                    </a:cubicBezTo>
                    <a:cubicBezTo>
                      <a:pt x="153" y="0"/>
                      <a:pt x="153" y="0"/>
                      <a:pt x="153" y="0"/>
                    </a:cubicBezTo>
                  </a:path>
                </a:pathLst>
              </a:custGeom>
              <a:solidFill>
                <a:schemeClr val="accent6"/>
              </a:solidFill>
              <a:ln w="12700">
                <a:solidFill>
                  <a:schemeClr val="accent6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7" name="Freeform 139"/>
              <p:cNvSpPr>
                <a:spLocks/>
              </p:cNvSpPr>
              <p:nvPr/>
            </p:nvSpPr>
            <p:spPr bwMode="auto">
              <a:xfrm>
                <a:off x="5418138" y="1250951"/>
                <a:ext cx="187325" cy="68262"/>
              </a:xfrm>
              <a:custGeom>
                <a:avLst/>
                <a:gdLst>
                  <a:gd name="T0" fmla="*/ 29 w 107"/>
                  <a:gd name="T1" fmla="*/ 0 h 39"/>
                  <a:gd name="T2" fmla="*/ 0 w 107"/>
                  <a:gd name="T3" fmla="*/ 39 h 39"/>
                  <a:gd name="T4" fmla="*/ 79 w 107"/>
                  <a:gd name="T5" fmla="*/ 28 h 39"/>
                  <a:gd name="T6" fmla="*/ 103 w 107"/>
                  <a:gd name="T7" fmla="*/ 18 h 39"/>
                  <a:gd name="T8" fmla="*/ 107 w 107"/>
                  <a:gd name="T9" fmla="*/ 14 h 39"/>
                  <a:gd name="T10" fmla="*/ 78 w 107"/>
                  <a:gd name="T11" fmla="*/ 28 h 39"/>
                  <a:gd name="T12" fmla="*/ 57 w 107"/>
                  <a:gd name="T13" fmla="*/ 21 h 39"/>
                  <a:gd name="T14" fmla="*/ 29 w 107"/>
                  <a:gd name="T15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7" h="39">
                    <a:moveTo>
                      <a:pt x="29" y="0"/>
                    </a:moveTo>
                    <a:cubicBezTo>
                      <a:pt x="0" y="39"/>
                      <a:pt x="0" y="39"/>
                      <a:pt x="0" y="39"/>
                    </a:cubicBezTo>
                    <a:cubicBezTo>
                      <a:pt x="25" y="32"/>
                      <a:pt x="52" y="28"/>
                      <a:pt x="79" y="28"/>
                    </a:cubicBezTo>
                    <a:cubicBezTo>
                      <a:pt x="88" y="28"/>
                      <a:pt x="97" y="24"/>
                      <a:pt x="103" y="18"/>
                    </a:cubicBezTo>
                    <a:cubicBezTo>
                      <a:pt x="107" y="14"/>
                      <a:pt x="107" y="14"/>
                      <a:pt x="107" y="14"/>
                    </a:cubicBezTo>
                    <a:cubicBezTo>
                      <a:pt x="100" y="23"/>
                      <a:pt x="89" y="28"/>
                      <a:pt x="78" y="28"/>
                    </a:cubicBezTo>
                    <a:cubicBezTo>
                      <a:pt x="71" y="28"/>
                      <a:pt x="64" y="26"/>
                      <a:pt x="57" y="21"/>
                    </a:cubicBezTo>
                    <a:cubicBezTo>
                      <a:pt x="29" y="0"/>
                      <a:pt x="29" y="0"/>
                      <a:pt x="29" y="0"/>
                    </a:cubicBezTo>
                  </a:path>
                </a:pathLst>
              </a:custGeom>
              <a:solidFill>
                <a:srgbClr val="C80606"/>
              </a:solidFill>
              <a:ln w="12700">
                <a:solidFill>
                  <a:srgbClr val="C80606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8" name="Freeform 140"/>
              <p:cNvSpPr>
                <a:spLocks/>
              </p:cNvSpPr>
              <p:nvPr/>
            </p:nvSpPr>
            <p:spPr bwMode="auto">
              <a:xfrm>
                <a:off x="5549900" y="1176338"/>
                <a:ext cx="9525" cy="0"/>
              </a:xfrm>
              <a:custGeom>
                <a:avLst/>
                <a:gdLst>
                  <a:gd name="T0" fmla="*/ 2 w 5"/>
                  <a:gd name="T1" fmla="*/ 0 w 5"/>
                  <a:gd name="T2" fmla="*/ 3 w 5"/>
                  <a:gd name="T3" fmla="*/ 5 w 5"/>
                  <a:gd name="T4" fmla="*/ 2 w 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5">
                    <a:moveTo>
                      <a:pt x="2" y="0"/>
                    </a:moveTo>
                    <a:cubicBezTo>
                      <a:pt x="2" y="0"/>
                      <a:pt x="1" y="0"/>
                      <a:pt x="0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4" y="0"/>
                      <a:pt x="3" y="0"/>
                      <a:pt x="2" y="0"/>
                    </a:cubicBezTo>
                  </a:path>
                </a:pathLst>
              </a:custGeom>
              <a:solidFill>
                <a:srgbClr val="C8060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9" name="Freeform 141"/>
              <p:cNvSpPr>
                <a:spLocks/>
              </p:cNvSpPr>
              <p:nvPr/>
            </p:nvSpPr>
            <p:spPr bwMode="auto">
              <a:xfrm>
                <a:off x="5476372" y="1176338"/>
                <a:ext cx="147638" cy="123825"/>
              </a:xfrm>
              <a:custGeom>
                <a:avLst/>
                <a:gdLst>
                  <a:gd name="T0" fmla="*/ 50 w 85"/>
                  <a:gd name="T1" fmla="*/ 0 h 71"/>
                  <a:gd name="T2" fmla="*/ 47 w 85"/>
                  <a:gd name="T3" fmla="*/ 0 h 71"/>
                  <a:gd name="T4" fmla="*/ 21 w 85"/>
                  <a:gd name="T5" fmla="*/ 15 h 71"/>
                  <a:gd name="T6" fmla="*/ 0 w 85"/>
                  <a:gd name="T7" fmla="*/ 43 h 71"/>
                  <a:gd name="T8" fmla="*/ 28 w 85"/>
                  <a:gd name="T9" fmla="*/ 64 h 71"/>
                  <a:gd name="T10" fmla="*/ 49 w 85"/>
                  <a:gd name="T11" fmla="*/ 71 h 71"/>
                  <a:gd name="T12" fmla="*/ 78 w 85"/>
                  <a:gd name="T13" fmla="*/ 57 h 71"/>
                  <a:gd name="T14" fmla="*/ 78 w 85"/>
                  <a:gd name="T15" fmla="*/ 57 h 71"/>
                  <a:gd name="T16" fmla="*/ 84 w 85"/>
                  <a:gd name="T17" fmla="*/ 36 h 71"/>
                  <a:gd name="T18" fmla="*/ 70 w 85"/>
                  <a:gd name="T19" fmla="*/ 7 h 71"/>
                  <a:gd name="T20" fmla="*/ 70 w 85"/>
                  <a:gd name="T21" fmla="*/ 7 h 71"/>
                  <a:gd name="T22" fmla="*/ 52 w 85"/>
                  <a:gd name="T23" fmla="*/ 0 h 71"/>
                  <a:gd name="T24" fmla="*/ 50 w 85"/>
                  <a:gd name="T25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5" h="71">
                    <a:moveTo>
                      <a:pt x="50" y="0"/>
                    </a:moveTo>
                    <a:cubicBezTo>
                      <a:pt x="49" y="0"/>
                      <a:pt x="48" y="0"/>
                      <a:pt x="47" y="0"/>
                    </a:cubicBezTo>
                    <a:cubicBezTo>
                      <a:pt x="37" y="1"/>
                      <a:pt x="27" y="6"/>
                      <a:pt x="21" y="15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28" y="64"/>
                      <a:pt x="28" y="64"/>
                      <a:pt x="28" y="64"/>
                    </a:cubicBezTo>
                    <a:cubicBezTo>
                      <a:pt x="35" y="69"/>
                      <a:pt x="42" y="71"/>
                      <a:pt x="49" y="71"/>
                    </a:cubicBezTo>
                    <a:cubicBezTo>
                      <a:pt x="60" y="71"/>
                      <a:pt x="71" y="66"/>
                      <a:pt x="78" y="57"/>
                    </a:cubicBezTo>
                    <a:cubicBezTo>
                      <a:pt x="78" y="57"/>
                      <a:pt x="78" y="57"/>
                      <a:pt x="78" y="57"/>
                    </a:cubicBezTo>
                    <a:cubicBezTo>
                      <a:pt x="82" y="50"/>
                      <a:pt x="84" y="43"/>
                      <a:pt x="84" y="36"/>
                    </a:cubicBezTo>
                    <a:cubicBezTo>
                      <a:pt x="85" y="25"/>
                      <a:pt x="80" y="14"/>
                      <a:pt x="70" y="7"/>
                    </a:cubicBezTo>
                    <a:cubicBezTo>
                      <a:pt x="70" y="7"/>
                      <a:pt x="70" y="7"/>
                      <a:pt x="70" y="7"/>
                    </a:cubicBezTo>
                    <a:cubicBezTo>
                      <a:pt x="64" y="3"/>
                      <a:pt x="58" y="1"/>
                      <a:pt x="52" y="0"/>
                    </a:cubicBezTo>
                    <a:cubicBezTo>
                      <a:pt x="51" y="0"/>
                      <a:pt x="50" y="0"/>
                      <a:pt x="50" y="0"/>
                    </a:cubicBezTo>
                  </a:path>
                </a:pathLst>
              </a:custGeom>
              <a:solidFill>
                <a:srgbClr val="B10101"/>
              </a:solidFill>
              <a:ln w="12700">
                <a:solidFill>
                  <a:srgbClr val="B1010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261" name="Picture 26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8202" y="1442369"/>
            <a:ext cx="594025" cy="594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2935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2155861" y="4310385"/>
            <a:ext cx="5089328" cy="308985"/>
            <a:chOff x="2302685" y="4224918"/>
            <a:chExt cx="4505255" cy="440513"/>
          </a:xfrm>
        </p:grpSpPr>
        <p:sp>
          <p:nvSpPr>
            <p:cNvPr id="96" name="Trapezoid 95"/>
            <p:cNvSpPr/>
            <p:nvPr/>
          </p:nvSpPr>
          <p:spPr>
            <a:xfrm>
              <a:off x="2302685" y="4224918"/>
              <a:ext cx="4505255" cy="340397"/>
            </a:xfrm>
            <a:prstGeom prst="trapezoid">
              <a:avLst>
                <a:gd name="adj" fmla="val 121078"/>
              </a:avLst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8" name="Rectangle 147"/>
            <p:cNvSpPr/>
            <p:nvPr/>
          </p:nvSpPr>
          <p:spPr>
            <a:xfrm>
              <a:off x="2302685" y="4565315"/>
              <a:ext cx="4505255" cy="10011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277217" y="3737714"/>
            <a:ext cx="1610068" cy="743202"/>
          </a:xfrm>
          <a:prstGeom prst="rect">
            <a:avLst/>
          </a:prstGeom>
          <a:noFill/>
        </p:spPr>
        <p:txBody>
          <a:bodyPr wrap="square" lIns="85452" tIns="42728" rIns="85452" bIns="42728" rtlCol="0">
            <a:spAutoFit/>
          </a:bodyPr>
          <a:lstStyle/>
          <a:p>
            <a:pPr algn="r" defTabSz="427266"/>
            <a:r>
              <a:rPr lang="en-US" sz="1400" dirty="0" smtClean="0">
                <a:latin typeface="CiscoSans" pitchFamily="34" charset="0"/>
                <a:cs typeface="Arial" panose="020B0604020202020204" pitchFamily="34" charset="0"/>
              </a:rPr>
              <a:t>Secure, streamlined, agile vehicle</a:t>
            </a:r>
            <a:endParaRPr lang="en-US" sz="1400" dirty="0">
              <a:latin typeface="CiscoSans" pitchFamily="34" charset="0"/>
              <a:cs typeface="Arial" panose="020B0604020202020204" pitchFamily="34" charset="0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530842" y="1381373"/>
            <a:ext cx="1356443" cy="743202"/>
          </a:xfrm>
          <a:prstGeom prst="rect">
            <a:avLst/>
          </a:prstGeom>
          <a:noFill/>
        </p:spPr>
        <p:txBody>
          <a:bodyPr wrap="square" lIns="85452" tIns="42728" rIns="85452" bIns="42728" rtlCol="0">
            <a:spAutoFit/>
          </a:bodyPr>
          <a:lstStyle/>
          <a:p>
            <a:pPr algn="r" defTabSz="427266"/>
            <a:r>
              <a:rPr lang="en-US" sz="1400" dirty="0" smtClean="0">
                <a:latin typeface="CiscoSans" pitchFamily="34" charset="0"/>
                <a:cs typeface="Arial" panose="020B0604020202020204" pitchFamily="34" charset="0"/>
              </a:rPr>
              <a:t>Enabled by applications &amp; solutions </a:t>
            </a:r>
            <a:endParaRPr lang="en-US" sz="1400" dirty="0">
              <a:latin typeface="CiscoSans" pitchFamily="34" charset="0"/>
              <a:cs typeface="Arial" panose="020B0604020202020204" pitchFamily="34" charset="0"/>
            </a:endParaRPr>
          </a:p>
        </p:txBody>
      </p:sp>
      <p:sp>
        <p:nvSpPr>
          <p:cNvPr id="8206" name="TextBox 8205"/>
          <p:cNvSpPr txBox="1"/>
          <p:nvPr/>
        </p:nvSpPr>
        <p:spPr>
          <a:xfrm>
            <a:off x="3233246" y="1398328"/>
            <a:ext cx="566030" cy="40193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937" tIns="30969" rIns="61937" bIns="30969" rtlCol="0" anchor="ctr"/>
          <a:lstStyle>
            <a:defPPr>
              <a:defRPr lang="en-US"/>
            </a:defPPr>
            <a:lvl1pPr algn="ctr">
              <a:defRPr sz="11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2"/>
                </a:solidFill>
                <a:latin typeface="CiscoSans" pitchFamily="34" charset="0"/>
                <a:ea typeface="CiscoSans" charset="0"/>
                <a:cs typeface="CiscoSans" charset="0"/>
              </a:rPr>
              <a:t>V2X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3853864" y="1398328"/>
            <a:ext cx="960221" cy="40193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937" tIns="30969" rIns="61937" bIns="30969" rtlCol="0" anchor="ctr"/>
          <a:lstStyle>
            <a:defPPr>
              <a:defRPr lang="en-US"/>
            </a:defPPr>
            <a:lvl1pPr algn="ctr">
              <a:defRPr sz="11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2"/>
                </a:solidFill>
                <a:latin typeface="CiscoSans" pitchFamily="34" charset="0"/>
                <a:ea typeface="CiscoSans" charset="0"/>
                <a:cs typeface="CiscoSans" charset="0"/>
              </a:rPr>
              <a:t>OEM  OTA Services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4868675" y="1398328"/>
            <a:ext cx="1125982" cy="40193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937" tIns="30969" rIns="61937" bIns="30969" rtlCol="0" anchor="ctr"/>
          <a:lstStyle>
            <a:defPPr>
              <a:defRPr lang="en-US"/>
            </a:defPPr>
            <a:lvl1pPr algn="ctr">
              <a:defRPr sz="11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2"/>
                </a:solidFill>
                <a:latin typeface="CiscoSans" pitchFamily="34" charset="0"/>
                <a:ea typeface="CiscoSans" charset="0"/>
                <a:cs typeface="CiscoSans" charset="0"/>
              </a:rPr>
              <a:t>Fleet </a:t>
            </a:r>
            <a:endParaRPr lang="en-US" dirty="0" smtClean="0">
              <a:solidFill>
                <a:schemeClr val="bg2"/>
              </a:solidFill>
              <a:latin typeface="CiscoSans" pitchFamily="34" charset="0"/>
              <a:ea typeface="CiscoSans" charset="0"/>
              <a:cs typeface="CiscoSans" charset="0"/>
            </a:endParaRPr>
          </a:p>
          <a:p>
            <a:r>
              <a:rPr lang="en-US" dirty="0" smtClean="0">
                <a:solidFill>
                  <a:schemeClr val="bg2"/>
                </a:solidFill>
                <a:latin typeface="CiscoSans" pitchFamily="34" charset="0"/>
                <a:ea typeface="CiscoSans" charset="0"/>
                <a:cs typeface="CiscoSans" charset="0"/>
              </a:rPr>
              <a:t>Management</a:t>
            </a:r>
            <a:endParaRPr lang="en-US" dirty="0">
              <a:solidFill>
                <a:schemeClr val="bg2"/>
              </a:solidFill>
              <a:latin typeface="CiscoSans" pitchFamily="34" charset="0"/>
              <a:ea typeface="CiscoSans" charset="0"/>
              <a:cs typeface="CiscoSans" charset="0"/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6049241" y="1398328"/>
            <a:ext cx="1174501" cy="40193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937" tIns="30969" rIns="61937" bIns="30969" rtlCol="0" anchor="ctr"/>
          <a:lstStyle>
            <a:defPPr>
              <a:defRPr lang="en-US"/>
            </a:defPPr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schemeClr val="bg2"/>
                </a:solidFill>
                <a:latin typeface="CiscoSans" pitchFamily="34" charset="0"/>
                <a:ea typeface="CiscoSans" charset="0"/>
                <a:cs typeface="CiscoSans" charset="0"/>
              </a:rPr>
              <a:t>Central Security Systems</a:t>
            </a:r>
          </a:p>
        </p:txBody>
      </p:sp>
      <p:pic>
        <p:nvPicPr>
          <p:cNvPr id="30722" name="Picture 2" descr="C:\Users\yidai\Downloads\1458039514_Productivity-33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90716" y="863780"/>
            <a:ext cx="497468" cy="435866"/>
          </a:xfrm>
          <a:prstGeom prst="rect">
            <a:avLst/>
          </a:prstGeom>
          <a:noFill/>
          <a:ln>
            <a:noFill/>
          </a:ln>
          <a:extLst/>
        </p:spPr>
      </p:pic>
      <p:sp>
        <p:nvSpPr>
          <p:cNvPr id="80" name="Trapezoid 95"/>
          <p:cNvSpPr/>
          <p:nvPr/>
        </p:nvSpPr>
        <p:spPr>
          <a:xfrm>
            <a:off x="3761182" y="2261239"/>
            <a:ext cx="1716768" cy="765423"/>
          </a:xfrm>
          <a:prstGeom prst="cloud">
            <a:avLst/>
          </a:prstGeom>
          <a:solidFill>
            <a:schemeClr val="bg2"/>
          </a:solidFill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</a:ln>
          <a:effectLst/>
        </p:spPr>
        <p:txBody>
          <a:bodyPr wrap="none" lIns="64103" tIns="32054" rIns="64103" bIns="32054" rtlCol="0" anchor="ctr"/>
          <a:lstStyle/>
          <a:p>
            <a:pPr algn="ctr"/>
            <a:r>
              <a:rPr lang="en-US" sz="949" kern="0" dirty="0" smtClean="0">
                <a:latin typeface="CiscoSans" pitchFamily="34" charset="0"/>
                <a:cs typeface="Arial" panose="020B0604020202020204" pitchFamily="34" charset="0"/>
              </a:rPr>
              <a:t>Automotive Cloud </a:t>
            </a:r>
            <a:r>
              <a:rPr lang="en-US" sz="949" kern="0" dirty="0">
                <a:latin typeface="CiscoSans" pitchFamily="34" charset="0"/>
                <a:cs typeface="Arial" panose="020B0604020202020204" pitchFamily="34" charset="0"/>
              </a:rPr>
              <a:t/>
            </a:r>
            <a:br>
              <a:rPr lang="en-US" sz="949" kern="0" dirty="0">
                <a:latin typeface="CiscoSans" pitchFamily="34" charset="0"/>
                <a:cs typeface="Arial" panose="020B0604020202020204" pitchFamily="34" charset="0"/>
              </a:rPr>
            </a:br>
            <a:r>
              <a:rPr lang="en-US" sz="949" kern="0" dirty="0" smtClean="0">
                <a:latin typeface="CiscoSans" pitchFamily="34" charset="0"/>
                <a:cs typeface="Arial" panose="020B0604020202020204" pitchFamily="34" charset="0"/>
              </a:rPr>
              <a:t> OTA</a:t>
            </a:r>
            <a:r>
              <a:rPr lang="en-US" sz="949" kern="0" dirty="0">
                <a:latin typeface="CiscoSans" pitchFamily="34" charset="0"/>
                <a:cs typeface="Arial" panose="020B0604020202020204" pitchFamily="34" charset="0"/>
              </a:rPr>
              <a:t>, OEM </a:t>
            </a:r>
            <a:endParaRPr lang="en-US" sz="949" kern="0" dirty="0" smtClean="0">
              <a:latin typeface="CiscoSans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949" kern="0" dirty="0" smtClean="0">
                <a:latin typeface="CiscoSans" pitchFamily="34" charset="0"/>
                <a:cs typeface="Arial" panose="020B0604020202020204" pitchFamily="34" charset="0"/>
              </a:rPr>
              <a:t>Integration</a:t>
            </a:r>
            <a:endParaRPr lang="en-US" sz="949" kern="0" dirty="0">
              <a:latin typeface="CiscoSans" pitchFamily="34" charset="0"/>
              <a:cs typeface="Arial" panose="020B0604020202020204" pitchFamily="34" charset="0"/>
            </a:endParaRPr>
          </a:p>
        </p:txBody>
      </p:sp>
      <p:sp>
        <p:nvSpPr>
          <p:cNvPr id="43" name="Title 1"/>
          <p:cNvSpPr txBox="1">
            <a:spLocks/>
          </p:cNvSpPr>
          <p:nvPr/>
        </p:nvSpPr>
        <p:spPr>
          <a:xfrm>
            <a:off x="129568" y="115844"/>
            <a:ext cx="9141914" cy="668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416" tIns="43709" rIns="87416" bIns="437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defTabSz="965856" eaLnBrk="1" hangingPunct="1">
              <a:lnSpc>
                <a:spcPct val="80000"/>
              </a:lnSpc>
              <a:defRPr sz="3200">
                <a:solidFill>
                  <a:schemeClr val="accent2">
                    <a:lumMod val="75000"/>
                  </a:schemeClr>
                </a:solidFill>
                <a:latin typeface="+mj-lt"/>
                <a:cs typeface="CiscoSans"/>
              </a:defRPr>
            </a:lvl1pPr>
            <a:lvl2pPr defTabSz="965856" eaLnBrk="1" hangingPunct="1">
              <a:lnSpc>
                <a:spcPct val="80000"/>
              </a:lnSpc>
              <a:defRPr sz="4500">
                <a:solidFill>
                  <a:srgbClr val="676767"/>
                </a:solidFill>
              </a:defRPr>
            </a:lvl2pPr>
            <a:lvl3pPr defTabSz="965856" eaLnBrk="1" hangingPunct="1">
              <a:lnSpc>
                <a:spcPct val="80000"/>
              </a:lnSpc>
              <a:defRPr sz="4500">
                <a:solidFill>
                  <a:srgbClr val="676767"/>
                </a:solidFill>
              </a:defRPr>
            </a:lvl3pPr>
            <a:lvl4pPr defTabSz="965856" eaLnBrk="1" hangingPunct="1">
              <a:lnSpc>
                <a:spcPct val="80000"/>
              </a:lnSpc>
              <a:defRPr sz="4500">
                <a:solidFill>
                  <a:srgbClr val="676767"/>
                </a:solidFill>
              </a:defRPr>
            </a:lvl4pPr>
            <a:lvl5pPr defTabSz="965856" eaLnBrk="1" hangingPunct="1">
              <a:lnSpc>
                <a:spcPct val="80000"/>
              </a:lnSpc>
              <a:defRPr sz="4500">
                <a:solidFill>
                  <a:srgbClr val="676767"/>
                </a:solidFill>
              </a:defRPr>
            </a:lvl5pPr>
            <a:lvl6pPr marL="645400" defTabSz="965856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500">
                <a:solidFill>
                  <a:srgbClr val="676767"/>
                </a:solidFill>
              </a:defRPr>
            </a:lvl6pPr>
            <a:lvl7pPr marL="1290796" defTabSz="965856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500">
                <a:solidFill>
                  <a:srgbClr val="676767"/>
                </a:solidFill>
              </a:defRPr>
            </a:lvl7pPr>
            <a:lvl8pPr marL="1936194" defTabSz="965856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500">
                <a:solidFill>
                  <a:srgbClr val="676767"/>
                </a:solidFill>
              </a:defRPr>
            </a:lvl8pPr>
            <a:lvl9pPr marL="2581590" defTabSz="965856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500">
                <a:solidFill>
                  <a:srgbClr val="676767"/>
                </a:solidFill>
              </a:defRPr>
            </a:lvl9pPr>
          </a:lstStyle>
          <a:p>
            <a:r>
              <a:rPr lang="en-US" sz="2800" dirty="0" smtClean="0">
                <a:solidFill>
                  <a:schemeClr val="bg1"/>
                </a:solidFill>
                <a:latin typeface="CiscoSans" charset="0"/>
                <a:ea typeface="CiscoSans" charset="0"/>
                <a:cs typeface="CiscoSans" charset="0"/>
              </a:rPr>
              <a:t>Infrastructure and Software Enable End-to-End </a:t>
            </a:r>
            <a:r>
              <a:rPr lang="en-US" sz="2800" dirty="0">
                <a:solidFill>
                  <a:schemeClr val="bg1"/>
                </a:solidFill>
                <a:latin typeface="CiscoSans" charset="0"/>
                <a:ea typeface="CiscoSans" charset="0"/>
                <a:cs typeface="CiscoSans" charset="0"/>
              </a:rPr>
              <a:t>V2X </a:t>
            </a:r>
            <a:r>
              <a:rPr lang="en-US" sz="2800" dirty="0" smtClean="0">
                <a:solidFill>
                  <a:schemeClr val="bg1"/>
                </a:solidFill>
                <a:latin typeface="CiscoSans" charset="0"/>
                <a:ea typeface="CiscoSans" charset="0"/>
                <a:cs typeface="CiscoSans" charset="0"/>
              </a:rPr>
              <a:t>Architecture for CAV</a:t>
            </a:r>
            <a:endParaRPr lang="en-US" sz="2800" dirty="0">
              <a:solidFill>
                <a:schemeClr val="bg1"/>
              </a:solidFill>
              <a:latin typeface="CiscoSans" charset="0"/>
              <a:ea typeface="CiscoSans" charset="0"/>
              <a:cs typeface="CiscoSans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2127206" y="1398328"/>
            <a:ext cx="1030615" cy="401930"/>
          </a:xfrm>
          <a:prstGeom prst="rect">
            <a:avLst/>
          </a:prstGeom>
          <a:solidFill>
            <a:schemeClr val="accent1"/>
          </a:solidFill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937" tIns="30969" rIns="61937" bIns="30969" rtlCol="0" anchor="ctr"/>
          <a:lstStyle>
            <a:defPPr>
              <a:defRPr lang="en-US"/>
            </a:defPPr>
            <a:lvl1pPr algn="ctr">
              <a:defRPr sz="11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2"/>
                </a:solidFill>
                <a:latin typeface="CiscoSans" pitchFamily="34" charset="0"/>
                <a:ea typeface="CiscoSans" charset="0"/>
                <a:cs typeface="CiscoSans" charset="0"/>
              </a:rPr>
              <a:t>Autonomous Vehicles</a:t>
            </a:r>
          </a:p>
        </p:txBody>
      </p:sp>
      <p:sp>
        <p:nvSpPr>
          <p:cNvPr id="51" name="Trapezoid 95"/>
          <p:cNvSpPr/>
          <p:nvPr/>
        </p:nvSpPr>
        <p:spPr>
          <a:xfrm>
            <a:off x="1958165" y="2261239"/>
            <a:ext cx="1703079" cy="765423"/>
          </a:xfrm>
          <a:prstGeom prst="cloud">
            <a:avLst/>
          </a:prstGeom>
          <a:solidFill>
            <a:schemeClr val="bg2"/>
          </a:solidFill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/>
            <a:r>
              <a:rPr lang="en-US" sz="949" kern="0" dirty="0" smtClean="0">
                <a:latin typeface="CiscoSans" pitchFamily="34" charset="0"/>
                <a:cs typeface="Arial" panose="020B0604020202020204" pitchFamily="34" charset="0"/>
              </a:rPr>
              <a:t>Public Sector RSU</a:t>
            </a:r>
          </a:p>
          <a:p>
            <a:pPr algn="ctr"/>
            <a:r>
              <a:rPr lang="en-US" sz="949" kern="0" dirty="0" smtClean="0">
                <a:latin typeface="CiscoSans" pitchFamily="34" charset="0"/>
                <a:cs typeface="Arial" panose="020B0604020202020204" pitchFamily="34" charset="0"/>
              </a:rPr>
              <a:t> </a:t>
            </a:r>
            <a:r>
              <a:rPr lang="en-US" sz="949" kern="0" dirty="0">
                <a:latin typeface="CiscoSans" pitchFamily="34" charset="0"/>
                <a:cs typeface="Arial" panose="020B0604020202020204" pitchFamily="34" charset="0"/>
              </a:rPr>
              <a:t>&amp; Traffic </a:t>
            </a:r>
            <a:r>
              <a:rPr lang="en-US" sz="949" kern="0" dirty="0" smtClean="0">
                <a:latin typeface="CiscoSans" pitchFamily="34" charset="0"/>
                <a:cs typeface="Arial" panose="020B0604020202020204" pitchFamily="34" charset="0"/>
              </a:rPr>
              <a:t>Management </a:t>
            </a:r>
          </a:p>
          <a:p>
            <a:pPr algn="ctr"/>
            <a:r>
              <a:rPr lang="en-US" sz="949" kern="0" dirty="0" smtClean="0">
                <a:latin typeface="CiscoSans" pitchFamily="34" charset="0"/>
                <a:cs typeface="Arial" panose="020B0604020202020204" pitchFamily="34" charset="0"/>
              </a:rPr>
              <a:t>Center</a:t>
            </a:r>
            <a:endParaRPr lang="en-US" sz="949" kern="0" dirty="0">
              <a:latin typeface="CiscoSans" pitchFamily="34" charset="0"/>
              <a:cs typeface="Arial" panose="020B0604020202020204" pitchFamily="34" charset="0"/>
            </a:endParaRPr>
          </a:p>
        </p:txBody>
      </p:sp>
      <p:sp>
        <p:nvSpPr>
          <p:cNvPr id="52" name="Trapezoid 95"/>
          <p:cNvSpPr/>
          <p:nvPr/>
        </p:nvSpPr>
        <p:spPr>
          <a:xfrm>
            <a:off x="5587763" y="2261239"/>
            <a:ext cx="1617257" cy="765423"/>
          </a:xfrm>
          <a:prstGeom prst="cloud">
            <a:avLst/>
          </a:prstGeom>
          <a:solidFill>
            <a:schemeClr val="bg2"/>
          </a:solidFill>
          <a:ln w="31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</a:ln>
          <a:effectLst/>
        </p:spPr>
        <p:txBody>
          <a:bodyPr wrap="none" lIns="64103" tIns="32054" rIns="64103" bIns="32054" rtlCol="0" anchor="ctr"/>
          <a:lstStyle/>
          <a:p>
            <a:pPr algn="ctr"/>
            <a:r>
              <a:rPr lang="en-US" sz="949" kern="0" dirty="0" smtClean="0">
                <a:latin typeface="CiscoSans" pitchFamily="34" charset="0"/>
                <a:cs typeface="Arial" panose="020B0604020202020204" pitchFamily="34" charset="0"/>
              </a:rPr>
              <a:t>Service </a:t>
            </a:r>
            <a:r>
              <a:rPr lang="en-US" sz="949" kern="0" dirty="0">
                <a:latin typeface="CiscoSans" pitchFamily="34" charset="0"/>
                <a:cs typeface="Arial" panose="020B0604020202020204" pitchFamily="34" charset="0"/>
              </a:rPr>
              <a:t>Provider </a:t>
            </a:r>
            <a:br>
              <a:rPr lang="en-US" sz="949" kern="0" dirty="0">
                <a:latin typeface="CiscoSans" pitchFamily="34" charset="0"/>
                <a:cs typeface="Arial" panose="020B0604020202020204" pitchFamily="34" charset="0"/>
              </a:rPr>
            </a:br>
            <a:r>
              <a:rPr lang="en-US" sz="949" kern="0" dirty="0">
                <a:latin typeface="CiscoSans" pitchFamily="34" charset="0"/>
                <a:cs typeface="Arial" panose="020B0604020202020204" pitchFamily="34" charset="0"/>
              </a:rPr>
              <a:t>Cloud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2127207" y="1857226"/>
            <a:ext cx="5096535" cy="345409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937" tIns="30969" rIns="61937" bIns="30969" rtlCol="0" anchor="ctr"/>
          <a:lstStyle>
            <a:defPPr>
              <a:defRPr lang="en-US"/>
            </a:defPPr>
            <a:lvl1pPr algn="ctr">
              <a:defRPr sz="18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20" dirty="0">
                <a:solidFill>
                  <a:schemeClr val="bg2"/>
                </a:solidFill>
                <a:latin typeface="CiscoSans" pitchFamily="34" charset="0"/>
              </a:rPr>
              <a:t>Data Broker Platform 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5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2745" b="94902" l="238" r="97500">
                        <a14:foregroundMark x1="75595" y1="53333" x2="75595" y2="53333"/>
                        <a14:foregroundMark x1="78333" y1="67059" x2="78333" y2="67059"/>
                        <a14:foregroundMark x1="25357" y1="81961" x2="25357" y2="81961"/>
                        <a14:foregroundMark x1="22024" y1="73725" x2="22024" y2="73725"/>
                        <a14:foregroundMark x1="73571" y1="73725" x2="73571" y2="73725"/>
                        <a14:foregroundMark x1="78810" y1="85882" x2="78810" y2="85882"/>
                        <a14:foregroundMark x1="74881" y1="81176" x2="74881" y2="81176"/>
                        <a14:foregroundMark x1="75357" y1="87451" x2="75357" y2="87451"/>
                        <a14:foregroundMark x1="22262" y1="89020" x2="22262" y2="89020"/>
                        <a14:foregroundMark x1="19167" y1="89020" x2="19167" y2="89020"/>
                        <a14:foregroundMark x1="23929" y1="86275" x2="23929" y2="86275"/>
                        <a14:foregroundMark x1="16190" y1="85098" x2="16190" y2="85098"/>
                        <a14:foregroundMark x1="16905" y1="87843" x2="16905" y2="87843"/>
                        <a14:foregroundMark x1="17857" y1="89020" x2="17857" y2="89020"/>
                        <a14:foregroundMark x1="20476" y1="90196" x2="20476" y2="90196"/>
                        <a14:foregroundMark x1="80357" y1="89020" x2="80357" y2="89020"/>
                        <a14:foregroundMark x1="73095" y1="89412" x2="73095" y2="89412"/>
                        <a14:foregroundMark x1="87619" y1="25098" x2="87619" y2="25098"/>
                        <a14:foregroundMark x1="88810" y1="25098" x2="88810" y2="25098"/>
                        <a14:foregroundMark x1="90476" y1="25882" x2="90476" y2="25882"/>
                        <a14:foregroundMark x1="91905" y1="26275" x2="91905" y2="26275"/>
                        <a14:foregroundMark x1="90952" y1="25490" x2="90952" y2="25490"/>
                        <a14:foregroundMark x1="77143" y1="88627" x2="77143" y2="88627"/>
                        <a14:foregroundMark x1="78690" y1="90196" x2="78690" y2="90196"/>
                        <a14:foregroundMark x1="81071" y1="90196" x2="81071" y2="90196"/>
                        <a14:foregroundMark x1="82381" y1="87843" x2="82381" y2="87843"/>
                        <a14:backgroundMark x1="55833" y1="91765" x2="55833" y2="91765"/>
                        <a14:backgroundMark x1="60476" y1="89804" x2="60476" y2="89804"/>
                        <a14:backgroundMark x1="63452" y1="87451" x2="63452" y2="87451"/>
                        <a14:backgroundMark x1="44881" y1="91765" x2="44881" y2="91765"/>
                        <a14:backgroundMark x1="36190" y1="86667" x2="36190" y2="86667"/>
                        <a14:backgroundMark x1="32024" y1="89804" x2="32024" y2="89804"/>
                        <a14:backgroundMark x1="72381" y1="89020" x2="72381" y2="89020"/>
                        <a14:backgroundMark x1="29286" y1="89020" x2="29286" y2="89020"/>
                        <a14:backgroundMark x1="27976" y1="85882" x2="27976" y2="85882"/>
                        <a14:backgroundMark x1="14405" y1="89020" x2="14405" y2="89020"/>
                        <a14:backgroundMark x1="15833" y1="91765" x2="15833" y2="91765"/>
                        <a14:backgroundMark x1="17262" y1="92941" x2="17262" y2="92941"/>
                        <a14:backgroundMark x1="22143" y1="92941" x2="22143" y2="92941"/>
                        <a14:backgroundMark x1="25714" y1="90588" x2="25714" y2="90588"/>
                        <a14:backgroundMark x1="24167" y1="92941" x2="24167" y2="92941"/>
                        <a14:backgroundMark x1="18571" y1="92549" x2="18571" y2="92549"/>
                        <a14:backgroundMark x1="73571" y1="92549" x2="73571" y2="92549"/>
                        <a14:backgroundMark x1="83929" y1="91373" x2="83929" y2="91373"/>
                        <a14:backgroundMark x1="82857" y1="92549" x2="82857" y2="92549"/>
                        <a14:backgroundMark x1="74167" y1="92549" x2="74167" y2="92549"/>
                        <a14:backgroundMark x1="75714" y1="93333" x2="75714" y2="93333"/>
                        <a14:backgroundMark x1="76667" y1="92549" x2="76667" y2="92549"/>
                        <a14:backgroundMark x1="77619" y1="92941" x2="77619" y2="92941"/>
                        <a14:backgroundMark x1="79643" y1="92549" x2="79643" y2="92549"/>
                      </a14:backgroundRemoval>
                    </a14:imgEffect>
                    <a14:imgEffect>
                      <a14:saturation sat="108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197003" y="3153756"/>
            <a:ext cx="4950281" cy="1502763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7">
            <a:alphaModFix amt="66000"/>
            <a:grayscl/>
          </a:blip>
          <a:stretch>
            <a:fillRect/>
          </a:stretch>
        </p:blipFill>
        <p:spPr>
          <a:xfrm>
            <a:off x="2300094" y="1032132"/>
            <a:ext cx="633377" cy="267514"/>
          </a:xfrm>
          <a:prstGeom prst="rect">
            <a:avLst/>
          </a:prstGeom>
          <a:noFill/>
        </p:spPr>
      </p:pic>
      <p:sp>
        <p:nvSpPr>
          <p:cNvPr id="57" name="TextBox 56"/>
          <p:cNvSpPr txBox="1"/>
          <p:nvPr/>
        </p:nvSpPr>
        <p:spPr>
          <a:xfrm>
            <a:off x="277217" y="2559544"/>
            <a:ext cx="1610068" cy="743202"/>
          </a:xfrm>
          <a:prstGeom prst="rect">
            <a:avLst/>
          </a:prstGeom>
          <a:noFill/>
        </p:spPr>
        <p:txBody>
          <a:bodyPr wrap="square" lIns="85452" tIns="42728" rIns="85452" bIns="42728" rtlCol="0">
            <a:spAutoFit/>
          </a:bodyPr>
          <a:lstStyle/>
          <a:p>
            <a:pPr algn="r" defTabSz="427266"/>
            <a:r>
              <a:rPr lang="en-US" sz="1400" dirty="0" smtClean="0">
                <a:latin typeface="CiscoSans" pitchFamily="34" charset="0"/>
                <a:cs typeface="Arial" panose="020B0604020202020204" pitchFamily="34" charset="0"/>
              </a:rPr>
              <a:t>Connected to everything</a:t>
            </a:r>
            <a:r>
              <a:rPr lang="is-IS" sz="1400" dirty="0" smtClean="0">
                <a:latin typeface="CiscoSans" pitchFamily="34" charset="0"/>
                <a:cs typeface="Arial" panose="020B0604020202020204" pitchFamily="34" charset="0"/>
              </a:rPr>
              <a:t>…</a:t>
            </a:r>
          </a:p>
          <a:p>
            <a:pPr algn="r" defTabSz="427266"/>
            <a:r>
              <a:rPr lang="is-IS" sz="1400" dirty="0" smtClean="0">
                <a:latin typeface="CiscoSans" pitchFamily="34" charset="0"/>
                <a:cs typeface="Arial" panose="020B0604020202020204" pitchFamily="34" charset="0"/>
              </a:rPr>
              <a:t>...everywhere</a:t>
            </a:r>
            <a:endParaRPr lang="en-US" sz="1400" dirty="0">
              <a:latin typeface="CiscoSans" pitchFamily="34" charset="0"/>
              <a:cs typeface="Arial" panose="020B0604020202020204" pitchFamily="34" charset="0"/>
            </a:endParaRPr>
          </a:p>
        </p:txBody>
      </p:sp>
      <p:sp>
        <p:nvSpPr>
          <p:cNvPr id="11" name="Up-Down Arrow 10"/>
          <p:cNvSpPr/>
          <p:nvPr/>
        </p:nvSpPr>
        <p:spPr>
          <a:xfrm>
            <a:off x="7339476" y="956998"/>
            <a:ext cx="1690660" cy="3592148"/>
          </a:xfrm>
          <a:prstGeom prst="upDownArrow">
            <a:avLst/>
          </a:prstGeom>
          <a:solidFill>
            <a:srgbClr val="36A4D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sz="1600" dirty="0" smtClean="0">
                <a:solidFill>
                  <a:schemeClr val="bg2"/>
                </a:solidFill>
                <a:latin typeface="CiscoSans" charset="0"/>
                <a:ea typeface="CiscoSans" charset="0"/>
                <a:cs typeface="CiscoSans" charset="0"/>
              </a:rPr>
              <a:t>End-To-End Security </a:t>
            </a:r>
          </a:p>
          <a:p>
            <a:pPr algn="ctr"/>
            <a:r>
              <a:rPr lang="en-US" sz="1600" dirty="0" smtClean="0">
                <a:solidFill>
                  <a:schemeClr val="bg2"/>
                </a:solidFill>
                <a:latin typeface="CiscoSans" charset="0"/>
                <a:ea typeface="CiscoSans" charset="0"/>
                <a:cs typeface="CiscoSans" charset="0"/>
              </a:rPr>
              <a:t>and Flow of Data 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2850689" y="3116699"/>
            <a:ext cx="1043037" cy="788438"/>
            <a:chOff x="2850689" y="3116699"/>
            <a:chExt cx="1043037" cy="788438"/>
          </a:xfrm>
        </p:grpSpPr>
        <p:pic>
          <p:nvPicPr>
            <p:cNvPr id="2050" name="Picture 2"/>
            <p:cNvPicPr>
              <a:picLocks noChangeAspect="1" noChangeArrowheads="1"/>
            </p:cNvPicPr>
            <p:nvPr/>
          </p:nvPicPr>
          <p:blipFill>
            <a:blip r:embed="rId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50689" y="3116699"/>
              <a:ext cx="1043037" cy="7884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9" name="TextBox 138"/>
            <p:cNvSpPr txBox="1"/>
            <p:nvPr/>
          </p:nvSpPr>
          <p:spPr>
            <a:xfrm>
              <a:off x="2937770" y="3585820"/>
              <a:ext cx="868877" cy="208608"/>
            </a:xfrm>
            <a:prstGeom prst="rect">
              <a:avLst/>
            </a:prstGeom>
            <a:noFill/>
          </p:spPr>
          <p:txBody>
            <a:bodyPr wrap="none" lIns="61937" tIns="30969" rIns="61937" bIns="30969" rtlCol="0">
              <a:spAutoFit/>
            </a:bodyPr>
            <a:lstStyle/>
            <a:p>
              <a:r>
                <a:rPr lang="en-US" sz="949" dirty="0">
                  <a:solidFill>
                    <a:schemeClr val="bg2"/>
                  </a:solidFill>
                </a:rPr>
                <a:t>V2X Gateway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4672143" y="3067122"/>
            <a:ext cx="1043037" cy="788438"/>
            <a:chOff x="4672143" y="3067122"/>
            <a:chExt cx="1043037" cy="788438"/>
          </a:xfrm>
        </p:grpSpPr>
        <p:pic>
          <p:nvPicPr>
            <p:cNvPr id="30" name="Picture 2"/>
            <p:cNvPicPr>
              <a:picLocks noChangeAspect="1" noChangeArrowheads="1"/>
            </p:cNvPicPr>
            <p:nvPr/>
          </p:nvPicPr>
          <p:blipFill>
            <a:blip r:embed="rId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2143" y="3067122"/>
              <a:ext cx="1043037" cy="7884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9" name="TextBox 128"/>
            <p:cNvSpPr txBox="1"/>
            <p:nvPr/>
          </p:nvSpPr>
          <p:spPr>
            <a:xfrm>
              <a:off x="4800639" y="3540554"/>
              <a:ext cx="787124" cy="208608"/>
            </a:xfrm>
            <a:prstGeom prst="rect">
              <a:avLst/>
            </a:prstGeom>
            <a:noFill/>
          </p:spPr>
          <p:txBody>
            <a:bodyPr wrap="none" lIns="61937" tIns="30969" rIns="61937" bIns="30969" rtlCol="0">
              <a:spAutoFit/>
            </a:bodyPr>
            <a:lstStyle/>
            <a:p>
              <a:r>
                <a:rPr lang="en-US" sz="949" dirty="0">
                  <a:solidFill>
                    <a:schemeClr val="bg2"/>
                  </a:solidFill>
                </a:rPr>
                <a:t>IVI Gateway</a:t>
              </a:r>
            </a:p>
          </p:txBody>
        </p:sp>
      </p:grpSp>
      <p:pic>
        <p:nvPicPr>
          <p:cNvPr id="2052" name="Picture 4" descr="Image result for fleet icon">
            <a:hlinkClick r:id="rId9"/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16" t="27484" r="10910" b="31282"/>
          <a:stretch/>
        </p:blipFill>
        <p:spPr bwMode="auto">
          <a:xfrm>
            <a:off x="4914510" y="863780"/>
            <a:ext cx="849600" cy="435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Image result for central security system icon">
            <a:hlinkClick r:id="rId11"/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6538" y="739740"/>
            <a:ext cx="559906" cy="559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Image result for v2x icon">
            <a:hlinkClick r:id="rId14"/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3246" y="978027"/>
            <a:ext cx="581239" cy="3216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214490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88" grpId="0"/>
      <p:bldP spid="5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 txBox="1">
            <a:spLocks/>
          </p:cNvSpPr>
          <p:nvPr/>
        </p:nvSpPr>
        <p:spPr bwMode="auto">
          <a:xfrm>
            <a:off x="467832" y="2759148"/>
            <a:ext cx="2583711" cy="18766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  <a:noAutofit/>
          </a:bodyPr>
          <a:lstStyle>
            <a:lvl1pPr marL="457189" indent="-457189" algn="l" defTabSz="425440" rtl="0" eaLnBrk="1" fontAlgn="base" hangingPunct="1">
              <a:lnSpc>
                <a:spcPct val="150000"/>
              </a:lnSpc>
              <a:spcBef>
                <a:spcPts val="717"/>
              </a:spcBef>
              <a:spcAft>
                <a:spcPct val="0"/>
              </a:spcAft>
              <a:buFont typeface="Arial" panose="020B0604020202020204" pitchFamily="34" charset="0"/>
              <a:defRPr sz="1600" kern="1200">
                <a:solidFill>
                  <a:srgbClr val="6D6F71"/>
                </a:solidFill>
                <a:latin typeface="HelvNeue for IBM Light"/>
                <a:ea typeface="MS PGothic" pitchFamily="34" charset="-128"/>
                <a:cs typeface="HelvNeue for IBM Light"/>
              </a:defRPr>
            </a:lvl1pPr>
            <a:lvl2pPr marL="380990" indent="-380990" algn="l" defTabSz="425440" rtl="0" eaLnBrk="1" fontAlgn="base" hangingPunct="1">
              <a:lnSpc>
                <a:spcPct val="150000"/>
              </a:lnSpc>
              <a:spcBef>
                <a:spcPts val="1433"/>
              </a:spcBef>
              <a:spcAft>
                <a:spcPct val="0"/>
              </a:spcAft>
              <a:buClr>
                <a:srgbClr val="2D86BD"/>
              </a:buClr>
              <a:buFont typeface="Wingdings" panose="05000000000000000000" pitchFamily="2" charset="2"/>
              <a:buChar char="§"/>
              <a:defRPr sz="1600" kern="1200">
                <a:solidFill>
                  <a:srgbClr val="6D6F71"/>
                </a:solidFill>
                <a:latin typeface="HelvNeue for IBM Light"/>
                <a:ea typeface="MS PGothic" pitchFamily="34" charset="-128"/>
                <a:cs typeface="HelvNeue for IBM Light"/>
              </a:defRPr>
            </a:lvl2pPr>
            <a:lvl3pPr marL="607469" indent="-228594" algn="l" defTabSz="425440" rtl="0" eaLnBrk="1" fontAlgn="base" hangingPunct="1">
              <a:lnSpc>
                <a:spcPct val="150000"/>
              </a:lnSpc>
              <a:spcBef>
                <a:spcPts val="1200"/>
              </a:spcBef>
              <a:spcAft>
                <a:spcPct val="0"/>
              </a:spcAft>
              <a:buClr>
                <a:srgbClr val="4FFAFF"/>
              </a:buClr>
              <a:buFont typeface="Wingdings" panose="05000000000000000000" pitchFamily="2" charset="2"/>
              <a:buChar char="§"/>
              <a:tabLst>
                <a:tab pos="1295368" algn="l"/>
              </a:tabLst>
              <a:defRPr lang="en-US" sz="1600" kern="1200" dirty="0">
                <a:solidFill>
                  <a:srgbClr val="6D6F71"/>
                </a:solidFill>
                <a:latin typeface="HelvNeue for IBM Light"/>
                <a:ea typeface="MS PGothic" pitchFamily="34" charset="-128"/>
                <a:cs typeface="HelvNeue for IBM Light"/>
              </a:defRPr>
            </a:lvl3pPr>
            <a:lvl4pPr marL="764098" indent="-156629" algn="l" defTabSz="425440" rtl="0" eaLnBrk="1" fontAlgn="base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56B7C4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rgbClr val="6D6F71"/>
                </a:solidFill>
                <a:latin typeface="HelvNeue for IBM Light"/>
                <a:ea typeface="HelvNeue for IBM" charset="0"/>
                <a:cs typeface="HelvNeue for IBM Light"/>
              </a:defRPr>
            </a:lvl4pPr>
            <a:lvl5pPr marL="992693" indent="-192613" algn="l" defTabSz="455073" rtl="0" eaLnBrk="1" fontAlgn="base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44B2C4"/>
              </a:buClr>
              <a:buFont typeface="Arial" panose="020B0604020202020204" pitchFamily="34" charset="0"/>
              <a:buChar char="–"/>
              <a:defRPr sz="1600" kern="1200">
                <a:solidFill>
                  <a:srgbClr val="6D6F71"/>
                </a:solidFill>
                <a:latin typeface="HelvNeue for IBM Light"/>
                <a:ea typeface="MS PGothic" pitchFamily="34" charset="-128"/>
                <a:cs typeface="HelvNeue for IBM Light"/>
              </a:defRPr>
            </a:lvl5pPr>
            <a:lvl6pPr marL="2357018" indent="-214275" algn="l" defTabSz="428548" rtl="0" eaLnBrk="1" latinLnBrk="0" hangingPunct="1">
              <a:spcBef>
                <a:spcPct val="20000"/>
              </a:spcBef>
              <a:buFont typeface="Arial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85569" indent="-214275" algn="l" defTabSz="428548" rtl="0" eaLnBrk="1" latinLnBrk="0" hangingPunct="1">
              <a:spcBef>
                <a:spcPct val="20000"/>
              </a:spcBef>
              <a:buFont typeface="Arial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14117" indent="-214275" algn="l" defTabSz="428548" rtl="0" eaLnBrk="1" latinLnBrk="0" hangingPunct="1">
              <a:spcBef>
                <a:spcPct val="20000"/>
              </a:spcBef>
              <a:buFont typeface="Arial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42666" indent="-214275" algn="l" defTabSz="428548" rtl="0" eaLnBrk="1" latinLnBrk="0" hangingPunct="1">
              <a:spcBef>
                <a:spcPct val="20000"/>
              </a:spcBef>
              <a:buFont typeface="Arial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9863" indent="-169863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CiscoSans" pitchFamily="34" charset="0"/>
                <a:ea typeface="Helvetica Neue" charset="0"/>
                <a:cs typeface="Arial" panose="020B0604020202020204" pitchFamily="34" charset="0"/>
              </a:rPr>
              <a:t>Faster data transfers and data pervasiveness across IoT</a:t>
            </a:r>
          </a:p>
          <a:p>
            <a:pPr marL="169863" indent="-169863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CiscoSans" pitchFamily="34" charset="0"/>
                <a:ea typeface="Helvetica Neue" charset="0"/>
                <a:cs typeface="Arial" panose="020B0604020202020204" pitchFamily="34" charset="0"/>
              </a:rPr>
              <a:t>Availability of fiber in ROW</a:t>
            </a:r>
          </a:p>
          <a:p>
            <a:pPr marL="169863" indent="-169863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300" b="1" dirty="0">
                <a:solidFill>
                  <a:schemeClr val="bg1"/>
                </a:solidFill>
                <a:latin typeface="CiscoSans" pitchFamily="34" charset="0"/>
                <a:ea typeface="Helvetica Neue" charset="0"/>
                <a:cs typeface="Arial" panose="020B0604020202020204" pitchFamily="34" charset="0"/>
              </a:rPr>
              <a:t>New </a:t>
            </a:r>
            <a:r>
              <a:rPr lang="en-US" sz="1300" b="1" dirty="0" smtClean="0">
                <a:solidFill>
                  <a:schemeClr val="bg1"/>
                </a:solidFill>
                <a:latin typeface="CiscoSans" pitchFamily="34" charset="0"/>
                <a:ea typeface="Helvetica Neue" charset="0"/>
                <a:cs typeface="Arial" panose="020B0604020202020204" pitchFamily="34" charset="0"/>
              </a:rPr>
              <a:t>sensors and DSRC</a:t>
            </a:r>
          </a:p>
          <a:p>
            <a:pPr marL="169863" indent="-169863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300" dirty="0" smtClean="0">
                <a:solidFill>
                  <a:schemeClr val="bg2">
                    <a:lumMod val="50000"/>
                  </a:schemeClr>
                </a:solidFill>
                <a:latin typeface="CiscoSans" pitchFamily="34" charset="0"/>
                <a:ea typeface="Helvetica Neue" charset="0"/>
                <a:cs typeface="Arial" panose="020B0604020202020204" pitchFamily="34" charset="0"/>
              </a:rPr>
              <a:t>Low-power</a:t>
            </a:r>
            <a:r>
              <a:rPr lang="en-US" sz="1300" dirty="0">
                <a:solidFill>
                  <a:schemeClr val="bg2">
                    <a:lumMod val="50000"/>
                  </a:schemeClr>
                </a:solidFill>
                <a:latin typeface="CiscoSans" pitchFamily="34" charset="0"/>
                <a:ea typeface="Helvetica Neue" charset="0"/>
                <a:cs typeface="Arial" panose="020B0604020202020204" pitchFamily="34" charset="0"/>
              </a:rPr>
              <a:t>, battery-operated options for device connectivity</a:t>
            </a:r>
          </a:p>
          <a:p>
            <a:pPr marL="169863" indent="-169863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CiscoSans" pitchFamily="34" charset="0"/>
                <a:ea typeface="Helvetica Neue" charset="0"/>
                <a:cs typeface="Arial" panose="020B0604020202020204" pitchFamily="34" charset="0"/>
              </a:rPr>
              <a:t>Edge and cloud computing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 bwMode="auto">
          <a:xfrm>
            <a:off x="6113722" y="2759148"/>
            <a:ext cx="2668332" cy="18766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169863" indent="-169863" defTabSz="425440" eaLnBrk="1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3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Helvetica Neue" charset="0"/>
                <a:cs typeface="Arial" panose="020B0604020202020204" pitchFamily="34" charset="0"/>
              </a:defRPr>
            </a:lvl1pPr>
            <a:lvl2pPr marL="380990" indent="-380990" defTabSz="425440" eaLnBrk="1" hangingPunct="1">
              <a:lnSpc>
                <a:spcPct val="150000"/>
              </a:lnSpc>
              <a:spcBef>
                <a:spcPts val="1433"/>
              </a:spcBef>
              <a:buClr>
                <a:srgbClr val="2D86BD"/>
              </a:buClr>
              <a:buFont typeface="Wingdings" panose="05000000000000000000" pitchFamily="2" charset="2"/>
              <a:buChar char="§"/>
              <a:defRPr sz="1400">
                <a:solidFill>
                  <a:srgbClr val="6D6F71"/>
                </a:solidFill>
                <a:latin typeface="HelvNeue for IBM Light"/>
                <a:ea typeface="MS PGothic" pitchFamily="34" charset="-128"/>
                <a:cs typeface="HelvNeue for IBM Light"/>
              </a:defRPr>
            </a:lvl2pPr>
            <a:lvl3pPr marL="607469" indent="-228594" defTabSz="425440" eaLnBrk="1" hangingPunct="1">
              <a:lnSpc>
                <a:spcPct val="150000"/>
              </a:lnSpc>
              <a:spcBef>
                <a:spcPts val="1200"/>
              </a:spcBef>
              <a:buClr>
                <a:srgbClr val="4FFAFF"/>
              </a:buClr>
              <a:buFont typeface="Wingdings" panose="05000000000000000000" pitchFamily="2" charset="2"/>
              <a:buChar char="§"/>
              <a:tabLst>
                <a:tab pos="1295368" algn="l"/>
              </a:tabLst>
              <a:defRPr sz="1200">
                <a:solidFill>
                  <a:srgbClr val="6D6F71"/>
                </a:solidFill>
                <a:latin typeface="HelvNeue for IBM Light"/>
                <a:ea typeface="MS PGothic" pitchFamily="34" charset="-128"/>
                <a:cs typeface="HelvNeue for IBM Light"/>
              </a:defRPr>
            </a:lvl3pPr>
            <a:lvl4pPr marL="764098" indent="-156629" defTabSz="425440" eaLnBrk="1" hangingPunct="1">
              <a:lnSpc>
                <a:spcPct val="150000"/>
              </a:lnSpc>
              <a:spcBef>
                <a:spcPct val="20000"/>
              </a:spcBef>
              <a:buClr>
                <a:srgbClr val="56B7C4"/>
              </a:buClr>
              <a:buSzPct val="100000"/>
              <a:buFont typeface="Arial" panose="020B0604020202020204" pitchFamily="34" charset="0"/>
              <a:buChar char="•"/>
              <a:defRPr sz="1100">
                <a:solidFill>
                  <a:srgbClr val="6D6F71"/>
                </a:solidFill>
                <a:latin typeface="HelvNeue for IBM Light"/>
                <a:ea typeface="HelvNeue for IBM" charset="0"/>
                <a:cs typeface="HelvNeue for IBM Light"/>
              </a:defRPr>
            </a:lvl4pPr>
            <a:lvl5pPr marL="992693" indent="-192613" defTabSz="455073" eaLnBrk="1" hangingPunct="1">
              <a:lnSpc>
                <a:spcPct val="150000"/>
              </a:lnSpc>
              <a:spcBef>
                <a:spcPct val="20000"/>
              </a:spcBef>
              <a:buClr>
                <a:srgbClr val="44B2C4"/>
              </a:buClr>
              <a:buFont typeface="Arial" panose="020B0604020202020204" pitchFamily="34" charset="0"/>
              <a:buChar char="–"/>
              <a:defRPr sz="1100">
                <a:solidFill>
                  <a:srgbClr val="6D6F71"/>
                </a:solidFill>
                <a:latin typeface="HelvNeue for IBM Light"/>
                <a:ea typeface="MS PGothic" pitchFamily="34" charset="-128"/>
                <a:cs typeface="HelvNeue for IBM Light"/>
              </a:defRPr>
            </a:lvl5pPr>
            <a:lvl6pPr marL="2357018" indent="-214275" defTabSz="428548">
              <a:spcBef>
                <a:spcPct val="20000"/>
              </a:spcBef>
              <a:buFont typeface="Arial"/>
              <a:buChar char="•"/>
              <a:defRPr sz="1867">
                <a:latin typeface="+mn-lt"/>
                <a:ea typeface="+mn-ea"/>
                <a:cs typeface="+mn-cs"/>
              </a:defRPr>
            </a:lvl6pPr>
            <a:lvl7pPr marL="2785569" indent="-214275" defTabSz="428548">
              <a:spcBef>
                <a:spcPct val="20000"/>
              </a:spcBef>
              <a:buFont typeface="Arial"/>
              <a:buChar char="•"/>
              <a:defRPr sz="1867">
                <a:latin typeface="+mn-lt"/>
                <a:ea typeface="+mn-ea"/>
                <a:cs typeface="+mn-cs"/>
              </a:defRPr>
            </a:lvl7pPr>
            <a:lvl8pPr marL="3214117" indent="-214275" defTabSz="428548">
              <a:spcBef>
                <a:spcPct val="20000"/>
              </a:spcBef>
              <a:buFont typeface="Arial"/>
              <a:buChar char="•"/>
              <a:defRPr sz="1867">
                <a:latin typeface="+mn-lt"/>
                <a:ea typeface="+mn-ea"/>
                <a:cs typeface="+mn-cs"/>
              </a:defRPr>
            </a:lvl8pPr>
            <a:lvl9pPr marL="3642666" indent="-214275" defTabSz="428548">
              <a:spcBef>
                <a:spcPct val="20000"/>
              </a:spcBef>
              <a:buFont typeface="Arial"/>
              <a:buChar char="•"/>
              <a:defRPr sz="1867"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 b="1" dirty="0">
                <a:solidFill>
                  <a:schemeClr val="tx2"/>
                </a:solidFill>
                <a:latin typeface="CiscoSans" pitchFamily="34" charset="0"/>
              </a:rPr>
              <a:t>Actionable intelligence from </a:t>
            </a:r>
            <a:r>
              <a:rPr lang="en-US" b="1" dirty="0" smtClean="0">
                <a:solidFill>
                  <a:schemeClr val="tx2"/>
                </a:solidFill>
                <a:latin typeface="CiscoSans" pitchFamily="34" charset="0"/>
              </a:rPr>
              <a:t>connected devices</a:t>
            </a:r>
            <a:endParaRPr lang="en-US" b="1" dirty="0">
              <a:solidFill>
                <a:schemeClr val="tx2"/>
              </a:solidFill>
              <a:latin typeface="CiscoSans" pitchFamily="34" charset="0"/>
            </a:endParaRPr>
          </a:p>
          <a:p>
            <a:pPr>
              <a:spcAft>
                <a:spcPts val="600"/>
              </a:spcAft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iscoSans" pitchFamily="34" charset="0"/>
              </a:rPr>
              <a:t>Integration with CAV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CiscoSans" pitchFamily="34" charset="0"/>
            </a:endParaRPr>
          </a:p>
          <a:p>
            <a:pPr>
              <a:spcAft>
                <a:spcPts val="600"/>
              </a:spcAft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CiscoSans" pitchFamily="34" charset="0"/>
              </a:rPr>
              <a:t>Corridor and emergency management </a:t>
            </a:r>
          </a:p>
          <a:p>
            <a:pPr>
              <a:spcAft>
                <a:spcPts val="600"/>
              </a:spcAft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CiscoSans" pitchFamily="34" charset="0"/>
              </a:rPr>
              <a:t>Maintenance and asset management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3296093" y="2759147"/>
            <a:ext cx="2541181" cy="22414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457189" indent="-457189" algn="l" defTabSz="425440" rtl="0" eaLnBrk="1" fontAlgn="base" hangingPunct="1">
              <a:lnSpc>
                <a:spcPct val="150000"/>
              </a:lnSpc>
              <a:spcBef>
                <a:spcPts val="717"/>
              </a:spcBef>
              <a:spcAft>
                <a:spcPct val="0"/>
              </a:spcAft>
              <a:buFont typeface="Arial" panose="020B0604020202020204" pitchFamily="34" charset="0"/>
              <a:defRPr sz="1600" kern="1200">
                <a:solidFill>
                  <a:srgbClr val="6D6F71"/>
                </a:solidFill>
                <a:latin typeface="HelvNeue for IBM Light"/>
                <a:ea typeface="MS PGothic" pitchFamily="34" charset="-128"/>
                <a:cs typeface="HelvNeue for IBM Light"/>
              </a:defRPr>
            </a:lvl1pPr>
            <a:lvl2pPr marL="380990" indent="-380990" algn="l" defTabSz="425440" rtl="0" eaLnBrk="1" fontAlgn="base" hangingPunct="1">
              <a:lnSpc>
                <a:spcPct val="150000"/>
              </a:lnSpc>
              <a:spcBef>
                <a:spcPts val="1433"/>
              </a:spcBef>
              <a:spcAft>
                <a:spcPct val="0"/>
              </a:spcAft>
              <a:buClr>
                <a:srgbClr val="2D86BD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6D6F71"/>
                </a:solidFill>
                <a:latin typeface="HelvNeue for IBM Light"/>
                <a:ea typeface="MS PGothic" pitchFamily="34" charset="-128"/>
                <a:cs typeface="HelvNeue for IBM Light"/>
              </a:defRPr>
            </a:lvl2pPr>
            <a:lvl3pPr marL="607469" indent="-228594" algn="l" defTabSz="425440" rtl="0" eaLnBrk="1" fontAlgn="base" hangingPunct="1">
              <a:lnSpc>
                <a:spcPct val="150000"/>
              </a:lnSpc>
              <a:spcBef>
                <a:spcPts val="1200"/>
              </a:spcBef>
              <a:spcAft>
                <a:spcPct val="0"/>
              </a:spcAft>
              <a:buClr>
                <a:srgbClr val="4FFAFF"/>
              </a:buClr>
              <a:buFont typeface="Wingdings" panose="05000000000000000000" pitchFamily="2" charset="2"/>
              <a:buChar char="§"/>
              <a:tabLst>
                <a:tab pos="1295368" algn="l"/>
              </a:tabLst>
              <a:defRPr lang="en-US" sz="1200" kern="1200">
                <a:solidFill>
                  <a:srgbClr val="6D6F71"/>
                </a:solidFill>
                <a:latin typeface="HelvNeue for IBM Light"/>
                <a:ea typeface="MS PGothic" pitchFamily="34" charset="-128"/>
                <a:cs typeface="HelvNeue for IBM Light"/>
              </a:defRPr>
            </a:lvl3pPr>
            <a:lvl4pPr marL="764098" indent="-156629" algn="l" defTabSz="425440" rtl="0" eaLnBrk="1" fontAlgn="base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56B7C4"/>
              </a:buClr>
              <a:buSzPct val="100000"/>
              <a:buFont typeface="Arial" panose="020B0604020202020204" pitchFamily="34" charset="0"/>
              <a:buChar char="•"/>
              <a:defRPr sz="1100" kern="1200">
                <a:solidFill>
                  <a:srgbClr val="6D6F71"/>
                </a:solidFill>
                <a:latin typeface="HelvNeue for IBM Light"/>
                <a:ea typeface="HelvNeue for IBM" charset="0"/>
                <a:cs typeface="HelvNeue for IBM Light"/>
              </a:defRPr>
            </a:lvl4pPr>
            <a:lvl5pPr marL="992693" indent="-192613" algn="l" defTabSz="455073" rtl="0" eaLnBrk="1" fontAlgn="base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44B2C4"/>
              </a:buClr>
              <a:buFont typeface="Arial" panose="020B0604020202020204" pitchFamily="34" charset="0"/>
              <a:buChar char="–"/>
              <a:defRPr sz="1100" kern="1200">
                <a:solidFill>
                  <a:srgbClr val="6D6F71"/>
                </a:solidFill>
                <a:latin typeface="HelvNeue for IBM Light"/>
                <a:ea typeface="MS PGothic" pitchFamily="34" charset="-128"/>
                <a:cs typeface="HelvNeue for IBM Light"/>
              </a:defRPr>
            </a:lvl5pPr>
            <a:lvl6pPr marL="2357018" indent="-214275" algn="l" defTabSz="428548" rtl="0" eaLnBrk="1" latinLnBrk="0" hangingPunct="1">
              <a:spcBef>
                <a:spcPct val="20000"/>
              </a:spcBef>
              <a:buFont typeface="Arial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85569" indent="-214275" algn="l" defTabSz="428548" rtl="0" eaLnBrk="1" latinLnBrk="0" hangingPunct="1">
              <a:spcBef>
                <a:spcPct val="20000"/>
              </a:spcBef>
              <a:buFont typeface="Arial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14117" indent="-214275" algn="l" defTabSz="428548" rtl="0" eaLnBrk="1" latinLnBrk="0" hangingPunct="1">
              <a:spcBef>
                <a:spcPct val="20000"/>
              </a:spcBef>
              <a:buFont typeface="Arial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42666" indent="-214275" algn="l" defTabSz="428548" rtl="0" eaLnBrk="1" latinLnBrk="0" hangingPunct="1">
              <a:spcBef>
                <a:spcPct val="20000"/>
              </a:spcBef>
              <a:buFont typeface="Arial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9863" indent="-169863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CiscoSans" pitchFamily="34" charset="0"/>
                <a:ea typeface="Helvetica Neue" charset="0"/>
                <a:cs typeface="Arial" panose="020B0604020202020204" pitchFamily="34" charset="0"/>
              </a:rPr>
              <a:t>Enhanced system operations that includes </a:t>
            </a:r>
            <a:r>
              <a:rPr lang="en-US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iscoSans" pitchFamily="34" charset="0"/>
                <a:ea typeface="Helvetica Neue" charset="0"/>
                <a:cs typeface="Arial" panose="020B0604020202020204" pitchFamily="34" charset="0"/>
              </a:rPr>
              <a:t>vehicle 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CiscoSans" pitchFamily="34" charset="0"/>
                <a:ea typeface="Helvetica Neue" charset="0"/>
                <a:cs typeface="Arial" panose="020B0604020202020204" pitchFamily="34" charset="0"/>
              </a:rPr>
              <a:t>and data from the vehicle</a:t>
            </a:r>
          </a:p>
          <a:p>
            <a:pPr marL="169863" indent="-169863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CiscoSans" pitchFamily="34" charset="0"/>
                <a:ea typeface="Helvetica Neue" charset="0"/>
                <a:cs typeface="Arial" panose="020B0604020202020204" pitchFamily="34" charset="0"/>
              </a:rPr>
              <a:t>Data collection and storage for near-real time and predictive applications</a:t>
            </a:r>
          </a:p>
          <a:p>
            <a:pPr marL="169863" indent="-169863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300" b="1" dirty="0" smtClean="0">
                <a:solidFill>
                  <a:schemeClr val="bg1"/>
                </a:solidFill>
                <a:latin typeface="CiscoSans" pitchFamily="34" charset="0"/>
                <a:ea typeface="Helvetica Neue" charset="0"/>
                <a:cs typeface="Arial" panose="020B0604020202020204" pitchFamily="34" charset="0"/>
              </a:rPr>
              <a:t>Local, </a:t>
            </a:r>
            <a:r>
              <a:rPr lang="en-US" sz="1300" b="1" dirty="0">
                <a:solidFill>
                  <a:schemeClr val="bg1"/>
                </a:solidFill>
                <a:latin typeface="CiscoSans" pitchFamily="34" charset="0"/>
                <a:ea typeface="Helvetica Neue" charset="0"/>
                <a:cs typeface="Arial" panose="020B0604020202020204" pitchFamily="34" charset="0"/>
              </a:rPr>
              <a:t>first-level processing </a:t>
            </a:r>
            <a:r>
              <a:rPr lang="en-US" sz="1300" b="1" dirty="0" smtClean="0">
                <a:solidFill>
                  <a:schemeClr val="bg1"/>
                </a:solidFill>
                <a:latin typeface="CiscoSans" pitchFamily="34" charset="0"/>
                <a:ea typeface="Helvetica Neue" charset="0"/>
                <a:cs typeface="Arial" panose="020B0604020202020204" pitchFamily="34" charset="0"/>
              </a:rPr>
              <a:t>before transferring data </a:t>
            </a:r>
            <a:r>
              <a:rPr lang="en-US" sz="1300" b="1" dirty="0" smtClean="0">
                <a:solidFill>
                  <a:schemeClr val="tx2"/>
                </a:solidFill>
                <a:latin typeface="CiscoSans" pitchFamily="34" charset="0"/>
                <a:ea typeface="Helvetica Neue" charset="0"/>
                <a:cs typeface="Arial" panose="020B0604020202020204" pitchFamily="34" charset="0"/>
              </a:rPr>
              <a:t>from </a:t>
            </a:r>
            <a:r>
              <a:rPr lang="en-US" sz="1300" b="1" dirty="0">
                <a:solidFill>
                  <a:schemeClr val="tx2"/>
                </a:solidFill>
                <a:latin typeface="CiscoSans" pitchFamily="34" charset="0"/>
                <a:ea typeface="Helvetica Neue" charset="0"/>
                <a:cs typeface="Arial" panose="020B0604020202020204" pitchFamily="34" charset="0"/>
              </a:rPr>
              <a:t>the device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3857771" y="1156730"/>
            <a:ext cx="1260559" cy="892883"/>
            <a:chOff x="3402174" y="2376267"/>
            <a:chExt cx="935067" cy="619270"/>
          </a:xfrm>
          <a:solidFill>
            <a:schemeClr val="accent2"/>
          </a:solidFill>
        </p:grpSpPr>
        <p:sp>
          <p:nvSpPr>
            <p:cNvPr id="15" name="Freeform 76"/>
            <p:cNvSpPr>
              <a:spLocks noEditPoints="1"/>
            </p:cNvSpPr>
            <p:nvPr/>
          </p:nvSpPr>
          <p:spPr bwMode="auto">
            <a:xfrm>
              <a:off x="3402174" y="2376267"/>
              <a:ext cx="935067" cy="619270"/>
            </a:xfrm>
            <a:custGeom>
              <a:avLst/>
              <a:gdLst/>
              <a:ahLst/>
              <a:cxnLst>
                <a:cxn ang="0">
                  <a:pos x="0" y="1759"/>
                </a:cxn>
                <a:cxn ang="0">
                  <a:pos x="0" y="0"/>
                </a:cxn>
                <a:cxn ang="0">
                  <a:pos x="2656" y="0"/>
                </a:cxn>
                <a:cxn ang="0">
                  <a:pos x="2656" y="1721"/>
                </a:cxn>
                <a:cxn ang="0">
                  <a:pos x="2656" y="1759"/>
                </a:cxn>
                <a:cxn ang="0">
                  <a:pos x="0" y="1759"/>
                </a:cxn>
                <a:cxn ang="0">
                  <a:pos x="0" y="1759"/>
                </a:cxn>
                <a:cxn ang="0">
                  <a:pos x="2618" y="1721"/>
                </a:cxn>
                <a:cxn ang="0">
                  <a:pos x="2618" y="1683"/>
                </a:cxn>
                <a:cxn ang="0">
                  <a:pos x="2618" y="1721"/>
                </a:cxn>
                <a:cxn ang="0">
                  <a:pos x="2618" y="1721"/>
                </a:cxn>
                <a:cxn ang="0">
                  <a:pos x="76" y="1683"/>
                </a:cxn>
                <a:cxn ang="0">
                  <a:pos x="2580" y="1683"/>
                </a:cxn>
                <a:cxn ang="0">
                  <a:pos x="2580" y="75"/>
                </a:cxn>
                <a:cxn ang="0">
                  <a:pos x="76" y="75"/>
                </a:cxn>
                <a:cxn ang="0">
                  <a:pos x="76" y="1683"/>
                </a:cxn>
                <a:cxn ang="0">
                  <a:pos x="76" y="1683"/>
                </a:cxn>
              </a:cxnLst>
              <a:rect l="0" t="0" r="r" b="b"/>
              <a:pathLst>
                <a:path w="2656" h="1759">
                  <a:moveTo>
                    <a:pt x="0" y="1759"/>
                  </a:moveTo>
                  <a:lnTo>
                    <a:pt x="0" y="0"/>
                  </a:lnTo>
                  <a:lnTo>
                    <a:pt x="2656" y="0"/>
                  </a:lnTo>
                  <a:lnTo>
                    <a:pt x="2656" y="1721"/>
                  </a:lnTo>
                  <a:lnTo>
                    <a:pt x="2656" y="1759"/>
                  </a:lnTo>
                  <a:lnTo>
                    <a:pt x="0" y="1759"/>
                  </a:lnTo>
                  <a:lnTo>
                    <a:pt x="0" y="1759"/>
                  </a:lnTo>
                  <a:close/>
                  <a:moveTo>
                    <a:pt x="2618" y="1721"/>
                  </a:moveTo>
                  <a:lnTo>
                    <a:pt x="2618" y="1683"/>
                  </a:lnTo>
                  <a:lnTo>
                    <a:pt x="2618" y="1721"/>
                  </a:lnTo>
                  <a:lnTo>
                    <a:pt x="2618" y="1721"/>
                  </a:lnTo>
                  <a:close/>
                  <a:moveTo>
                    <a:pt x="76" y="1683"/>
                  </a:moveTo>
                  <a:lnTo>
                    <a:pt x="2580" y="1683"/>
                  </a:lnTo>
                  <a:lnTo>
                    <a:pt x="2580" y="75"/>
                  </a:lnTo>
                  <a:lnTo>
                    <a:pt x="76" y="75"/>
                  </a:lnTo>
                  <a:lnTo>
                    <a:pt x="76" y="1683"/>
                  </a:lnTo>
                  <a:lnTo>
                    <a:pt x="76" y="1683"/>
                  </a:lnTo>
                  <a:close/>
                </a:path>
              </a:pathLst>
            </a:custGeom>
            <a:grpFill/>
            <a:ln w="12700">
              <a:noFill/>
            </a:ln>
            <a:effectLst>
              <a:outerShdw blurRad="101600" algn="ct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6" tIns="45719" rIns="91436" bIns="45719"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latin typeface="CiscoSans" pitchFamily="34" charset="0"/>
              </a:endParaRPr>
            </a:p>
          </p:txBody>
        </p:sp>
        <p:grpSp>
          <p:nvGrpSpPr>
            <p:cNvPr id="16" name="Group 15"/>
            <p:cNvGrpSpPr/>
            <p:nvPr/>
          </p:nvGrpSpPr>
          <p:grpSpPr>
            <a:xfrm>
              <a:off x="3513072" y="2699456"/>
              <a:ext cx="237640" cy="236231"/>
              <a:chOff x="3513072" y="2699456"/>
              <a:chExt cx="237640" cy="236231"/>
            </a:xfrm>
            <a:grpFill/>
          </p:grpSpPr>
          <p:sp>
            <p:nvSpPr>
              <p:cNvPr id="25" name="Freeform 24"/>
              <p:cNvSpPr>
                <a:spLocks/>
              </p:cNvSpPr>
              <p:nvPr/>
            </p:nvSpPr>
            <p:spPr bwMode="auto">
              <a:xfrm>
                <a:off x="3641926" y="2765291"/>
                <a:ext cx="108786" cy="100689"/>
              </a:xfrm>
              <a:custGeom>
                <a:avLst/>
                <a:gdLst/>
                <a:ahLst/>
                <a:cxnLst>
                  <a:cxn ang="0">
                    <a:pos x="0" y="60"/>
                  </a:cxn>
                  <a:cxn ang="0">
                    <a:pos x="110" y="121"/>
                  </a:cxn>
                  <a:cxn ang="0">
                    <a:pos x="121" y="96"/>
                  </a:cxn>
                  <a:cxn ang="0">
                    <a:pos x="111" y="0"/>
                  </a:cxn>
                  <a:cxn ang="0">
                    <a:pos x="0" y="60"/>
                  </a:cxn>
                </a:cxnLst>
                <a:rect l="0" t="0" r="r" b="b"/>
                <a:pathLst>
                  <a:path w="131" h="121">
                    <a:moveTo>
                      <a:pt x="0" y="60"/>
                    </a:moveTo>
                    <a:cubicBezTo>
                      <a:pt x="110" y="121"/>
                      <a:pt x="110" y="121"/>
                      <a:pt x="110" y="121"/>
                    </a:cubicBezTo>
                    <a:cubicBezTo>
                      <a:pt x="115" y="113"/>
                      <a:pt x="118" y="105"/>
                      <a:pt x="121" y="96"/>
                    </a:cubicBezTo>
                    <a:cubicBezTo>
                      <a:pt x="131" y="63"/>
                      <a:pt x="126" y="29"/>
                      <a:pt x="111" y="0"/>
                    </a:cubicBezTo>
                    <a:lnTo>
                      <a:pt x="0" y="60"/>
                    </a:lnTo>
                    <a:close/>
                  </a:path>
                </a:pathLst>
              </a:custGeom>
              <a:grpFill/>
              <a:ln w="12700">
                <a:noFill/>
              </a:ln>
              <a:effectLst>
                <a:outerShdw blurRad="101600" algn="ctr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36" tIns="45719" rIns="91436" bIns="45719" rtlCol="0" anchor="ctr"/>
              <a:lstStyle/>
              <a:p>
                <a:pPr algn="ctr"/>
                <a:endParaRPr lang="en-US" dirty="0">
                  <a:solidFill>
                    <a:srgbClr val="FFFFFF"/>
                  </a:solidFill>
                  <a:latin typeface="CiscoSans" pitchFamily="34" charset="0"/>
                </a:endParaRPr>
              </a:p>
            </p:txBody>
          </p:sp>
          <p:sp>
            <p:nvSpPr>
              <p:cNvPr id="26" name="Freeform 25"/>
              <p:cNvSpPr>
                <a:spLocks/>
              </p:cNvSpPr>
              <p:nvPr/>
            </p:nvSpPr>
            <p:spPr bwMode="auto">
              <a:xfrm>
                <a:off x="3564473" y="2699456"/>
                <a:ext cx="164059" cy="111602"/>
              </a:xfrm>
              <a:custGeom>
                <a:avLst/>
                <a:gdLst/>
                <a:ahLst/>
                <a:cxnLst>
                  <a:cxn ang="0">
                    <a:pos x="86" y="134"/>
                  </a:cxn>
                  <a:cxn ang="0">
                    <a:pos x="197" y="74"/>
                  </a:cxn>
                  <a:cxn ang="0">
                    <a:pos x="119" y="12"/>
                  </a:cxn>
                  <a:cxn ang="0">
                    <a:pos x="0" y="41"/>
                  </a:cxn>
                  <a:cxn ang="0">
                    <a:pos x="86" y="134"/>
                  </a:cxn>
                </a:cxnLst>
                <a:rect l="0" t="0" r="r" b="b"/>
                <a:pathLst>
                  <a:path w="197" h="134">
                    <a:moveTo>
                      <a:pt x="86" y="134"/>
                    </a:moveTo>
                    <a:cubicBezTo>
                      <a:pt x="197" y="74"/>
                      <a:pt x="197" y="74"/>
                      <a:pt x="197" y="74"/>
                    </a:cubicBezTo>
                    <a:cubicBezTo>
                      <a:pt x="181" y="44"/>
                      <a:pt x="154" y="21"/>
                      <a:pt x="119" y="12"/>
                    </a:cubicBezTo>
                    <a:cubicBezTo>
                      <a:pt x="75" y="0"/>
                      <a:pt x="31" y="13"/>
                      <a:pt x="0" y="41"/>
                    </a:cubicBezTo>
                    <a:lnTo>
                      <a:pt x="86" y="134"/>
                    </a:lnTo>
                    <a:close/>
                  </a:path>
                </a:pathLst>
              </a:custGeom>
              <a:grpFill/>
              <a:ln w="12700">
                <a:noFill/>
              </a:ln>
              <a:effectLst>
                <a:outerShdw blurRad="101600" algn="ctr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36" tIns="45719" rIns="91436" bIns="45719" rtlCol="0" anchor="ctr"/>
              <a:lstStyle/>
              <a:p>
                <a:pPr algn="ctr"/>
                <a:endParaRPr lang="en-US" dirty="0">
                  <a:solidFill>
                    <a:srgbClr val="FFFFFF"/>
                  </a:solidFill>
                  <a:latin typeface="CiscoSans" pitchFamily="34" charset="0"/>
                </a:endParaRPr>
              </a:p>
            </p:txBody>
          </p:sp>
          <p:sp>
            <p:nvSpPr>
              <p:cNvPr id="27" name="Freeform 26"/>
              <p:cNvSpPr>
                <a:spLocks/>
              </p:cNvSpPr>
              <p:nvPr/>
            </p:nvSpPr>
            <p:spPr bwMode="auto">
              <a:xfrm>
                <a:off x="3513072" y="2738535"/>
                <a:ext cx="216164" cy="197152"/>
              </a:xfrm>
              <a:custGeom>
                <a:avLst/>
                <a:gdLst/>
                <a:ahLst/>
                <a:cxnLst>
                  <a:cxn ang="0">
                    <a:pos x="145" y="98"/>
                  </a:cxn>
                  <a:cxn ang="0">
                    <a:pos x="56" y="0"/>
                  </a:cxn>
                  <a:cxn ang="0">
                    <a:pos x="20" y="57"/>
                  </a:cxn>
                  <a:cxn ang="0">
                    <a:pos x="109" y="219"/>
                  </a:cxn>
                  <a:cxn ang="0">
                    <a:pos x="260" y="161"/>
                  </a:cxn>
                  <a:cxn ang="0">
                    <a:pos x="145" y="98"/>
                  </a:cxn>
                </a:cxnLst>
                <a:rect l="0" t="0" r="r" b="b"/>
                <a:pathLst>
                  <a:path w="260" h="237">
                    <a:moveTo>
                      <a:pt x="145" y="98"/>
                    </a:moveTo>
                    <a:cubicBezTo>
                      <a:pt x="56" y="0"/>
                      <a:pt x="56" y="0"/>
                      <a:pt x="56" y="0"/>
                    </a:cubicBezTo>
                    <a:cubicBezTo>
                      <a:pt x="40" y="15"/>
                      <a:pt x="27" y="35"/>
                      <a:pt x="20" y="57"/>
                    </a:cubicBezTo>
                    <a:cubicBezTo>
                      <a:pt x="0" y="126"/>
                      <a:pt x="39" y="198"/>
                      <a:pt x="109" y="219"/>
                    </a:cubicBezTo>
                    <a:cubicBezTo>
                      <a:pt x="168" y="237"/>
                      <a:pt x="230" y="211"/>
                      <a:pt x="260" y="161"/>
                    </a:cubicBezTo>
                    <a:lnTo>
                      <a:pt x="145" y="98"/>
                    </a:lnTo>
                    <a:close/>
                  </a:path>
                </a:pathLst>
              </a:custGeom>
              <a:grpFill/>
              <a:ln w="12700">
                <a:noFill/>
              </a:ln>
              <a:effectLst>
                <a:outerShdw blurRad="101600" algn="ctr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36" tIns="45719" rIns="91436" bIns="45719" rtlCol="0" anchor="ctr"/>
              <a:lstStyle/>
              <a:p>
                <a:pPr algn="ctr"/>
                <a:endParaRPr lang="en-US" dirty="0">
                  <a:solidFill>
                    <a:srgbClr val="FFFFFF"/>
                  </a:solidFill>
                  <a:latin typeface="CiscoSans" pitchFamily="34" charset="0"/>
                </a:endParaRPr>
              </a:p>
            </p:txBody>
          </p:sp>
        </p:grpSp>
        <p:grpSp>
          <p:nvGrpSpPr>
            <p:cNvPr id="17" name="Group 16"/>
            <p:cNvGrpSpPr/>
            <p:nvPr/>
          </p:nvGrpSpPr>
          <p:grpSpPr>
            <a:xfrm>
              <a:off x="3495470" y="2433653"/>
              <a:ext cx="291152" cy="229190"/>
              <a:chOff x="3495470" y="2433653"/>
              <a:chExt cx="291152" cy="229190"/>
            </a:xfrm>
            <a:grpFill/>
          </p:grpSpPr>
          <p:sp>
            <p:nvSpPr>
              <p:cNvPr id="20" name="Rectangle 80"/>
              <p:cNvSpPr>
                <a:spLocks noChangeArrowheads="1"/>
              </p:cNvSpPr>
              <p:nvPr/>
            </p:nvSpPr>
            <p:spPr bwMode="auto">
              <a:xfrm>
                <a:off x="3495470" y="2500191"/>
                <a:ext cx="39783" cy="162651"/>
              </a:xfrm>
              <a:prstGeom prst="rect">
                <a:avLst/>
              </a:prstGeom>
              <a:grpFill/>
              <a:ln w="12700">
                <a:noFill/>
              </a:ln>
              <a:effectLst>
                <a:outerShdw blurRad="101600" algn="ctr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36" tIns="45719" rIns="91436" bIns="45719" rtlCol="0" anchor="ctr"/>
              <a:lstStyle/>
              <a:p>
                <a:pPr algn="ctr"/>
                <a:endParaRPr lang="en-US" dirty="0">
                  <a:solidFill>
                    <a:srgbClr val="FFFFFF"/>
                  </a:solidFill>
                  <a:latin typeface="CiscoSans" pitchFamily="34" charset="0"/>
                </a:endParaRPr>
              </a:p>
            </p:txBody>
          </p:sp>
          <p:sp>
            <p:nvSpPr>
              <p:cNvPr id="21" name="Rectangle 81"/>
              <p:cNvSpPr>
                <a:spLocks noChangeArrowheads="1"/>
              </p:cNvSpPr>
              <p:nvPr/>
            </p:nvSpPr>
            <p:spPr bwMode="auto">
              <a:xfrm>
                <a:off x="3558664" y="2433653"/>
                <a:ext cx="39079" cy="229190"/>
              </a:xfrm>
              <a:prstGeom prst="rect">
                <a:avLst/>
              </a:prstGeom>
              <a:grpFill/>
              <a:ln w="12700">
                <a:noFill/>
              </a:ln>
              <a:effectLst>
                <a:outerShdw blurRad="101600" algn="ctr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36" tIns="45719" rIns="91436" bIns="45719" rtlCol="0" anchor="ctr"/>
              <a:lstStyle/>
              <a:p>
                <a:pPr algn="ctr"/>
                <a:endParaRPr lang="en-US" dirty="0">
                  <a:solidFill>
                    <a:srgbClr val="FFFFFF"/>
                  </a:solidFill>
                  <a:latin typeface="CiscoSans" pitchFamily="34" charset="0"/>
                </a:endParaRPr>
              </a:p>
            </p:txBody>
          </p:sp>
          <p:sp>
            <p:nvSpPr>
              <p:cNvPr id="22" name="Rectangle 82"/>
              <p:cNvSpPr>
                <a:spLocks noChangeArrowheads="1"/>
              </p:cNvSpPr>
              <p:nvPr/>
            </p:nvSpPr>
            <p:spPr bwMode="auto">
              <a:xfrm>
                <a:off x="3621154" y="2586446"/>
                <a:ext cx="39783" cy="76397"/>
              </a:xfrm>
              <a:prstGeom prst="rect">
                <a:avLst/>
              </a:prstGeom>
              <a:grpFill/>
              <a:ln w="12700">
                <a:noFill/>
              </a:ln>
              <a:effectLst>
                <a:outerShdw blurRad="101600" algn="ctr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36" tIns="45719" rIns="91436" bIns="45719" rtlCol="0" anchor="ctr"/>
              <a:lstStyle/>
              <a:p>
                <a:pPr algn="ctr"/>
                <a:endParaRPr lang="en-US" dirty="0">
                  <a:solidFill>
                    <a:srgbClr val="FFFFFF"/>
                  </a:solidFill>
                  <a:latin typeface="CiscoSans" pitchFamily="34" charset="0"/>
                </a:endParaRPr>
              </a:p>
            </p:txBody>
          </p:sp>
          <p:sp>
            <p:nvSpPr>
              <p:cNvPr id="23" name="Rectangle 83"/>
              <p:cNvSpPr>
                <a:spLocks noChangeArrowheads="1"/>
              </p:cNvSpPr>
              <p:nvPr/>
            </p:nvSpPr>
            <p:spPr bwMode="auto">
              <a:xfrm>
                <a:off x="3684348" y="2504064"/>
                <a:ext cx="39079" cy="158778"/>
              </a:xfrm>
              <a:prstGeom prst="rect">
                <a:avLst/>
              </a:prstGeom>
              <a:grpFill/>
              <a:ln w="12700">
                <a:noFill/>
              </a:ln>
              <a:effectLst>
                <a:outerShdw blurRad="101600" algn="ctr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36" tIns="45719" rIns="91436" bIns="45719" rtlCol="0" anchor="ctr"/>
              <a:lstStyle/>
              <a:p>
                <a:pPr algn="ctr"/>
                <a:endParaRPr lang="en-US" dirty="0">
                  <a:solidFill>
                    <a:srgbClr val="FFFFFF"/>
                  </a:solidFill>
                  <a:latin typeface="CiscoSans" pitchFamily="34" charset="0"/>
                </a:endParaRPr>
              </a:p>
            </p:txBody>
          </p:sp>
          <p:sp>
            <p:nvSpPr>
              <p:cNvPr id="24" name="Rectangle 84"/>
              <p:cNvSpPr>
                <a:spLocks noChangeArrowheads="1"/>
              </p:cNvSpPr>
              <p:nvPr/>
            </p:nvSpPr>
            <p:spPr bwMode="auto">
              <a:xfrm>
                <a:off x="3746839" y="2466746"/>
                <a:ext cx="39783" cy="196096"/>
              </a:xfrm>
              <a:prstGeom prst="rect">
                <a:avLst/>
              </a:prstGeom>
              <a:grpFill/>
              <a:ln w="12700">
                <a:noFill/>
              </a:ln>
              <a:effectLst>
                <a:outerShdw blurRad="101600" algn="ctr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36" tIns="45719" rIns="91436" bIns="45719" rtlCol="0" anchor="ctr"/>
              <a:lstStyle/>
              <a:p>
                <a:pPr algn="ctr"/>
                <a:endParaRPr lang="en-US" dirty="0">
                  <a:solidFill>
                    <a:srgbClr val="FFFFFF"/>
                  </a:solidFill>
                  <a:latin typeface="CiscoSans" pitchFamily="34" charset="0"/>
                </a:endParaRPr>
              </a:p>
            </p:txBody>
          </p:sp>
        </p:grpSp>
        <p:sp>
          <p:nvSpPr>
            <p:cNvPr id="18" name="Freeform 17"/>
            <p:cNvSpPr>
              <a:spLocks/>
            </p:cNvSpPr>
            <p:nvPr/>
          </p:nvSpPr>
          <p:spPr bwMode="auto">
            <a:xfrm>
              <a:off x="3894000" y="2466746"/>
              <a:ext cx="334103" cy="206306"/>
            </a:xfrm>
            <a:custGeom>
              <a:avLst/>
              <a:gdLst>
                <a:gd name="connsiteX0" fmla="*/ 704 w 334103"/>
                <a:gd name="connsiteY0" fmla="*/ 0 h 206306"/>
                <a:gd name="connsiteX1" fmla="*/ 14082 w 334103"/>
                <a:gd name="connsiteY1" fmla="*/ 0 h 206306"/>
                <a:gd name="connsiteX2" fmla="*/ 14082 w 334103"/>
                <a:gd name="connsiteY2" fmla="*/ 100437 h 206306"/>
                <a:gd name="connsiteX3" fmla="*/ 43303 w 334103"/>
                <a:gd name="connsiteY3" fmla="*/ 53160 h 206306"/>
                <a:gd name="connsiteX4" fmla="*/ 83790 w 334103"/>
                <a:gd name="connsiteY4" fmla="*/ 132374 h 206306"/>
                <a:gd name="connsiteX5" fmla="*/ 91535 w 334103"/>
                <a:gd name="connsiteY5" fmla="*/ 117235 h 206306"/>
                <a:gd name="connsiteX6" fmla="*/ 129557 w 334103"/>
                <a:gd name="connsiteY6" fmla="*/ 141527 h 206306"/>
                <a:gd name="connsiteX7" fmla="*/ 163707 w 334103"/>
                <a:gd name="connsiteY7" fmla="*/ 45063 h 206306"/>
                <a:gd name="connsiteX8" fmla="*/ 206306 w 334103"/>
                <a:gd name="connsiteY8" fmla="*/ 114067 h 206306"/>
                <a:gd name="connsiteX9" fmla="*/ 243624 w 334103"/>
                <a:gd name="connsiteY9" fmla="*/ 78861 h 206306"/>
                <a:gd name="connsiteX10" fmla="*/ 258411 w 334103"/>
                <a:gd name="connsiteY10" fmla="*/ 128853 h 206306"/>
                <a:gd name="connsiteX11" fmla="*/ 319317 w 334103"/>
                <a:gd name="connsiteY11" fmla="*/ 15138 h 206306"/>
                <a:gd name="connsiteX12" fmla="*/ 334103 w 334103"/>
                <a:gd name="connsiteY12" fmla="*/ 22531 h 206306"/>
                <a:gd name="connsiteX13" fmla="*/ 254538 w 334103"/>
                <a:gd name="connsiteY13" fmla="*/ 171452 h 206306"/>
                <a:gd name="connsiteX14" fmla="*/ 235175 w 334103"/>
                <a:gd name="connsiteY14" fmla="*/ 108786 h 206306"/>
                <a:gd name="connsiteX15" fmla="*/ 202081 w 334103"/>
                <a:gd name="connsiteY15" fmla="*/ 139767 h 206306"/>
                <a:gd name="connsiteX16" fmla="*/ 167932 w 334103"/>
                <a:gd name="connsiteY16" fmla="*/ 83085 h 206306"/>
                <a:gd name="connsiteX17" fmla="*/ 138007 w 334103"/>
                <a:gd name="connsiteY17" fmla="*/ 167227 h 206306"/>
                <a:gd name="connsiteX18" fmla="*/ 98928 w 334103"/>
                <a:gd name="connsiteY18" fmla="*/ 141527 h 206306"/>
                <a:gd name="connsiteX19" fmla="*/ 84846 w 334103"/>
                <a:gd name="connsiteY19" fmla="*/ 170396 h 206306"/>
                <a:gd name="connsiteX20" fmla="*/ 42247 w 334103"/>
                <a:gd name="connsiteY20" fmla="*/ 87310 h 206306"/>
                <a:gd name="connsiteX21" fmla="*/ 14787 w 334103"/>
                <a:gd name="connsiteY21" fmla="*/ 132374 h 206306"/>
                <a:gd name="connsiteX22" fmla="*/ 14082 w 334103"/>
                <a:gd name="connsiteY22" fmla="*/ 131938 h 206306"/>
                <a:gd name="connsiteX23" fmla="*/ 14082 w 334103"/>
                <a:gd name="connsiteY23" fmla="*/ 192928 h 206306"/>
                <a:gd name="connsiteX24" fmla="*/ 334103 w 334103"/>
                <a:gd name="connsiteY24" fmla="*/ 192928 h 206306"/>
                <a:gd name="connsiteX25" fmla="*/ 334103 w 334103"/>
                <a:gd name="connsiteY25" fmla="*/ 206306 h 206306"/>
                <a:gd name="connsiteX26" fmla="*/ 704 w 334103"/>
                <a:gd name="connsiteY26" fmla="*/ 206306 h 206306"/>
                <a:gd name="connsiteX27" fmla="*/ 704 w 334103"/>
                <a:gd name="connsiteY27" fmla="*/ 123656 h 206306"/>
                <a:gd name="connsiteX28" fmla="*/ 0 w 334103"/>
                <a:gd name="connsiteY28" fmla="*/ 123220 h 206306"/>
                <a:gd name="connsiteX29" fmla="*/ 704 w 334103"/>
                <a:gd name="connsiteY29" fmla="*/ 122081 h 20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34103" h="206306">
                  <a:moveTo>
                    <a:pt x="704" y="0"/>
                  </a:moveTo>
                  <a:lnTo>
                    <a:pt x="14082" y="0"/>
                  </a:lnTo>
                  <a:lnTo>
                    <a:pt x="14082" y="100437"/>
                  </a:lnTo>
                  <a:lnTo>
                    <a:pt x="43303" y="53160"/>
                  </a:lnTo>
                  <a:lnTo>
                    <a:pt x="83790" y="132374"/>
                  </a:lnTo>
                  <a:lnTo>
                    <a:pt x="91535" y="117235"/>
                  </a:lnTo>
                  <a:lnTo>
                    <a:pt x="129557" y="141527"/>
                  </a:lnTo>
                  <a:lnTo>
                    <a:pt x="163707" y="45063"/>
                  </a:lnTo>
                  <a:lnTo>
                    <a:pt x="206306" y="114067"/>
                  </a:lnTo>
                  <a:lnTo>
                    <a:pt x="243624" y="78861"/>
                  </a:lnTo>
                  <a:lnTo>
                    <a:pt x="258411" y="128853"/>
                  </a:lnTo>
                  <a:lnTo>
                    <a:pt x="319317" y="15138"/>
                  </a:lnTo>
                  <a:lnTo>
                    <a:pt x="334103" y="22531"/>
                  </a:lnTo>
                  <a:lnTo>
                    <a:pt x="254538" y="171452"/>
                  </a:lnTo>
                  <a:lnTo>
                    <a:pt x="235175" y="108786"/>
                  </a:lnTo>
                  <a:lnTo>
                    <a:pt x="202081" y="139767"/>
                  </a:lnTo>
                  <a:lnTo>
                    <a:pt x="167932" y="83085"/>
                  </a:lnTo>
                  <a:lnTo>
                    <a:pt x="138007" y="167227"/>
                  </a:lnTo>
                  <a:lnTo>
                    <a:pt x="98928" y="141527"/>
                  </a:lnTo>
                  <a:lnTo>
                    <a:pt x="84846" y="170396"/>
                  </a:lnTo>
                  <a:lnTo>
                    <a:pt x="42247" y="87310"/>
                  </a:lnTo>
                  <a:lnTo>
                    <a:pt x="14787" y="132374"/>
                  </a:lnTo>
                  <a:lnTo>
                    <a:pt x="14082" y="131938"/>
                  </a:lnTo>
                  <a:lnTo>
                    <a:pt x="14082" y="192928"/>
                  </a:lnTo>
                  <a:lnTo>
                    <a:pt x="334103" y="192928"/>
                  </a:lnTo>
                  <a:lnTo>
                    <a:pt x="334103" y="206306"/>
                  </a:lnTo>
                  <a:lnTo>
                    <a:pt x="704" y="206306"/>
                  </a:lnTo>
                  <a:lnTo>
                    <a:pt x="704" y="123656"/>
                  </a:lnTo>
                  <a:lnTo>
                    <a:pt x="0" y="123220"/>
                  </a:lnTo>
                  <a:lnTo>
                    <a:pt x="704" y="122081"/>
                  </a:lnTo>
                  <a:close/>
                </a:path>
              </a:pathLst>
            </a:custGeom>
            <a:grpFill/>
            <a:ln w="12700">
              <a:noFill/>
            </a:ln>
            <a:effectLst>
              <a:outerShdw blurRad="101600" algn="ct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6" tIns="45719" rIns="91436" bIns="45719"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latin typeface="CiscoSans" pitchFamily="34" charset="0"/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3899633" y="2726213"/>
              <a:ext cx="319317" cy="188702"/>
            </a:xfrm>
            <a:custGeom>
              <a:avLst/>
              <a:gdLst>
                <a:gd name="connsiteX0" fmla="*/ 267329 w 319317"/>
                <a:gd name="connsiteY0" fmla="*/ 148743 h 188702"/>
                <a:gd name="connsiteX1" fmla="*/ 267329 w 319317"/>
                <a:gd name="connsiteY1" fmla="*/ 178492 h 188702"/>
                <a:gd name="connsiteX2" fmla="*/ 308755 w 319317"/>
                <a:gd name="connsiteY2" fmla="*/ 178492 h 188702"/>
                <a:gd name="connsiteX3" fmla="*/ 308755 w 319317"/>
                <a:gd name="connsiteY3" fmla="*/ 148743 h 188702"/>
                <a:gd name="connsiteX4" fmla="*/ 215342 w 319317"/>
                <a:gd name="connsiteY4" fmla="*/ 148743 h 188702"/>
                <a:gd name="connsiteX5" fmla="*/ 215342 w 319317"/>
                <a:gd name="connsiteY5" fmla="*/ 178492 h 188702"/>
                <a:gd name="connsiteX6" fmla="*/ 256767 w 319317"/>
                <a:gd name="connsiteY6" fmla="*/ 178492 h 188702"/>
                <a:gd name="connsiteX7" fmla="*/ 256767 w 319317"/>
                <a:gd name="connsiteY7" fmla="*/ 148743 h 188702"/>
                <a:gd name="connsiteX8" fmla="*/ 164059 w 319317"/>
                <a:gd name="connsiteY8" fmla="*/ 148743 h 188702"/>
                <a:gd name="connsiteX9" fmla="*/ 164059 w 319317"/>
                <a:gd name="connsiteY9" fmla="*/ 178492 h 188702"/>
                <a:gd name="connsiteX10" fmla="*/ 205484 w 319317"/>
                <a:gd name="connsiteY10" fmla="*/ 178492 h 188702"/>
                <a:gd name="connsiteX11" fmla="*/ 205484 w 319317"/>
                <a:gd name="connsiteY11" fmla="*/ 148743 h 188702"/>
                <a:gd name="connsiteX12" fmla="*/ 112776 w 319317"/>
                <a:gd name="connsiteY12" fmla="*/ 148743 h 188702"/>
                <a:gd name="connsiteX13" fmla="*/ 112776 w 319317"/>
                <a:gd name="connsiteY13" fmla="*/ 178492 h 188702"/>
                <a:gd name="connsiteX14" fmla="*/ 154201 w 319317"/>
                <a:gd name="connsiteY14" fmla="*/ 178492 h 188702"/>
                <a:gd name="connsiteX15" fmla="*/ 154201 w 319317"/>
                <a:gd name="connsiteY15" fmla="*/ 148743 h 188702"/>
                <a:gd name="connsiteX16" fmla="*/ 61141 w 319317"/>
                <a:gd name="connsiteY16" fmla="*/ 148743 h 188702"/>
                <a:gd name="connsiteX17" fmla="*/ 61141 w 319317"/>
                <a:gd name="connsiteY17" fmla="*/ 178492 h 188702"/>
                <a:gd name="connsiteX18" fmla="*/ 102566 w 319317"/>
                <a:gd name="connsiteY18" fmla="*/ 178492 h 188702"/>
                <a:gd name="connsiteX19" fmla="*/ 102566 w 319317"/>
                <a:gd name="connsiteY19" fmla="*/ 148743 h 188702"/>
                <a:gd name="connsiteX20" fmla="*/ 9858 w 319317"/>
                <a:gd name="connsiteY20" fmla="*/ 148743 h 188702"/>
                <a:gd name="connsiteX21" fmla="*/ 9858 w 319317"/>
                <a:gd name="connsiteY21" fmla="*/ 178492 h 188702"/>
                <a:gd name="connsiteX22" fmla="*/ 51283 w 319317"/>
                <a:gd name="connsiteY22" fmla="*/ 178492 h 188702"/>
                <a:gd name="connsiteX23" fmla="*/ 51283 w 319317"/>
                <a:gd name="connsiteY23" fmla="*/ 148743 h 188702"/>
                <a:gd name="connsiteX24" fmla="*/ 267329 w 319317"/>
                <a:gd name="connsiteY24" fmla="*/ 109137 h 188702"/>
                <a:gd name="connsiteX25" fmla="*/ 267329 w 319317"/>
                <a:gd name="connsiteY25" fmla="*/ 138885 h 188702"/>
                <a:gd name="connsiteX26" fmla="*/ 308755 w 319317"/>
                <a:gd name="connsiteY26" fmla="*/ 138885 h 188702"/>
                <a:gd name="connsiteX27" fmla="*/ 308755 w 319317"/>
                <a:gd name="connsiteY27" fmla="*/ 109137 h 188702"/>
                <a:gd name="connsiteX28" fmla="*/ 215342 w 319317"/>
                <a:gd name="connsiteY28" fmla="*/ 109137 h 188702"/>
                <a:gd name="connsiteX29" fmla="*/ 215342 w 319317"/>
                <a:gd name="connsiteY29" fmla="*/ 138885 h 188702"/>
                <a:gd name="connsiteX30" fmla="*/ 256767 w 319317"/>
                <a:gd name="connsiteY30" fmla="*/ 138885 h 188702"/>
                <a:gd name="connsiteX31" fmla="*/ 256767 w 319317"/>
                <a:gd name="connsiteY31" fmla="*/ 109137 h 188702"/>
                <a:gd name="connsiteX32" fmla="*/ 164059 w 319317"/>
                <a:gd name="connsiteY32" fmla="*/ 109137 h 188702"/>
                <a:gd name="connsiteX33" fmla="*/ 164059 w 319317"/>
                <a:gd name="connsiteY33" fmla="*/ 138885 h 188702"/>
                <a:gd name="connsiteX34" fmla="*/ 205484 w 319317"/>
                <a:gd name="connsiteY34" fmla="*/ 138885 h 188702"/>
                <a:gd name="connsiteX35" fmla="*/ 205484 w 319317"/>
                <a:gd name="connsiteY35" fmla="*/ 109137 h 188702"/>
                <a:gd name="connsiteX36" fmla="*/ 112776 w 319317"/>
                <a:gd name="connsiteY36" fmla="*/ 109137 h 188702"/>
                <a:gd name="connsiteX37" fmla="*/ 112776 w 319317"/>
                <a:gd name="connsiteY37" fmla="*/ 138885 h 188702"/>
                <a:gd name="connsiteX38" fmla="*/ 154201 w 319317"/>
                <a:gd name="connsiteY38" fmla="*/ 138885 h 188702"/>
                <a:gd name="connsiteX39" fmla="*/ 154201 w 319317"/>
                <a:gd name="connsiteY39" fmla="*/ 109137 h 188702"/>
                <a:gd name="connsiteX40" fmla="*/ 61141 w 319317"/>
                <a:gd name="connsiteY40" fmla="*/ 109137 h 188702"/>
                <a:gd name="connsiteX41" fmla="*/ 61141 w 319317"/>
                <a:gd name="connsiteY41" fmla="*/ 138885 h 188702"/>
                <a:gd name="connsiteX42" fmla="*/ 102566 w 319317"/>
                <a:gd name="connsiteY42" fmla="*/ 138885 h 188702"/>
                <a:gd name="connsiteX43" fmla="*/ 102566 w 319317"/>
                <a:gd name="connsiteY43" fmla="*/ 109137 h 188702"/>
                <a:gd name="connsiteX44" fmla="*/ 9858 w 319317"/>
                <a:gd name="connsiteY44" fmla="*/ 109137 h 188702"/>
                <a:gd name="connsiteX45" fmla="*/ 9858 w 319317"/>
                <a:gd name="connsiteY45" fmla="*/ 138885 h 188702"/>
                <a:gd name="connsiteX46" fmla="*/ 51283 w 319317"/>
                <a:gd name="connsiteY46" fmla="*/ 138885 h 188702"/>
                <a:gd name="connsiteX47" fmla="*/ 51283 w 319317"/>
                <a:gd name="connsiteY47" fmla="*/ 109137 h 188702"/>
                <a:gd name="connsiteX48" fmla="*/ 267329 w 319317"/>
                <a:gd name="connsiteY48" fmla="*/ 69531 h 188702"/>
                <a:gd name="connsiteX49" fmla="*/ 267329 w 319317"/>
                <a:gd name="connsiteY49" fmla="*/ 99279 h 188702"/>
                <a:gd name="connsiteX50" fmla="*/ 308755 w 319317"/>
                <a:gd name="connsiteY50" fmla="*/ 99279 h 188702"/>
                <a:gd name="connsiteX51" fmla="*/ 308755 w 319317"/>
                <a:gd name="connsiteY51" fmla="*/ 69531 h 188702"/>
                <a:gd name="connsiteX52" fmla="*/ 215342 w 319317"/>
                <a:gd name="connsiteY52" fmla="*/ 69531 h 188702"/>
                <a:gd name="connsiteX53" fmla="*/ 215342 w 319317"/>
                <a:gd name="connsiteY53" fmla="*/ 99279 h 188702"/>
                <a:gd name="connsiteX54" fmla="*/ 256767 w 319317"/>
                <a:gd name="connsiteY54" fmla="*/ 99279 h 188702"/>
                <a:gd name="connsiteX55" fmla="*/ 256767 w 319317"/>
                <a:gd name="connsiteY55" fmla="*/ 69531 h 188702"/>
                <a:gd name="connsiteX56" fmla="*/ 164059 w 319317"/>
                <a:gd name="connsiteY56" fmla="*/ 69531 h 188702"/>
                <a:gd name="connsiteX57" fmla="*/ 164059 w 319317"/>
                <a:gd name="connsiteY57" fmla="*/ 99279 h 188702"/>
                <a:gd name="connsiteX58" fmla="*/ 205484 w 319317"/>
                <a:gd name="connsiteY58" fmla="*/ 99279 h 188702"/>
                <a:gd name="connsiteX59" fmla="*/ 205484 w 319317"/>
                <a:gd name="connsiteY59" fmla="*/ 69531 h 188702"/>
                <a:gd name="connsiteX60" fmla="*/ 112776 w 319317"/>
                <a:gd name="connsiteY60" fmla="*/ 69531 h 188702"/>
                <a:gd name="connsiteX61" fmla="*/ 112776 w 319317"/>
                <a:gd name="connsiteY61" fmla="*/ 99279 h 188702"/>
                <a:gd name="connsiteX62" fmla="*/ 154201 w 319317"/>
                <a:gd name="connsiteY62" fmla="*/ 99279 h 188702"/>
                <a:gd name="connsiteX63" fmla="*/ 154201 w 319317"/>
                <a:gd name="connsiteY63" fmla="*/ 69531 h 188702"/>
                <a:gd name="connsiteX64" fmla="*/ 61141 w 319317"/>
                <a:gd name="connsiteY64" fmla="*/ 69531 h 188702"/>
                <a:gd name="connsiteX65" fmla="*/ 61141 w 319317"/>
                <a:gd name="connsiteY65" fmla="*/ 99279 h 188702"/>
                <a:gd name="connsiteX66" fmla="*/ 102566 w 319317"/>
                <a:gd name="connsiteY66" fmla="*/ 99279 h 188702"/>
                <a:gd name="connsiteX67" fmla="*/ 102566 w 319317"/>
                <a:gd name="connsiteY67" fmla="*/ 69531 h 188702"/>
                <a:gd name="connsiteX68" fmla="*/ 9858 w 319317"/>
                <a:gd name="connsiteY68" fmla="*/ 69531 h 188702"/>
                <a:gd name="connsiteX69" fmla="*/ 9858 w 319317"/>
                <a:gd name="connsiteY69" fmla="*/ 99279 h 188702"/>
                <a:gd name="connsiteX70" fmla="*/ 51283 w 319317"/>
                <a:gd name="connsiteY70" fmla="*/ 99279 h 188702"/>
                <a:gd name="connsiteX71" fmla="*/ 51283 w 319317"/>
                <a:gd name="connsiteY71" fmla="*/ 69531 h 188702"/>
                <a:gd name="connsiteX72" fmla="*/ 267329 w 319317"/>
                <a:gd name="connsiteY72" fmla="*/ 29925 h 188702"/>
                <a:gd name="connsiteX73" fmla="*/ 267329 w 319317"/>
                <a:gd name="connsiteY73" fmla="*/ 59673 h 188702"/>
                <a:gd name="connsiteX74" fmla="*/ 308755 w 319317"/>
                <a:gd name="connsiteY74" fmla="*/ 59673 h 188702"/>
                <a:gd name="connsiteX75" fmla="*/ 308755 w 319317"/>
                <a:gd name="connsiteY75" fmla="*/ 29925 h 188702"/>
                <a:gd name="connsiteX76" fmla="*/ 215342 w 319317"/>
                <a:gd name="connsiteY76" fmla="*/ 29925 h 188702"/>
                <a:gd name="connsiteX77" fmla="*/ 215342 w 319317"/>
                <a:gd name="connsiteY77" fmla="*/ 59673 h 188702"/>
                <a:gd name="connsiteX78" fmla="*/ 256767 w 319317"/>
                <a:gd name="connsiteY78" fmla="*/ 59673 h 188702"/>
                <a:gd name="connsiteX79" fmla="*/ 256767 w 319317"/>
                <a:gd name="connsiteY79" fmla="*/ 29925 h 188702"/>
                <a:gd name="connsiteX80" fmla="*/ 164059 w 319317"/>
                <a:gd name="connsiteY80" fmla="*/ 29925 h 188702"/>
                <a:gd name="connsiteX81" fmla="*/ 164059 w 319317"/>
                <a:gd name="connsiteY81" fmla="*/ 59673 h 188702"/>
                <a:gd name="connsiteX82" fmla="*/ 205484 w 319317"/>
                <a:gd name="connsiteY82" fmla="*/ 59673 h 188702"/>
                <a:gd name="connsiteX83" fmla="*/ 205484 w 319317"/>
                <a:gd name="connsiteY83" fmla="*/ 29925 h 188702"/>
                <a:gd name="connsiteX84" fmla="*/ 112776 w 319317"/>
                <a:gd name="connsiteY84" fmla="*/ 29925 h 188702"/>
                <a:gd name="connsiteX85" fmla="*/ 112776 w 319317"/>
                <a:gd name="connsiteY85" fmla="*/ 59673 h 188702"/>
                <a:gd name="connsiteX86" fmla="*/ 154201 w 319317"/>
                <a:gd name="connsiteY86" fmla="*/ 59673 h 188702"/>
                <a:gd name="connsiteX87" fmla="*/ 154201 w 319317"/>
                <a:gd name="connsiteY87" fmla="*/ 29925 h 188702"/>
                <a:gd name="connsiteX88" fmla="*/ 61141 w 319317"/>
                <a:gd name="connsiteY88" fmla="*/ 29925 h 188702"/>
                <a:gd name="connsiteX89" fmla="*/ 61141 w 319317"/>
                <a:gd name="connsiteY89" fmla="*/ 59673 h 188702"/>
                <a:gd name="connsiteX90" fmla="*/ 102566 w 319317"/>
                <a:gd name="connsiteY90" fmla="*/ 59673 h 188702"/>
                <a:gd name="connsiteX91" fmla="*/ 102566 w 319317"/>
                <a:gd name="connsiteY91" fmla="*/ 29925 h 188702"/>
                <a:gd name="connsiteX92" fmla="*/ 9858 w 319317"/>
                <a:gd name="connsiteY92" fmla="*/ 29925 h 188702"/>
                <a:gd name="connsiteX93" fmla="*/ 9858 w 319317"/>
                <a:gd name="connsiteY93" fmla="*/ 59673 h 188702"/>
                <a:gd name="connsiteX94" fmla="*/ 51283 w 319317"/>
                <a:gd name="connsiteY94" fmla="*/ 59673 h 188702"/>
                <a:gd name="connsiteX95" fmla="*/ 51283 w 319317"/>
                <a:gd name="connsiteY95" fmla="*/ 29925 h 188702"/>
                <a:gd name="connsiteX96" fmla="*/ 0 w 319317"/>
                <a:gd name="connsiteY96" fmla="*/ 0 h 188702"/>
                <a:gd name="connsiteX97" fmla="*/ 319317 w 319317"/>
                <a:gd name="connsiteY97" fmla="*/ 0 h 188702"/>
                <a:gd name="connsiteX98" fmla="*/ 319317 w 319317"/>
                <a:gd name="connsiteY98" fmla="*/ 22531 h 188702"/>
                <a:gd name="connsiteX99" fmla="*/ 319317 w 319317"/>
                <a:gd name="connsiteY99" fmla="*/ 29925 h 188702"/>
                <a:gd name="connsiteX100" fmla="*/ 319317 w 319317"/>
                <a:gd name="connsiteY100" fmla="*/ 188702 h 188702"/>
                <a:gd name="connsiteX101" fmla="*/ 314388 w 319317"/>
                <a:gd name="connsiteY101" fmla="*/ 188702 h 188702"/>
                <a:gd name="connsiteX102" fmla="*/ 308755 w 319317"/>
                <a:gd name="connsiteY102" fmla="*/ 188702 h 188702"/>
                <a:gd name="connsiteX103" fmla="*/ 267329 w 319317"/>
                <a:gd name="connsiteY103" fmla="*/ 188702 h 188702"/>
                <a:gd name="connsiteX104" fmla="*/ 256767 w 319317"/>
                <a:gd name="connsiteY104" fmla="*/ 188702 h 188702"/>
                <a:gd name="connsiteX105" fmla="*/ 215342 w 319317"/>
                <a:gd name="connsiteY105" fmla="*/ 188702 h 188702"/>
                <a:gd name="connsiteX106" fmla="*/ 205484 w 319317"/>
                <a:gd name="connsiteY106" fmla="*/ 188702 h 188702"/>
                <a:gd name="connsiteX107" fmla="*/ 164059 w 319317"/>
                <a:gd name="connsiteY107" fmla="*/ 188702 h 188702"/>
                <a:gd name="connsiteX108" fmla="*/ 154201 w 319317"/>
                <a:gd name="connsiteY108" fmla="*/ 188702 h 188702"/>
                <a:gd name="connsiteX109" fmla="*/ 112776 w 319317"/>
                <a:gd name="connsiteY109" fmla="*/ 188702 h 188702"/>
                <a:gd name="connsiteX110" fmla="*/ 102566 w 319317"/>
                <a:gd name="connsiteY110" fmla="*/ 188702 h 188702"/>
                <a:gd name="connsiteX111" fmla="*/ 61141 w 319317"/>
                <a:gd name="connsiteY111" fmla="*/ 188702 h 188702"/>
                <a:gd name="connsiteX112" fmla="*/ 51283 w 319317"/>
                <a:gd name="connsiteY112" fmla="*/ 188702 h 188702"/>
                <a:gd name="connsiteX113" fmla="*/ 9858 w 319317"/>
                <a:gd name="connsiteY113" fmla="*/ 188702 h 188702"/>
                <a:gd name="connsiteX114" fmla="*/ 2464 w 319317"/>
                <a:gd name="connsiteY114" fmla="*/ 188702 h 188702"/>
                <a:gd name="connsiteX115" fmla="*/ 0 w 319317"/>
                <a:gd name="connsiteY115" fmla="*/ 188702 h 188702"/>
                <a:gd name="connsiteX116" fmla="*/ 0 w 319317"/>
                <a:gd name="connsiteY116" fmla="*/ 29925 h 188702"/>
                <a:gd name="connsiteX117" fmla="*/ 0 w 319317"/>
                <a:gd name="connsiteY117" fmla="*/ 22531 h 188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319317" h="188702">
                  <a:moveTo>
                    <a:pt x="267329" y="148743"/>
                  </a:moveTo>
                  <a:lnTo>
                    <a:pt x="267329" y="178492"/>
                  </a:lnTo>
                  <a:lnTo>
                    <a:pt x="308755" y="178492"/>
                  </a:lnTo>
                  <a:lnTo>
                    <a:pt x="308755" y="148743"/>
                  </a:lnTo>
                  <a:close/>
                  <a:moveTo>
                    <a:pt x="215342" y="148743"/>
                  </a:moveTo>
                  <a:lnTo>
                    <a:pt x="215342" y="178492"/>
                  </a:lnTo>
                  <a:lnTo>
                    <a:pt x="256767" y="178492"/>
                  </a:lnTo>
                  <a:lnTo>
                    <a:pt x="256767" y="148743"/>
                  </a:lnTo>
                  <a:close/>
                  <a:moveTo>
                    <a:pt x="164059" y="148743"/>
                  </a:moveTo>
                  <a:lnTo>
                    <a:pt x="164059" y="178492"/>
                  </a:lnTo>
                  <a:lnTo>
                    <a:pt x="205484" y="178492"/>
                  </a:lnTo>
                  <a:lnTo>
                    <a:pt x="205484" y="148743"/>
                  </a:lnTo>
                  <a:close/>
                  <a:moveTo>
                    <a:pt x="112776" y="148743"/>
                  </a:moveTo>
                  <a:lnTo>
                    <a:pt x="112776" y="178492"/>
                  </a:lnTo>
                  <a:lnTo>
                    <a:pt x="154201" y="178492"/>
                  </a:lnTo>
                  <a:lnTo>
                    <a:pt x="154201" y="148743"/>
                  </a:lnTo>
                  <a:close/>
                  <a:moveTo>
                    <a:pt x="61141" y="148743"/>
                  </a:moveTo>
                  <a:lnTo>
                    <a:pt x="61141" y="178492"/>
                  </a:lnTo>
                  <a:lnTo>
                    <a:pt x="102566" y="178492"/>
                  </a:lnTo>
                  <a:lnTo>
                    <a:pt x="102566" y="148743"/>
                  </a:lnTo>
                  <a:close/>
                  <a:moveTo>
                    <a:pt x="9858" y="148743"/>
                  </a:moveTo>
                  <a:lnTo>
                    <a:pt x="9858" y="178492"/>
                  </a:lnTo>
                  <a:lnTo>
                    <a:pt x="51283" y="178492"/>
                  </a:lnTo>
                  <a:lnTo>
                    <a:pt x="51283" y="148743"/>
                  </a:lnTo>
                  <a:close/>
                  <a:moveTo>
                    <a:pt x="267329" y="109137"/>
                  </a:moveTo>
                  <a:lnTo>
                    <a:pt x="267329" y="138885"/>
                  </a:lnTo>
                  <a:lnTo>
                    <a:pt x="308755" y="138885"/>
                  </a:lnTo>
                  <a:lnTo>
                    <a:pt x="308755" y="109137"/>
                  </a:lnTo>
                  <a:close/>
                  <a:moveTo>
                    <a:pt x="215342" y="109137"/>
                  </a:moveTo>
                  <a:lnTo>
                    <a:pt x="215342" y="138885"/>
                  </a:lnTo>
                  <a:lnTo>
                    <a:pt x="256767" y="138885"/>
                  </a:lnTo>
                  <a:lnTo>
                    <a:pt x="256767" y="109137"/>
                  </a:lnTo>
                  <a:close/>
                  <a:moveTo>
                    <a:pt x="164059" y="109137"/>
                  </a:moveTo>
                  <a:lnTo>
                    <a:pt x="164059" y="138885"/>
                  </a:lnTo>
                  <a:lnTo>
                    <a:pt x="205484" y="138885"/>
                  </a:lnTo>
                  <a:lnTo>
                    <a:pt x="205484" y="109137"/>
                  </a:lnTo>
                  <a:close/>
                  <a:moveTo>
                    <a:pt x="112776" y="109137"/>
                  </a:moveTo>
                  <a:lnTo>
                    <a:pt x="112776" y="138885"/>
                  </a:lnTo>
                  <a:lnTo>
                    <a:pt x="154201" y="138885"/>
                  </a:lnTo>
                  <a:lnTo>
                    <a:pt x="154201" y="109137"/>
                  </a:lnTo>
                  <a:close/>
                  <a:moveTo>
                    <a:pt x="61141" y="109137"/>
                  </a:moveTo>
                  <a:lnTo>
                    <a:pt x="61141" y="138885"/>
                  </a:lnTo>
                  <a:lnTo>
                    <a:pt x="102566" y="138885"/>
                  </a:lnTo>
                  <a:lnTo>
                    <a:pt x="102566" y="109137"/>
                  </a:lnTo>
                  <a:close/>
                  <a:moveTo>
                    <a:pt x="9858" y="109137"/>
                  </a:moveTo>
                  <a:lnTo>
                    <a:pt x="9858" y="138885"/>
                  </a:lnTo>
                  <a:lnTo>
                    <a:pt x="51283" y="138885"/>
                  </a:lnTo>
                  <a:lnTo>
                    <a:pt x="51283" y="109137"/>
                  </a:lnTo>
                  <a:close/>
                  <a:moveTo>
                    <a:pt x="267329" y="69531"/>
                  </a:moveTo>
                  <a:lnTo>
                    <a:pt x="267329" y="99279"/>
                  </a:lnTo>
                  <a:lnTo>
                    <a:pt x="308755" y="99279"/>
                  </a:lnTo>
                  <a:lnTo>
                    <a:pt x="308755" y="69531"/>
                  </a:lnTo>
                  <a:close/>
                  <a:moveTo>
                    <a:pt x="215342" y="69531"/>
                  </a:moveTo>
                  <a:lnTo>
                    <a:pt x="215342" y="99279"/>
                  </a:lnTo>
                  <a:lnTo>
                    <a:pt x="256767" y="99279"/>
                  </a:lnTo>
                  <a:lnTo>
                    <a:pt x="256767" y="69531"/>
                  </a:lnTo>
                  <a:close/>
                  <a:moveTo>
                    <a:pt x="164059" y="69531"/>
                  </a:moveTo>
                  <a:lnTo>
                    <a:pt x="164059" y="99279"/>
                  </a:lnTo>
                  <a:lnTo>
                    <a:pt x="205484" y="99279"/>
                  </a:lnTo>
                  <a:lnTo>
                    <a:pt x="205484" y="69531"/>
                  </a:lnTo>
                  <a:close/>
                  <a:moveTo>
                    <a:pt x="112776" y="69531"/>
                  </a:moveTo>
                  <a:lnTo>
                    <a:pt x="112776" y="99279"/>
                  </a:lnTo>
                  <a:lnTo>
                    <a:pt x="154201" y="99279"/>
                  </a:lnTo>
                  <a:lnTo>
                    <a:pt x="154201" y="69531"/>
                  </a:lnTo>
                  <a:close/>
                  <a:moveTo>
                    <a:pt x="61141" y="69531"/>
                  </a:moveTo>
                  <a:lnTo>
                    <a:pt x="61141" y="99279"/>
                  </a:lnTo>
                  <a:lnTo>
                    <a:pt x="102566" y="99279"/>
                  </a:lnTo>
                  <a:lnTo>
                    <a:pt x="102566" y="69531"/>
                  </a:lnTo>
                  <a:close/>
                  <a:moveTo>
                    <a:pt x="9858" y="69531"/>
                  </a:moveTo>
                  <a:lnTo>
                    <a:pt x="9858" y="99279"/>
                  </a:lnTo>
                  <a:lnTo>
                    <a:pt x="51283" y="99279"/>
                  </a:lnTo>
                  <a:lnTo>
                    <a:pt x="51283" y="69531"/>
                  </a:lnTo>
                  <a:close/>
                  <a:moveTo>
                    <a:pt x="267329" y="29925"/>
                  </a:moveTo>
                  <a:lnTo>
                    <a:pt x="267329" y="59673"/>
                  </a:lnTo>
                  <a:lnTo>
                    <a:pt x="308755" y="59673"/>
                  </a:lnTo>
                  <a:lnTo>
                    <a:pt x="308755" y="29925"/>
                  </a:lnTo>
                  <a:close/>
                  <a:moveTo>
                    <a:pt x="215342" y="29925"/>
                  </a:moveTo>
                  <a:lnTo>
                    <a:pt x="215342" y="59673"/>
                  </a:lnTo>
                  <a:lnTo>
                    <a:pt x="256767" y="59673"/>
                  </a:lnTo>
                  <a:lnTo>
                    <a:pt x="256767" y="29925"/>
                  </a:lnTo>
                  <a:close/>
                  <a:moveTo>
                    <a:pt x="164059" y="29925"/>
                  </a:moveTo>
                  <a:lnTo>
                    <a:pt x="164059" y="59673"/>
                  </a:lnTo>
                  <a:lnTo>
                    <a:pt x="205484" y="59673"/>
                  </a:lnTo>
                  <a:lnTo>
                    <a:pt x="205484" y="29925"/>
                  </a:lnTo>
                  <a:close/>
                  <a:moveTo>
                    <a:pt x="112776" y="29925"/>
                  </a:moveTo>
                  <a:lnTo>
                    <a:pt x="112776" y="59673"/>
                  </a:lnTo>
                  <a:lnTo>
                    <a:pt x="154201" y="59673"/>
                  </a:lnTo>
                  <a:lnTo>
                    <a:pt x="154201" y="29925"/>
                  </a:lnTo>
                  <a:close/>
                  <a:moveTo>
                    <a:pt x="61141" y="29925"/>
                  </a:moveTo>
                  <a:lnTo>
                    <a:pt x="61141" y="59673"/>
                  </a:lnTo>
                  <a:lnTo>
                    <a:pt x="102566" y="59673"/>
                  </a:lnTo>
                  <a:lnTo>
                    <a:pt x="102566" y="29925"/>
                  </a:lnTo>
                  <a:close/>
                  <a:moveTo>
                    <a:pt x="9858" y="29925"/>
                  </a:moveTo>
                  <a:lnTo>
                    <a:pt x="9858" y="59673"/>
                  </a:lnTo>
                  <a:lnTo>
                    <a:pt x="51283" y="59673"/>
                  </a:lnTo>
                  <a:lnTo>
                    <a:pt x="51283" y="29925"/>
                  </a:lnTo>
                  <a:close/>
                  <a:moveTo>
                    <a:pt x="0" y="0"/>
                  </a:moveTo>
                  <a:lnTo>
                    <a:pt x="319317" y="0"/>
                  </a:lnTo>
                  <a:lnTo>
                    <a:pt x="319317" y="22531"/>
                  </a:lnTo>
                  <a:lnTo>
                    <a:pt x="319317" y="29925"/>
                  </a:lnTo>
                  <a:lnTo>
                    <a:pt x="319317" y="188702"/>
                  </a:lnTo>
                  <a:lnTo>
                    <a:pt x="314388" y="188702"/>
                  </a:lnTo>
                  <a:lnTo>
                    <a:pt x="308755" y="188702"/>
                  </a:lnTo>
                  <a:lnTo>
                    <a:pt x="267329" y="188702"/>
                  </a:lnTo>
                  <a:lnTo>
                    <a:pt x="256767" y="188702"/>
                  </a:lnTo>
                  <a:lnTo>
                    <a:pt x="215342" y="188702"/>
                  </a:lnTo>
                  <a:lnTo>
                    <a:pt x="205484" y="188702"/>
                  </a:lnTo>
                  <a:lnTo>
                    <a:pt x="164059" y="188702"/>
                  </a:lnTo>
                  <a:lnTo>
                    <a:pt x="154201" y="188702"/>
                  </a:lnTo>
                  <a:lnTo>
                    <a:pt x="112776" y="188702"/>
                  </a:lnTo>
                  <a:lnTo>
                    <a:pt x="102566" y="188702"/>
                  </a:lnTo>
                  <a:lnTo>
                    <a:pt x="61141" y="188702"/>
                  </a:lnTo>
                  <a:lnTo>
                    <a:pt x="51283" y="188702"/>
                  </a:lnTo>
                  <a:lnTo>
                    <a:pt x="9858" y="188702"/>
                  </a:lnTo>
                  <a:lnTo>
                    <a:pt x="2464" y="188702"/>
                  </a:lnTo>
                  <a:lnTo>
                    <a:pt x="0" y="188702"/>
                  </a:lnTo>
                  <a:lnTo>
                    <a:pt x="0" y="29925"/>
                  </a:lnTo>
                  <a:lnTo>
                    <a:pt x="0" y="22531"/>
                  </a:lnTo>
                  <a:close/>
                </a:path>
              </a:pathLst>
            </a:custGeom>
            <a:grpFill/>
            <a:ln w="12700">
              <a:noFill/>
            </a:ln>
            <a:effectLst>
              <a:outerShdw blurRad="101600" algn="ct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6" tIns="45719" rIns="91436" bIns="45719" rtlCol="0" anchor="ctr"/>
            <a:lstStyle/>
            <a:p>
              <a:pPr algn="ctr"/>
              <a:endParaRPr lang="en-US" dirty="0">
                <a:solidFill>
                  <a:srgbClr val="FFFFFF"/>
                </a:solidFill>
                <a:latin typeface="CiscoSans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5308" y="203090"/>
            <a:ext cx="8546746" cy="855098"/>
          </a:xfrm>
        </p:spPr>
        <p:txBody>
          <a:bodyPr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en-US" dirty="0" smtClean="0">
                <a:latin typeface="CiscoSans" pitchFamily="34" charset="0"/>
              </a:rPr>
              <a:t>What makes mobility </a:t>
            </a:r>
            <a:r>
              <a:rPr lang="en-US" i="1" dirty="0" smtClean="0">
                <a:latin typeface="CiscoSans" pitchFamily="34" charset="0"/>
              </a:rPr>
              <a:t>“smart” </a:t>
            </a:r>
            <a:r>
              <a:rPr lang="en-US" dirty="0" smtClean="0">
                <a:latin typeface="CiscoSans" pitchFamily="34" charset="0"/>
              </a:rPr>
              <a:t>?</a:t>
            </a:r>
            <a:endParaRPr lang="en-US" dirty="0">
              <a:latin typeface="CiscoSans" pitchFamily="34" charset="0"/>
            </a:endParaRPr>
          </a:p>
        </p:txBody>
      </p:sp>
      <p:grpSp>
        <p:nvGrpSpPr>
          <p:cNvPr id="29" name="Group 31"/>
          <p:cNvGrpSpPr>
            <a:grpSpLocks noChangeAspect="1"/>
          </p:cNvGrpSpPr>
          <p:nvPr/>
        </p:nvGrpSpPr>
        <p:grpSpPr bwMode="auto">
          <a:xfrm>
            <a:off x="1303687" y="1148862"/>
            <a:ext cx="963937" cy="908619"/>
            <a:chOff x="382" y="1928"/>
            <a:chExt cx="697" cy="657"/>
          </a:xfrm>
        </p:grpSpPr>
        <p:sp>
          <p:nvSpPr>
            <p:cNvPr id="30" name="Freeform 33"/>
            <p:cNvSpPr>
              <a:spLocks noEditPoints="1"/>
            </p:cNvSpPr>
            <p:nvPr/>
          </p:nvSpPr>
          <p:spPr bwMode="auto">
            <a:xfrm>
              <a:off x="600" y="2355"/>
              <a:ext cx="282" cy="230"/>
            </a:xfrm>
            <a:custGeom>
              <a:avLst/>
              <a:gdLst>
                <a:gd name="T0" fmla="*/ 473 w 564"/>
                <a:gd name="T1" fmla="*/ 45 h 460"/>
                <a:gd name="T2" fmla="*/ 457 w 564"/>
                <a:gd name="T3" fmla="*/ 20 h 460"/>
                <a:gd name="T4" fmla="*/ 433 w 564"/>
                <a:gd name="T5" fmla="*/ 4 h 460"/>
                <a:gd name="T6" fmla="*/ 150 w 564"/>
                <a:gd name="T7" fmla="*/ 0 h 460"/>
                <a:gd name="T8" fmla="*/ 131 w 564"/>
                <a:gd name="T9" fmla="*/ 4 h 460"/>
                <a:gd name="T10" fmla="*/ 107 w 564"/>
                <a:gd name="T11" fmla="*/ 20 h 460"/>
                <a:gd name="T12" fmla="*/ 91 w 564"/>
                <a:gd name="T13" fmla="*/ 45 h 460"/>
                <a:gd name="T14" fmla="*/ 40 w 564"/>
                <a:gd name="T15" fmla="*/ 174 h 460"/>
                <a:gd name="T16" fmla="*/ 14 w 564"/>
                <a:gd name="T17" fmla="*/ 190 h 460"/>
                <a:gd name="T18" fmla="*/ 1 w 564"/>
                <a:gd name="T19" fmla="*/ 214 h 460"/>
                <a:gd name="T20" fmla="*/ 65 w 564"/>
                <a:gd name="T21" fmla="*/ 382 h 460"/>
                <a:gd name="T22" fmla="*/ 67 w 564"/>
                <a:gd name="T23" fmla="*/ 428 h 460"/>
                <a:gd name="T24" fmla="*/ 78 w 564"/>
                <a:gd name="T25" fmla="*/ 449 h 460"/>
                <a:gd name="T26" fmla="*/ 99 w 564"/>
                <a:gd name="T27" fmla="*/ 460 h 460"/>
                <a:gd name="T28" fmla="*/ 115 w 564"/>
                <a:gd name="T29" fmla="*/ 460 h 460"/>
                <a:gd name="T30" fmla="*/ 134 w 564"/>
                <a:gd name="T31" fmla="*/ 449 h 460"/>
                <a:gd name="T32" fmla="*/ 145 w 564"/>
                <a:gd name="T33" fmla="*/ 428 h 460"/>
                <a:gd name="T34" fmla="*/ 418 w 564"/>
                <a:gd name="T35" fmla="*/ 382 h 460"/>
                <a:gd name="T36" fmla="*/ 419 w 564"/>
                <a:gd name="T37" fmla="*/ 428 h 460"/>
                <a:gd name="T38" fmla="*/ 430 w 564"/>
                <a:gd name="T39" fmla="*/ 449 h 460"/>
                <a:gd name="T40" fmla="*/ 451 w 564"/>
                <a:gd name="T41" fmla="*/ 460 h 460"/>
                <a:gd name="T42" fmla="*/ 467 w 564"/>
                <a:gd name="T43" fmla="*/ 460 h 460"/>
                <a:gd name="T44" fmla="*/ 486 w 564"/>
                <a:gd name="T45" fmla="*/ 449 h 460"/>
                <a:gd name="T46" fmla="*/ 497 w 564"/>
                <a:gd name="T47" fmla="*/ 428 h 460"/>
                <a:gd name="T48" fmla="*/ 564 w 564"/>
                <a:gd name="T49" fmla="*/ 382 h 460"/>
                <a:gd name="T50" fmla="*/ 563 w 564"/>
                <a:gd name="T51" fmla="*/ 214 h 460"/>
                <a:gd name="T52" fmla="*/ 550 w 564"/>
                <a:gd name="T53" fmla="*/ 190 h 460"/>
                <a:gd name="T54" fmla="*/ 526 w 564"/>
                <a:gd name="T55" fmla="*/ 174 h 460"/>
                <a:gd name="T56" fmla="*/ 145 w 564"/>
                <a:gd name="T57" fmla="*/ 69 h 460"/>
                <a:gd name="T58" fmla="*/ 151 w 564"/>
                <a:gd name="T59" fmla="*/ 59 h 460"/>
                <a:gd name="T60" fmla="*/ 402 w 564"/>
                <a:gd name="T61" fmla="*/ 56 h 460"/>
                <a:gd name="T62" fmla="*/ 410 w 564"/>
                <a:gd name="T63" fmla="*/ 59 h 460"/>
                <a:gd name="T64" fmla="*/ 451 w 564"/>
                <a:gd name="T65" fmla="*/ 173 h 460"/>
                <a:gd name="T66" fmla="*/ 146 w 564"/>
                <a:gd name="T67" fmla="*/ 327 h 460"/>
                <a:gd name="T68" fmla="*/ 129 w 564"/>
                <a:gd name="T69" fmla="*/ 323 h 460"/>
                <a:gd name="T70" fmla="*/ 108 w 564"/>
                <a:gd name="T71" fmla="*/ 307 h 460"/>
                <a:gd name="T72" fmla="*/ 99 w 564"/>
                <a:gd name="T73" fmla="*/ 280 h 460"/>
                <a:gd name="T74" fmla="*/ 103 w 564"/>
                <a:gd name="T75" fmla="*/ 260 h 460"/>
                <a:gd name="T76" fmla="*/ 121 w 564"/>
                <a:gd name="T77" fmla="*/ 240 h 460"/>
                <a:gd name="T78" fmla="*/ 146 w 564"/>
                <a:gd name="T79" fmla="*/ 232 h 460"/>
                <a:gd name="T80" fmla="*/ 166 w 564"/>
                <a:gd name="T81" fmla="*/ 236 h 460"/>
                <a:gd name="T82" fmla="*/ 186 w 564"/>
                <a:gd name="T83" fmla="*/ 252 h 460"/>
                <a:gd name="T84" fmla="*/ 194 w 564"/>
                <a:gd name="T85" fmla="*/ 280 h 460"/>
                <a:gd name="T86" fmla="*/ 191 w 564"/>
                <a:gd name="T87" fmla="*/ 299 h 460"/>
                <a:gd name="T88" fmla="*/ 174 w 564"/>
                <a:gd name="T89" fmla="*/ 319 h 460"/>
                <a:gd name="T90" fmla="*/ 146 w 564"/>
                <a:gd name="T91" fmla="*/ 327 h 460"/>
                <a:gd name="T92" fmla="*/ 418 w 564"/>
                <a:gd name="T93" fmla="*/ 327 h 460"/>
                <a:gd name="T94" fmla="*/ 390 w 564"/>
                <a:gd name="T95" fmla="*/ 319 h 460"/>
                <a:gd name="T96" fmla="*/ 374 w 564"/>
                <a:gd name="T97" fmla="*/ 299 h 460"/>
                <a:gd name="T98" fmla="*/ 370 w 564"/>
                <a:gd name="T99" fmla="*/ 280 h 460"/>
                <a:gd name="T100" fmla="*/ 378 w 564"/>
                <a:gd name="T101" fmla="*/ 252 h 460"/>
                <a:gd name="T102" fmla="*/ 398 w 564"/>
                <a:gd name="T103" fmla="*/ 236 h 460"/>
                <a:gd name="T104" fmla="*/ 418 w 564"/>
                <a:gd name="T105" fmla="*/ 232 h 460"/>
                <a:gd name="T106" fmla="*/ 445 w 564"/>
                <a:gd name="T107" fmla="*/ 240 h 460"/>
                <a:gd name="T108" fmla="*/ 461 w 564"/>
                <a:gd name="T109" fmla="*/ 260 h 460"/>
                <a:gd name="T110" fmla="*/ 465 w 564"/>
                <a:gd name="T111" fmla="*/ 280 h 460"/>
                <a:gd name="T112" fmla="*/ 457 w 564"/>
                <a:gd name="T113" fmla="*/ 307 h 460"/>
                <a:gd name="T114" fmla="*/ 437 w 564"/>
                <a:gd name="T115" fmla="*/ 323 h 460"/>
                <a:gd name="T116" fmla="*/ 418 w 564"/>
                <a:gd name="T117" fmla="*/ 327 h 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64" h="460">
                  <a:moveTo>
                    <a:pt x="516" y="173"/>
                  </a:moveTo>
                  <a:lnTo>
                    <a:pt x="473" y="45"/>
                  </a:lnTo>
                  <a:lnTo>
                    <a:pt x="473" y="45"/>
                  </a:lnTo>
                  <a:lnTo>
                    <a:pt x="470" y="36"/>
                  </a:lnTo>
                  <a:lnTo>
                    <a:pt x="464" y="28"/>
                  </a:lnTo>
                  <a:lnTo>
                    <a:pt x="457" y="20"/>
                  </a:lnTo>
                  <a:lnTo>
                    <a:pt x="451" y="13"/>
                  </a:lnTo>
                  <a:lnTo>
                    <a:pt x="443" y="8"/>
                  </a:lnTo>
                  <a:lnTo>
                    <a:pt x="433" y="4"/>
                  </a:lnTo>
                  <a:lnTo>
                    <a:pt x="424" y="0"/>
                  </a:lnTo>
                  <a:lnTo>
                    <a:pt x="414" y="0"/>
                  </a:lnTo>
                  <a:lnTo>
                    <a:pt x="150" y="0"/>
                  </a:lnTo>
                  <a:lnTo>
                    <a:pt x="150" y="0"/>
                  </a:lnTo>
                  <a:lnTo>
                    <a:pt x="140" y="0"/>
                  </a:lnTo>
                  <a:lnTo>
                    <a:pt x="131" y="4"/>
                  </a:lnTo>
                  <a:lnTo>
                    <a:pt x="123" y="8"/>
                  </a:lnTo>
                  <a:lnTo>
                    <a:pt x="113" y="13"/>
                  </a:lnTo>
                  <a:lnTo>
                    <a:pt x="107" y="20"/>
                  </a:lnTo>
                  <a:lnTo>
                    <a:pt x="100" y="28"/>
                  </a:lnTo>
                  <a:lnTo>
                    <a:pt x="94" y="36"/>
                  </a:lnTo>
                  <a:lnTo>
                    <a:pt x="91" y="45"/>
                  </a:lnTo>
                  <a:lnTo>
                    <a:pt x="49" y="173"/>
                  </a:lnTo>
                  <a:lnTo>
                    <a:pt x="49" y="173"/>
                  </a:lnTo>
                  <a:lnTo>
                    <a:pt x="40" y="174"/>
                  </a:lnTo>
                  <a:lnTo>
                    <a:pt x="30" y="177"/>
                  </a:lnTo>
                  <a:lnTo>
                    <a:pt x="22" y="184"/>
                  </a:lnTo>
                  <a:lnTo>
                    <a:pt x="14" y="190"/>
                  </a:lnTo>
                  <a:lnTo>
                    <a:pt x="9" y="197"/>
                  </a:lnTo>
                  <a:lnTo>
                    <a:pt x="5" y="206"/>
                  </a:lnTo>
                  <a:lnTo>
                    <a:pt x="1" y="214"/>
                  </a:lnTo>
                  <a:lnTo>
                    <a:pt x="0" y="225"/>
                  </a:lnTo>
                  <a:lnTo>
                    <a:pt x="0" y="382"/>
                  </a:lnTo>
                  <a:lnTo>
                    <a:pt x="65" y="382"/>
                  </a:lnTo>
                  <a:lnTo>
                    <a:pt x="65" y="420"/>
                  </a:lnTo>
                  <a:lnTo>
                    <a:pt x="65" y="420"/>
                  </a:lnTo>
                  <a:lnTo>
                    <a:pt x="67" y="428"/>
                  </a:lnTo>
                  <a:lnTo>
                    <a:pt x="68" y="436"/>
                  </a:lnTo>
                  <a:lnTo>
                    <a:pt x="73" y="442"/>
                  </a:lnTo>
                  <a:lnTo>
                    <a:pt x="78" y="449"/>
                  </a:lnTo>
                  <a:lnTo>
                    <a:pt x="83" y="453"/>
                  </a:lnTo>
                  <a:lnTo>
                    <a:pt x="91" y="456"/>
                  </a:lnTo>
                  <a:lnTo>
                    <a:pt x="99" y="460"/>
                  </a:lnTo>
                  <a:lnTo>
                    <a:pt x="107" y="460"/>
                  </a:lnTo>
                  <a:lnTo>
                    <a:pt x="107" y="460"/>
                  </a:lnTo>
                  <a:lnTo>
                    <a:pt x="115" y="460"/>
                  </a:lnTo>
                  <a:lnTo>
                    <a:pt x="121" y="456"/>
                  </a:lnTo>
                  <a:lnTo>
                    <a:pt x="129" y="453"/>
                  </a:lnTo>
                  <a:lnTo>
                    <a:pt x="134" y="449"/>
                  </a:lnTo>
                  <a:lnTo>
                    <a:pt x="138" y="442"/>
                  </a:lnTo>
                  <a:lnTo>
                    <a:pt x="143" y="436"/>
                  </a:lnTo>
                  <a:lnTo>
                    <a:pt x="145" y="428"/>
                  </a:lnTo>
                  <a:lnTo>
                    <a:pt x="146" y="420"/>
                  </a:lnTo>
                  <a:lnTo>
                    <a:pt x="146" y="382"/>
                  </a:lnTo>
                  <a:lnTo>
                    <a:pt x="418" y="382"/>
                  </a:lnTo>
                  <a:lnTo>
                    <a:pt x="418" y="420"/>
                  </a:lnTo>
                  <a:lnTo>
                    <a:pt x="418" y="420"/>
                  </a:lnTo>
                  <a:lnTo>
                    <a:pt x="419" y="428"/>
                  </a:lnTo>
                  <a:lnTo>
                    <a:pt x="421" y="436"/>
                  </a:lnTo>
                  <a:lnTo>
                    <a:pt x="426" y="442"/>
                  </a:lnTo>
                  <a:lnTo>
                    <a:pt x="430" y="449"/>
                  </a:lnTo>
                  <a:lnTo>
                    <a:pt x="437" y="453"/>
                  </a:lnTo>
                  <a:lnTo>
                    <a:pt x="443" y="456"/>
                  </a:lnTo>
                  <a:lnTo>
                    <a:pt x="451" y="460"/>
                  </a:lnTo>
                  <a:lnTo>
                    <a:pt x="459" y="460"/>
                  </a:lnTo>
                  <a:lnTo>
                    <a:pt x="459" y="460"/>
                  </a:lnTo>
                  <a:lnTo>
                    <a:pt x="467" y="460"/>
                  </a:lnTo>
                  <a:lnTo>
                    <a:pt x="473" y="456"/>
                  </a:lnTo>
                  <a:lnTo>
                    <a:pt x="481" y="453"/>
                  </a:lnTo>
                  <a:lnTo>
                    <a:pt x="486" y="449"/>
                  </a:lnTo>
                  <a:lnTo>
                    <a:pt x="492" y="442"/>
                  </a:lnTo>
                  <a:lnTo>
                    <a:pt x="496" y="436"/>
                  </a:lnTo>
                  <a:lnTo>
                    <a:pt x="497" y="428"/>
                  </a:lnTo>
                  <a:lnTo>
                    <a:pt x="499" y="420"/>
                  </a:lnTo>
                  <a:lnTo>
                    <a:pt x="499" y="382"/>
                  </a:lnTo>
                  <a:lnTo>
                    <a:pt x="564" y="382"/>
                  </a:lnTo>
                  <a:lnTo>
                    <a:pt x="564" y="225"/>
                  </a:lnTo>
                  <a:lnTo>
                    <a:pt x="564" y="225"/>
                  </a:lnTo>
                  <a:lnTo>
                    <a:pt x="563" y="214"/>
                  </a:lnTo>
                  <a:lnTo>
                    <a:pt x="559" y="206"/>
                  </a:lnTo>
                  <a:lnTo>
                    <a:pt x="556" y="197"/>
                  </a:lnTo>
                  <a:lnTo>
                    <a:pt x="550" y="190"/>
                  </a:lnTo>
                  <a:lnTo>
                    <a:pt x="542" y="184"/>
                  </a:lnTo>
                  <a:lnTo>
                    <a:pt x="534" y="177"/>
                  </a:lnTo>
                  <a:lnTo>
                    <a:pt x="526" y="174"/>
                  </a:lnTo>
                  <a:lnTo>
                    <a:pt x="516" y="173"/>
                  </a:lnTo>
                  <a:lnTo>
                    <a:pt x="516" y="173"/>
                  </a:lnTo>
                  <a:close/>
                  <a:moveTo>
                    <a:pt x="145" y="69"/>
                  </a:moveTo>
                  <a:lnTo>
                    <a:pt x="145" y="69"/>
                  </a:lnTo>
                  <a:lnTo>
                    <a:pt x="148" y="64"/>
                  </a:lnTo>
                  <a:lnTo>
                    <a:pt x="151" y="59"/>
                  </a:lnTo>
                  <a:lnTo>
                    <a:pt x="156" y="58"/>
                  </a:lnTo>
                  <a:lnTo>
                    <a:pt x="161" y="56"/>
                  </a:lnTo>
                  <a:lnTo>
                    <a:pt x="402" y="56"/>
                  </a:lnTo>
                  <a:lnTo>
                    <a:pt x="402" y="56"/>
                  </a:lnTo>
                  <a:lnTo>
                    <a:pt x="406" y="58"/>
                  </a:lnTo>
                  <a:lnTo>
                    <a:pt x="410" y="59"/>
                  </a:lnTo>
                  <a:lnTo>
                    <a:pt x="414" y="64"/>
                  </a:lnTo>
                  <a:lnTo>
                    <a:pt x="418" y="69"/>
                  </a:lnTo>
                  <a:lnTo>
                    <a:pt x="451" y="173"/>
                  </a:lnTo>
                  <a:lnTo>
                    <a:pt x="111" y="173"/>
                  </a:lnTo>
                  <a:lnTo>
                    <a:pt x="145" y="69"/>
                  </a:lnTo>
                  <a:close/>
                  <a:moveTo>
                    <a:pt x="146" y="327"/>
                  </a:moveTo>
                  <a:lnTo>
                    <a:pt x="146" y="327"/>
                  </a:lnTo>
                  <a:lnTo>
                    <a:pt x="137" y="326"/>
                  </a:lnTo>
                  <a:lnTo>
                    <a:pt x="129" y="323"/>
                  </a:lnTo>
                  <a:lnTo>
                    <a:pt x="121" y="319"/>
                  </a:lnTo>
                  <a:lnTo>
                    <a:pt x="113" y="313"/>
                  </a:lnTo>
                  <a:lnTo>
                    <a:pt x="108" y="307"/>
                  </a:lnTo>
                  <a:lnTo>
                    <a:pt x="103" y="299"/>
                  </a:lnTo>
                  <a:lnTo>
                    <a:pt x="100" y="289"/>
                  </a:lnTo>
                  <a:lnTo>
                    <a:pt x="99" y="280"/>
                  </a:lnTo>
                  <a:lnTo>
                    <a:pt x="99" y="280"/>
                  </a:lnTo>
                  <a:lnTo>
                    <a:pt x="100" y="270"/>
                  </a:lnTo>
                  <a:lnTo>
                    <a:pt x="103" y="260"/>
                  </a:lnTo>
                  <a:lnTo>
                    <a:pt x="108" y="252"/>
                  </a:lnTo>
                  <a:lnTo>
                    <a:pt x="113" y="246"/>
                  </a:lnTo>
                  <a:lnTo>
                    <a:pt x="121" y="240"/>
                  </a:lnTo>
                  <a:lnTo>
                    <a:pt x="129" y="236"/>
                  </a:lnTo>
                  <a:lnTo>
                    <a:pt x="137" y="233"/>
                  </a:lnTo>
                  <a:lnTo>
                    <a:pt x="146" y="232"/>
                  </a:lnTo>
                  <a:lnTo>
                    <a:pt x="146" y="232"/>
                  </a:lnTo>
                  <a:lnTo>
                    <a:pt x="156" y="233"/>
                  </a:lnTo>
                  <a:lnTo>
                    <a:pt x="166" y="236"/>
                  </a:lnTo>
                  <a:lnTo>
                    <a:pt x="174" y="240"/>
                  </a:lnTo>
                  <a:lnTo>
                    <a:pt x="180" y="246"/>
                  </a:lnTo>
                  <a:lnTo>
                    <a:pt x="186" y="252"/>
                  </a:lnTo>
                  <a:lnTo>
                    <a:pt x="191" y="260"/>
                  </a:lnTo>
                  <a:lnTo>
                    <a:pt x="193" y="270"/>
                  </a:lnTo>
                  <a:lnTo>
                    <a:pt x="194" y="280"/>
                  </a:lnTo>
                  <a:lnTo>
                    <a:pt x="194" y="280"/>
                  </a:lnTo>
                  <a:lnTo>
                    <a:pt x="193" y="289"/>
                  </a:lnTo>
                  <a:lnTo>
                    <a:pt x="191" y="299"/>
                  </a:lnTo>
                  <a:lnTo>
                    <a:pt x="186" y="307"/>
                  </a:lnTo>
                  <a:lnTo>
                    <a:pt x="180" y="313"/>
                  </a:lnTo>
                  <a:lnTo>
                    <a:pt x="174" y="319"/>
                  </a:lnTo>
                  <a:lnTo>
                    <a:pt x="166" y="323"/>
                  </a:lnTo>
                  <a:lnTo>
                    <a:pt x="156" y="326"/>
                  </a:lnTo>
                  <a:lnTo>
                    <a:pt x="146" y="327"/>
                  </a:lnTo>
                  <a:lnTo>
                    <a:pt x="146" y="327"/>
                  </a:lnTo>
                  <a:close/>
                  <a:moveTo>
                    <a:pt x="418" y="327"/>
                  </a:moveTo>
                  <a:lnTo>
                    <a:pt x="418" y="327"/>
                  </a:lnTo>
                  <a:lnTo>
                    <a:pt x="408" y="326"/>
                  </a:lnTo>
                  <a:lnTo>
                    <a:pt x="398" y="323"/>
                  </a:lnTo>
                  <a:lnTo>
                    <a:pt x="390" y="319"/>
                  </a:lnTo>
                  <a:lnTo>
                    <a:pt x="384" y="313"/>
                  </a:lnTo>
                  <a:lnTo>
                    <a:pt x="378" y="307"/>
                  </a:lnTo>
                  <a:lnTo>
                    <a:pt x="374" y="299"/>
                  </a:lnTo>
                  <a:lnTo>
                    <a:pt x="371" y="289"/>
                  </a:lnTo>
                  <a:lnTo>
                    <a:pt x="370" y="280"/>
                  </a:lnTo>
                  <a:lnTo>
                    <a:pt x="370" y="280"/>
                  </a:lnTo>
                  <a:lnTo>
                    <a:pt x="371" y="270"/>
                  </a:lnTo>
                  <a:lnTo>
                    <a:pt x="374" y="260"/>
                  </a:lnTo>
                  <a:lnTo>
                    <a:pt x="378" y="252"/>
                  </a:lnTo>
                  <a:lnTo>
                    <a:pt x="384" y="246"/>
                  </a:lnTo>
                  <a:lnTo>
                    <a:pt x="390" y="240"/>
                  </a:lnTo>
                  <a:lnTo>
                    <a:pt x="398" y="236"/>
                  </a:lnTo>
                  <a:lnTo>
                    <a:pt x="408" y="233"/>
                  </a:lnTo>
                  <a:lnTo>
                    <a:pt x="418" y="232"/>
                  </a:lnTo>
                  <a:lnTo>
                    <a:pt x="418" y="232"/>
                  </a:lnTo>
                  <a:lnTo>
                    <a:pt x="427" y="233"/>
                  </a:lnTo>
                  <a:lnTo>
                    <a:pt x="437" y="236"/>
                  </a:lnTo>
                  <a:lnTo>
                    <a:pt x="445" y="240"/>
                  </a:lnTo>
                  <a:lnTo>
                    <a:pt x="451" y="246"/>
                  </a:lnTo>
                  <a:lnTo>
                    <a:pt x="457" y="252"/>
                  </a:lnTo>
                  <a:lnTo>
                    <a:pt x="461" y="260"/>
                  </a:lnTo>
                  <a:lnTo>
                    <a:pt x="464" y="270"/>
                  </a:lnTo>
                  <a:lnTo>
                    <a:pt x="465" y="280"/>
                  </a:lnTo>
                  <a:lnTo>
                    <a:pt x="465" y="280"/>
                  </a:lnTo>
                  <a:lnTo>
                    <a:pt x="464" y="289"/>
                  </a:lnTo>
                  <a:lnTo>
                    <a:pt x="461" y="299"/>
                  </a:lnTo>
                  <a:lnTo>
                    <a:pt x="457" y="307"/>
                  </a:lnTo>
                  <a:lnTo>
                    <a:pt x="451" y="313"/>
                  </a:lnTo>
                  <a:lnTo>
                    <a:pt x="445" y="319"/>
                  </a:lnTo>
                  <a:lnTo>
                    <a:pt x="437" y="323"/>
                  </a:lnTo>
                  <a:lnTo>
                    <a:pt x="427" y="326"/>
                  </a:lnTo>
                  <a:lnTo>
                    <a:pt x="418" y="327"/>
                  </a:lnTo>
                  <a:lnTo>
                    <a:pt x="418" y="327"/>
                  </a:lnTo>
                  <a:close/>
                </a:path>
              </a:pathLst>
            </a:custGeom>
            <a:solidFill>
              <a:srgbClr val="00BC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>
                <a:latin typeface="CiscoSans" pitchFamily="34" charset="0"/>
              </a:endParaRPr>
            </a:p>
          </p:txBody>
        </p:sp>
        <p:sp>
          <p:nvSpPr>
            <p:cNvPr id="31" name="Line 34"/>
            <p:cNvSpPr>
              <a:spLocks noChangeShapeType="1"/>
            </p:cNvSpPr>
            <p:nvPr/>
          </p:nvSpPr>
          <p:spPr bwMode="auto">
            <a:xfrm>
              <a:off x="547" y="2108"/>
              <a:ext cx="0" cy="0"/>
            </a:xfrm>
            <a:prstGeom prst="line">
              <a:avLst/>
            </a:prstGeom>
            <a:noFill/>
            <a:ln w="34925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>
                <a:latin typeface="CiscoSans" pitchFamily="34" charset="0"/>
              </a:endParaRPr>
            </a:p>
          </p:txBody>
        </p:sp>
        <p:sp>
          <p:nvSpPr>
            <p:cNvPr id="32" name="Freeform 35"/>
            <p:cNvSpPr>
              <a:spLocks/>
            </p:cNvSpPr>
            <p:nvPr/>
          </p:nvSpPr>
          <p:spPr bwMode="auto">
            <a:xfrm>
              <a:off x="382" y="2063"/>
              <a:ext cx="348" cy="236"/>
            </a:xfrm>
            <a:custGeom>
              <a:avLst/>
              <a:gdLst>
                <a:gd name="T0" fmla="*/ 366 w 696"/>
                <a:gd name="T1" fmla="*/ 5 h 474"/>
                <a:gd name="T2" fmla="*/ 364 w 696"/>
                <a:gd name="T3" fmla="*/ 3 h 474"/>
                <a:gd name="T4" fmla="*/ 361 w 696"/>
                <a:gd name="T5" fmla="*/ 3 h 474"/>
                <a:gd name="T6" fmla="*/ 359 w 696"/>
                <a:gd name="T7" fmla="*/ 2 h 474"/>
                <a:gd name="T8" fmla="*/ 356 w 696"/>
                <a:gd name="T9" fmla="*/ 0 h 474"/>
                <a:gd name="T10" fmla="*/ 354 w 696"/>
                <a:gd name="T11" fmla="*/ 0 h 474"/>
                <a:gd name="T12" fmla="*/ 351 w 696"/>
                <a:gd name="T13" fmla="*/ 0 h 474"/>
                <a:gd name="T14" fmla="*/ 348 w 696"/>
                <a:gd name="T15" fmla="*/ 0 h 474"/>
                <a:gd name="T16" fmla="*/ 346 w 696"/>
                <a:gd name="T17" fmla="*/ 0 h 474"/>
                <a:gd name="T18" fmla="*/ 343 w 696"/>
                <a:gd name="T19" fmla="*/ 0 h 474"/>
                <a:gd name="T20" fmla="*/ 340 w 696"/>
                <a:gd name="T21" fmla="*/ 0 h 474"/>
                <a:gd name="T22" fmla="*/ 339 w 696"/>
                <a:gd name="T23" fmla="*/ 2 h 474"/>
                <a:gd name="T24" fmla="*/ 335 w 696"/>
                <a:gd name="T25" fmla="*/ 3 h 474"/>
                <a:gd name="T26" fmla="*/ 334 w 696"/>
                <a:gd name="T27" fmla="*/ 3 h 474"/>
                <a:gd name="T28" fmla="*/ 332 w 696"/>
                <a:gd name="T29" fmla="*/ 5 h 474"/>
                <a:gd name="T30" fmla="*/ 12 w 696"/>
                <a:gd name="T31" fmla="*/ 244 h 474"/>
                <a:gd name="T32" fmla="*/ 4 w 696"/>
                <a:gd name="T33" fmla="*/ 252 h 474"/>
                <a:gd name="T34" fmla="*/ 0 w 696"/>
                <a:gd name="T35" fmla="*/ 262 h 474"/>
                <a:gd name="T36" fmla="*/ 2 w 696"/>
                <a:gd name="T37" fmla="*/ 273 h 474"/>
                <a:gd name="T38" fmla="*/ 7 w 696"/>
                <a:gd name="T39" fmla="*/ 283 h 474"/>
                <a:gd name="T40" fmla="*/ 10 w 696"/>
                <a:gd name="T41" fmla="*/ 287 h 474"/>
                <a:gd name="T42" fmla="*/ 23 w 696"/>
                <a:gd name="T43" fmla="*/ 292 h 474"/>
                <a:gd name="T44" fmla="*/ 28 w 696"/>
                <a:gd name="T45" fmla="*/ 292 h 474"/>
                <a:gd name="T46" fmla="*/ 45 w 696"/>
                <a:gd name="T47" fmla="*/ 287 h 474"/>
                <a:gd name="T48" fmla="*/ 141 w 696"/>
                <a:gd name="T49" fmla="*/ 474 h 474"/>
                <a:gd name="T50" fmla="*/ 291 w 696"/>
                <a:gd name="T51" fmla="*/ 348 h 474"/>
                <a:gd name="T52" fmla="*/ 292 w 696"/>
                <a:gd name="T53" fmla="*/ 335 h 474"/>
                <a:gd name="T54" fmla="*/ 302 w 696"/>
                <a:gd name="T55" fmla="*/ 316 h 474"/>
                <a:gd name="T56" fmla="*/ 316 w 696"/>
                <a:gd name="T57" fmla="*/ 300 h 474"/>
                <a:gd name="T58" fmla="*/ 337 w 696"/>
                <a:gd name="T59" fmla="*/ 290 h 474"/>
                <a:gd name="T60" fmla="*/ 348 w 696"/>
                <a:gd name="T61" fmla="*/ 290 h 474"/>
                <a:gd name="T62" fmla="*/ 359 w 696"/>
                <a:gd name="T63" fmla="*/ 290 h 474"/>
                <a:gd name="T64" fmla="*/ 380 w 696"/>
                <a:gd name="T65" fmla="*/ 300 h 474"/>
                <a:gd name="T66" fmla="*/ 396 w 696"/>
                <a:gd name="T67" fmla="*/ 316 h 474"/>
                <a:gd name="T68" fmla="*/ 404 w 696"/>
                <a:gd name="T69" fmla="*/ 335 h 474"/>
                <a:gd name="T70" fmla="*/ 405 w 696"/>
                <a:gd name="T71" fmla="*/ 474 h 474"/>
                <a:gd name="T72" fmla="*/ 557 w 696"/>
                <a:gd name="T73" fmla="*/ 216 h 474"/>
                <a:gd name="T74" fmla="*/ 653 w 696"/>
                <a:gd name="T75" fmla="*/ 287 h 474"/>
                <a:gd name="T76" fmla="*/ 669 w 696"/>
                <a:gd name="T77" fmla="*/ 292 h 474"/>
                <a:gd name="T78" fmla="*/ 675 w 696"/>
                <a:gd name="T79" fmla="*/ 292 h 474"/>
                <a:gd name="T80" fmla="*/ 686 w 696"/>
                <a:gd name="T81" fmla="*/ 287 h 474"/>
                <a:gd name="T82" fmla="*/ 691 w 696"/>
                <a:gd name="T83" fmla="*/ 283 h 474"/>
                <a:gd name="T84" fmla="*/ 696 w 696"/>
                <a:gd name="T85" fmla="*/ 273 h 474"/>
                <a:gd name="T86" fmla="*/ 696 w 696"/>
                <a:gd name="T87" fmla="*/ 262 h 474"/>
                <a:gd name="T88" fmla="*/ 692 w 696"/>
                <a:gd name="T89" fmla="*/ 252 h 474"/>
                <a:gd name="T90" fmla="*/ 686 w 696"/>
                <a:gd name="T91" fmla="*/ 244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96" h="474">
                  <a:moveTo>
                    <a:pt x="686" y="244"/>
                  </a:moveTo>
                  <a:lnTo>
                    <a:pt x="366" y="5"/>
                  </a:lnTo>
                  <a:lnTo>
                    <a:pt x="366" y="5"/>
                  </a:lnTo>
                  <a:lnTo>
                    <a:pt x="364" y="3"/>
                  </a:lnTo>
                  <a:lnTo>
                    <a:pt x="364" y="3"/>
                  </a:lnTo>
                  <a:lnTo>
                    <a:pt x="361" y="3"/>
                  </a:lnTo>
                  <a:lnTo>
                    <a:pt x="361" y="3"/>
                  </a:lnTo>
                  <a:lnTo>
                    <a:pt x="359" y="2"/>
                  </a:lnTo>
                  <a:lnTo>
                    <a:pt x="359" y="2"/>
                  </a:lnTo>
                  <a:lnTo>
                    <a:pt x="356" y="0"/>
                  </a:lnTo>
                  <a:lnTo>
                    <a:pt x="356" y="0"/>
                  </a:lnTo>
                  <a:lnTo>
                    <a:pt x="354" y="0"/>
                  </a:lnTo>
                  <a:lnTo>
                    <a:pt x="354" y="0"/>
                  </a:lnTo>
                  <a:lnTo>
                    <a:pt x="351" y="0"/>
                  </a:lnTo>
                  <a:lnTo>
                    <a:pt x="351" y="0"/>
                  </a:lnTo>
                  <a:lnTo>
                    <a:pt x="348" y="0"/>
                  </a:lnTo>
                  <a:lnTo>
                    <a:pt x="348" y="0"/>
                  </a:lnTo>
                  <a:lnTo>
                    <a:pt x="346" y="0"/>
                  </a:lnTo>
                  <a:lnTo>
                    <a:pt x="346" y="0"/>
                  </a:lnTo>
                  <a:lnTo>
                    <a:pt x="343" y="0"/>
                  </a:lnTo>
                  <a:lnTo>
                    <a:pt x="343" y="0"/>
                  </a:lnTo>
                  <a:lnTo>
                    <a:pt x="340" y="0"/>
                  </a:lnTo>
                  <a:lnTo>
                    <a:pt x="340" y="0"/>
                  </a:lnTo>
                  <a:lnTo>
                    <a:pt x="339" y="2"/>
                  </a:lnTo>
                  <a:lnTo>
                    <a:pt x="339" y="2"/>
                  </a:lnTo>
                  <a:lnTo>
                    <a:pt x="335" y="3"/>
                  </a:lnTo>
                  <a:lnTo>
                    <a:pt x="335" y="3"/>
                  </a:lnTo>
                  <a:lnTo>
                    <a:pt x="334" y="3"/>
                  </a:lnTo>
                  <a:lnTo>
                    <a:pt x="334" y="3"/>
                  </a:lnTo>
                  <a:lnTo>
                    <a:pt x="332" y="5"/>
                  </a:lnTo>
                  <a:lnTo>
                    <a:pt x="12" y="244"/>
                  </a:lnTo>
                  <a:lnTo>
                    <a:pt x="12" y="244"/>
                  </a:lnTo>
                  <a:lnTo>
                    <a:pt x="7" y="247"/>
                  </a:lnTo>
                  <a:lnTo>
                    <a:pt x="4" y="252"/>
                  </a:lnTo>
                  <a:lnTo>
                    <a:pt x="2" y="257"/>
                  </a:lnTo>
                  <a:lnTo>
                    <a:pt x="0" y="262"/>
                  </a:lnTo>
                  <a:lnTo>
                    <a:pt x="0" y="267"/>
                  </a:lnTo>
                  <a:lnTo>
                    <a:pt x="2" y="273"/>
                  </a:lnTo>
                  <a:lnTo>
                    <a:pt x="4" y="278"/>
                  </a:lnTo>
                  <a:lnTo>
                    <a:pt x="7" y="283"/>
                  </a:lnTo>
                  <a:lnTo>
                    <a:pt x="7" y="283"/>
                  </a:lnTo>
                  <a:lnTo>
                    <a:pt x="10" y="287"/>
                  </a:lnTo>
                  <a:lnTo>
                    <a:pt x="16" y="290"/>
                  </a:lnTo>
                  <a:lnTo>
                    <a:pt x="23" y="292"/>
                  </a:lnTo>
                  <a:lnTo>
                    <a:pt x="28" y="292"/>
                  </a:lnTo>
                  <a:lnTo>
                    <a:pt x="28" y="292"/>
                  </a:lnTo>
                  <a:lnTo>
                    <a:pt x="37" y="292"/>
                  </a:lnTo>
                  <a:lnTo>
                    <a:pt x="45" y="287"/>
                  </a:lnTo>
                  <a:lnTo>
                    <a:pt x="141" y="216"/>
                  </a:lnTo>
                  <a:lnTo>
                    <a:pt x="141" y="474"/>
                  </a:lnTo>
                  <a:lnTo>
                    <a:pt x="291" y="474"/>
                  </a:lnTo>
                  <a:lnTo>
                    <a:pt x="291" y="348"/>
                  </a:lnTo>
                  <a:lnTo>
                    <a:pt x="291" y="348"/>
                  </a:lnTo>
                  <a:lnTo>
                    <a:pt x="292" y="335"/>
                  </a:lnTo>
                  <a:lnTo>
                    <a:pt x="295" y="326"/>
                  </a:lnTo>
                  <a:lnTo>
                    <a:pt x="302" y="316"/>
                  </a:lnTo>
                  <a:lnTo>
                    <a:pt x="308" y="306"/>
                  </a:lnTo>
                  <a:lnTo>
                    <a:pt x="316" y="300"/>
                  </a:lnTo>
                  <a:lnTo>
                    <a:pt x="326" y="295"/>
                  </a:lnTo>
                  <a:lnTo>
                    <a:pt x="337" y="290"/>
                  </a:lnTo>
                  <a:lnTo>
                    <a:pt x="348" y="290"/>
                  </a:lnTo>
                  <a:lnTo>
                    <a:pt x="348" y="290"/>
                  </a:lnTo>
                  <a:lnTo>
                    <a:pt x="348" y="290"/>
                  </a:lnTo>
                  <a:lnTo>
                    <a:pt x="359" y="290"/>
                  </a:lnTo>
                  <a:lnTo>
                    <a:pt x="370" y="295"/>
                  </a:lnTo>
                  <a:lnTo>
                    <a:pt x="380" y="300"/>
                  </a:lnTo>
                  <a:lnTo>
                    <a:pt x="390" y="306"/>
                  </a:lnTo>
                  <a:lnTo>
                    <a:pt x="396" y="316"/>
                  </a:lnTo>
                  <a:lnTo>
                    <a:pt x="401" y="326"/>
                  </a:lnTo>
                  <a:lnTo>
                    <a:pt x="404" y="335"/>
                  </a:lnTo>
                  <a:lnTo>
                    <a:pt x="405" y="348"/>
                  </a:lnTo>
                  <a:lnTo>
                    <a:pt x="405" y="474"/>
                  </a:lnTo>
                  <a:lnTo>
                    <a:pt x="557" y="474"/>
                  </a:lnTo>
                  <a:lnTo>
                    <a:pt x="557" y="216"/>
                  </a:lnTo>
                  <a:lnTo>
                    <a:pt x="653" y="287"/>
                  </a:lnTo>
                  <a:lnTo>
                    <a:pt x="653" y="287"/>
                  </a:lnTo>
                  <a:lnTo>
                    <a:pt x="661" y="292"/>
                  </a:lnTo>
                  <a:lnTo>
                    <a:pt x="669" y="292"/>
                  </a:lnTo>
                  <a:lnTo>
                    <a:pt x="669" y="292"/>
                  </a:lnTo>
                  <a:lnTo>
                    <a:pt x="675" y="292"/>
                  </a:lnTo>
                  <a:lnTo>
                    <a:pt x="681" y="290"/>
                  </a:lnTo>
                  <a:lnTo>
                    <a:pt x="686" y="287"/>
                  </a:lnTo>
                  <a:lnTo>
                    <a:pt x="691" y="283"/>
                  </a:lnTo>
                  <a:lnTo>
                    <a:pt x="691" y="283"/>
                  </a:lnTo>
                  <a:lnTo>
                    <a:pt x="694" y="278"/>
                  </a:lnTo>
                  <a:lnTo>
                    <a:pt x="696" y="273"/>
                  </a:lnTo>
                  <a:lnTo>
                    <a:pt x="696" y="267"/>
                  </a:lnTo>
                  <a:lnTo>
                    <a:pt x="696" y="262"/>
                  </a:lnTo>
                  <a:lnTo>
                    <a:pt x="696" y="257"/>
                  </a:lnTo>
                  <a:lnTo>
                    <a:pt x="692" y="252"/>
                  </a:lnTo>
                  <a:lnTo>
                    <a:pt x="689" y="247"/>
                  </a:lnTo>
                  <a:lnTo>
                    <a:pt x="686" y="244"/>
                  </a:lnTo>
                  <a:lnTo>
                    <a:pt x="686" y="244"/>
                  </a:lnTo>
                  <a:close/>
                </a:path>
              </a:pathLst>
            </a:custGeom>
            <a:solidFill>
              <a:srgbClr val="FBAB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>
                <a:latin typeface="CiscoSans" pitchFamily="34" charset="0"/>
              </a:endParaRPr>
            </a:p>
          </p:txBody>
        </p:sp>
        <p:sp>
          <p:nvSpPr>
            <p:cNvPr id="33" name="Freeform 36"/>
            <p:cNvSpPr>
              <a:spLocks/>
            </p:cNvSpPr>
            <p:nvPr/>
          </p:nvSpPr>
          <p:spPr bwMode="auto">
            <a:xfrm>
              <a:off x="678" y="1928"/>
              <a:ext cx="234" cy="77"/>
            </a:xfrm>
            <a:custGeom>
              <a:avLst/>
              <a:gdLst>
                <a:gd name="T0" fmla="*/ 234 w 469"/>
                <a:gd name="T1" fmla="*/ 0 h 154"/>
                <a:gd name="T2" fmla="*/ 172 w 469"/>
                <a:gd name="T3" fmla="*/ 6 h 154"/>
                <a:gd name="T4" fmla="*/ 113 w 469"/>
                <a:gd name="T5" fmla="*/ 24 h 154"/>
                <a:gd name="T6" fmla="*/ 59 w 469"/>
                <a:gd name="T7" fmla="*/ 54 h 154"/>
                <a:gd name="T8" fmla="*/ 10 w 469"/>
                <a:gd name="T9" fmla="*/ 94 h 154"/>
                <a:gd name="T10" fmla="*/ 6 w 469"/>
                <a:gd name="T11" fmla="*/ 99 h 154"/>
                <a:gd name="T12" fmla="*/ 0 w 469"/>
                <a:gd name="T13" fmla="*/ 111 h 154"/>
                <a:gd name="T14" fmla="*/ 0 w 469"/>
                <a:gd name="T15" fmla="*/ 126 h 154"/>
                <a:gd name="T16" fmla="*/ 6 w 469"/>
                <a:gd name="T17" fmla="*/ 139 h 154"/>
                <a:gd name="T18" fmla="*/ 10 w 469"/>
                <a:gd name="T19" fmla="*/ 143 h 154"/>
                <a:gd name="T20" fmla="*/ 22 w 469"/>
                <a:gd name="T21" fmla="*/ 151 h 154"/>
                <a:gd name="T22" fmla="*/ 35 w 469"/>
                <a:gd name="T23" fmla="*/ 154 h 154"/>
                <a:gd name="T24" fmla="*/ 48 w 469"/>
                <a:gd name="T25" fmla="*/ 151 h 154"/>
                <a:gd name="T26" fmla="*/ 61 w 469"/>
                <a:gd name="T27" fmla="*/ 143 h 154"/>
                <a:gd name="T28" fmla="*/ 78 w 469"/>
                <a:gd name="T29" fmla="*/ 127 h 154"/>
                <a:gd name="T30" fmla="*/ 118 w 469"/>
                <a:gd name="T31" fmla="*/ 100 h 154"/>
                <a:gd name="T32" fmla="*/ 163 w 469"/>
                <a:gd name="T33" fmla="*/ 83 h 154"/>
                <a:gd name="T34" fmla="*/ 209 w 469"/>
                <a:gd name="T35" fmla="*/ 73 h 154"/>
                <a:gd name="T36" fmla="*/ 234 w 469"/>
                <a:gd name="T37" fmla="*/ 72 h 154"/>
                <a:gd name="T38" fmla="*/ 282 w 469"/>
                <a:gd name="T39" fmla="*/ 76 h 154"/>
                <a:gd name="T40" fmla="*/ 329 w 469"/>
                <a:gd name="T41" fmla="*/ 91 h 154"/>
                <a:gd name="T42" fmla="*/ 370 w 469"/>
                <a:gd name="T43" fmla="*/ 113 h 154"/>
                <a:gd name="T44" fmla="*/ 408 w 469"/>
                <a:gd name="T45" fmla="*/ 143 h 154"/>
                <a:gd name="T46" fmla="*/ 413 w 469"/>
                <a:gd name="T47" fmla="*/ 148 h 154"/>
                <a:gd name="T48" fmla="*/ 426 w 469"/>
                <a:gd name="T49" fmla="*/ 153 h 154"/>
                <a:gd name="T50" fmla="*/ 434 w 469"/>
                <a:gd name="T51" fmla="*/ 154 h 154"/>
                <a:gd name="T52" fmla="*/ 446 w 469"/>
                <a:gd name="T53" fmla="*/ 151 h 154"/>
                <a:gd name="T54" fmla="*/ 458 w 469"/>
                <a:gd name="T55" fmla="*/ 143 h 154"/>
                <a:gd name="T56" fmla="*/ 462 w 469"/>
                <a:gd name="T57" fmla="*/ 139 h 154"/>
                <a:gd name="T58" fmla="*/ 467 w 469"/>
                <a:gd name="T59" fmla="*/ 126 h 154"/>
                <a:gd name="T60" fmla="*/ 467 w 469"/>
                <a:gd name="T61" fmla="*/ 111 h 154"/>
                <a:gd name="T62" fmla="*/ 462 w 469"/>
                <a:gd name="T63" fmla="*/ 99 h 154"/>
                <a:gd name="T64" fmla="*/ 458 w 469"/>
                <a:gd name="T65" fmla="*/ 94 h 154"/>
                <a:gd name="T66" fmla="*/ 410 w 469"/>
                <a:gd name="T67" fmla="*/ 54 h 154"/>
                <a:gd name="T68" fmla="*/ 356 w 469"/>
                <a:gd name="T69" fmla="*/ 24 h 154"/>
                <a:gd name="T70" fmla="*/ 297 w 469"/>
                <a:gd name="T71" fmla="*/ 6 h 154"/>
                <a:gd name="T72" fmla="*/ 234 w 469"/>
                <a:gd name="T73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9" h="154">
                  <a:moveTo>
                    <a:pt x="234" y="0"/>
                  </a:moveTo>
                  <a:lnTo>
                    <a:pt x="234" y="0"/>
                  </a:lnTo>
                  <a:lnTo>
                    <a:pt x="203" y="1"/>
                  </a:lnTo>
                  <a:lnTo>
                    <a:pt x="172" y="6"/>
                  </a:lnTo>
                  <a:lnTo>
                    <a:pt x="142" y="14"/>
                  </a:lnTo>
                  <a:lnTo>
                    <a:pt x="113" y="24"/>
                  </a:lnTo>
                  <a:lnTo>
                    <a:pt x="85" y="38"/>
                  </a:lnTo>
                  <a:lnTo>
                    <a:pt x="59" y="54"/>
                  </a:lnTo>
                  <a:lnTo>
                    <a:pt x="34" y="72"/>
                  </a:lnTo>
                  <a:lnTo>
                    <a:pt x="10" y="94"/>
                  </a:lnTo>
                  <a:lnTo>
                    <a:pt x="10" y="94"/>
                  </a:lnTo>
                  <a:lnTo>
                    <a:pt x="6" y="99"/>
                  </a:lnTo>
                  <a:lnTo>
                    <a:pt x="2" y="105"/>
                  </a:lnTo>
                  <a:lnTo>
                    <a:pt x="0" y="111"/>
                  </a:lnTo>
                  <a:lnTo>
                    <a:pt x="0" y="118"/>
                  </a:lnTo>
                  <a:lnTo>
                    <a:pt x="0" y="126"/>
                  </a:lnTo>
                  <a:lnTo>
                    <a:pt x="2" y="132"/>
                  </a:lnTo>
                  <a:lnTo>
                    <a:pt x="6" y="139"/>
                  </a:lnTo>
                  <a:lnTo>
                    <a:pt x="10" y="143"/>
                  </a:lnTo>
                  <a:lnTo>
                    <a:pt x="10" y="143"/>
                  </a:lnTo>
                  <a:lnTo>
                    <a:pt x="16" y="148"/>
                  </a:lnTo>
                  <a:lnTo>
                    <a:pt x="22" y="151"/>
                  </a:lnTo>
                  <a:lnTo>
                    <a:pt x="29" y="153"/>
                  </a:lnTo>
                  <a:lnTo>
                    <a:pt x="35" y="154"/>
                  </a:lnTo>
                  <a:lnTo>
                    <a:pt x="41" y="153"/>
                  </a:lnTo>
                  <a:lnTo>
                    <a:pt x="48" y="151"/>
                  </a:lnTo>
                  <a:lnTo>
                    <a:pt x="54" y="148"/>
                  </a:lnTo>
                  <a:lnTo>
                    <a:pt x="61" y="143"/>
                  </a:lnTo>
                  <a:lnTo>
                    <a:pt x="61" y="143"/>
                  </a:lnTo>
                  <a:lnTo>
                    <a:pt x="78" y="127"/>
                  </a:lnTo>
                  <a:lnTo>
                    <a:pt x="97" y="113"/>
                  </a:lnTo>
                  <a:lnTo>
                    <a:pt x="118" y="100"/>
                  </a:lnTo>
                  <a:lnTo>
                    <a:pt x="140" y="91"/>
                  </a:lnTo>
                  <a:lnTo>
                    <a:pt x="163" y="83"/>
                  </a:lnTo>
                  <a:lnTo>
                    <a:pt x="185" y="76"/>
                  </a:lnTo>
                  <a:lnTo>
                    <a:pt x="209" y="73"/>
                  </a:lnTo>
                  <a:lnTo>
                    <a:pt x="234" y="72"/>
                  </a:lnTo>
                  <a:lnTo>
                    <a:pt x="234" y="72"/>
                  </a:lnTo>
                  <a:lnTo>
                    <a:pt x="258" y="73"/>
                  </a:lnTo>
                  <a:lnTo>
                    <a:pt x="282" y="76"/>
                  </a:lnTo>
                  <a:lnTo>
                    <a:pt x="306" y="83"/>
                  </a:lnTo>
                  <a:lnTo>
                    <a:pt x="329" y="91"/>
                  </a:lnTo>
                  <a:lnTo>
                    <a:pt x="349" y="100"/>
                  </a:lnTo>
                  <a:lnTo>
                    <a:pt x="370" y="113"/>
                  </a:lnTo>
                  <a:lnTo>
                    <a:pt x="389" y="127"/>
                  </a:lnTo>
                  <a:lnTo>
                    <a:pt x="408" y="143"/>
                  </a:lnTo>
                  <a:lnTo>
                    <a:pt x="408" y="143"/>
                  </a:lnTo>
                  <a:lnTo>
                    <a:pt x="413" y="148"/>
                  </a:lnTo>
                  <a:lnTo>
                    <a:pt x="419" y="151"/>
                  </a:lnTo>
                  <a:lnTo>
                    <a:pt x="426" y="153"/>
                  </a:lnTo>
                  <a:lnTo>
                    <a:pt x="434" y="154"/>
                  </a:lnTo>
                  <a:lnTo>
                    <a:pt x="434" y="154"/>
                  </a:lnTo>
                  <a:lnTo>
                    <a:pt x="440" y="153"/>
                  </a:lnTo>
                  <a:lnTo>
                    <a:pt x="446" y="151"/>
                  </a:lnTo>
                  <a:lnTo>
                    <a:pt x="453" y="148"/>
                  </a:lnTo>
                  <a:lnTo>
                    <a:pt x="458" y="143"/>
                  </a:lnTo>
                  <a:lnTo>
                    <a:pt x="458" y="143"/>
                  </a:lnTo>
                  <a:lnTo>
                    <a:pt x="462" y="139"/>
                  </a:lnTo>
                  <a:lnTo>
                    <a:pt x="466" y="132"/>
                  </a:lnTo>
                  <a:lnTo>
                    <a:pt x="467" y="126"/>
                  </a:lnTo>
                  <a:lnTo>
                    <a:pt x="469" y="118"/>
                  </a:lnTo>
                  <a:lnTo>
                    <a:pt x="467" y="111"/>
                  </a:lnTo>
                  <a:lnTo>
                    <a:pt x="466" y="105"/>
                  </a:lnTo>
                  <a:lnTo>
                    <a:pt x="462" y="99"/>
                  </a:lnTo>
                  <a:lnTo>
                    <a:pt x="458" y="94"/>
                  </a:lnTo>
                  <a:lnTo>
                    <a:pt x="458" y="94"/>
                  </a:lnTo>
                  <a:lnTo>
                    <a:pt x="435" y="72"/>
                  </a:lnTo>
                  <a:lnTo>
                    <a:pt x="410" y="54"/>
                  </a:lnTo>
                  <a:lnTo>
                    <a:pt x="383" y="38"/>
                  </a:lnTo>
                  <a:lnTo>
                    <a:pt x="356" y="24"/>
                  </a:lnTo>
                  <a:lnTo>
                    <a:pt x="327" y="14"/>
                  </a:lnTo>
                  <a:lnTo>
                    <a:pt x="297" y="6"/>
                  </a:lnTo>
                  <a:lnTo>
                    <a:pt x="266" y="1"/>
                  </a:lnTo>
                  <a:lnTo>
                    <a:pt x="234" y="0"/>
                  </a:lnTo>
                  <a:lnTo>
                    <a:pt x="234" y="0"/>
                  </a:lnTo>
                  <a:close/>
                </a:path>
              </a:pathLst>
            </a:custGeom>
            <a:solidFill>
              <a:srgbClr val="6EBE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>
                <a:latin typeface="CiscoSans" pitchFamily="34" charset="0"/>
              </a:endParaRPr>
            </a:p>
          </p:txBody>
        </p:sp>
        <p:sp>
          <p:nvSpPr>
            <p:cNvPr id="34" name="Freeform 37"/>
            <p:cNvSpPr>
              <a:spLocks/>
            </p:cNvSpPr>
            <p:nvPr/>
          </p:nvSpPr>
          <p:spPr bwMode="auto">
            <a:xfrm>
              <a:off x="724" y="1993"/>
              <a:ext cx="142" cy="58"/>
            </a:xfrm>
            <a:custGeom>
              <a:avLst/>
              <a:gdLst>
                <a:gd name="T0" fmla="*/ 9 w 283"/>
                <a:gd name="T1" fmla="*/ 54 h 114"/>
                <a:gd name="T2" fmla="*/ 1 w 283"/>
                <a:gd name="T3" fmla="*/ 67 h 114"/>
                <a:gd name="T4" fmla="*/ 0 w 283"/>
                <a:gd name="T5" fmla="*/ 79 h 114"/>
                <a:gd name="T6" fmla="*/ 1 w 283"/>
                <a:gd name="T7" fmla="*/ 92 h 114"/>
                <a:gd name="T8" fmla="*/ 9 w 283"/>
                <a:gd name="T9" fmla="*/ 105 h 114"/>
                <a:gd name="T10" fmla="*/ 15 w 283"/>
                <a:gd name="T11" fmla="*/ 110 h 114"/>
                <a:gd name="T12" fmla="*/ 28 w 283"/>
                <a:gd name="T13" fmla="*/ 114 h 114"/>
                <a:gd name="T14" fmla="*/ 41 w 283"/>
                <a:gd name="T15" fmla="*/ 114 h 114"/>
                <a:gd name="T16" fmla="*/ 54 w 283"/>
                <a:gd name="T17" fmla="*/ 110 h 114"/>
                <a:gd name="T18" fmla="*/ 60 w 283"/>
                <a:gd name="T19" fmla="*/ 105 h 114"/>
                <a:gd name="T20" fmla="*/ 78 w 283"/>
                <a:gd name="T21" fmla="*/ 90 h 114"/>
                <a:gd name="T22" fmla="*/ 98 w 283"/>
                <a:gd name="T23" fmla="*/ 79 h 114"/>
                <a:gd name="T24" fmla="*/ 119 w 283"/>
                <a:gd name="T25" fmla="*/ 73 h 114"/>
                <a:gd name="T26" fmla="*/ 141 w 283"/>
                <a:gd name="T27" fmla="*/ 71 h 114"/>
                <a:gd name="T28" fmla="*/ 164 w 283"/>
                <a:gd name="T29" fmla="*/ 73 h 114"/>
                <a:gd name="T30" fmla="*/ 184 w 283"/>
                <a:gd name="T31" fmla="*/ 79 h 114"/>
                <a:gd name="T32" fmla="*/ 205 w 283"/>
                <a:gd name="T33" fmla="*/ 90 h 114"/>
                <a:gd name="T34" fmla="*/ 223 w 283"/>
                <a:gd name="T35" fmla="*/ 105 h 114"/>
                <a:gd name="T36" fmla="*/ 229 w 283"/>
                <a:gd name="T37" fmla="*/ 110 h 114"/>
                <a:gd name="T38" fmla="*/ 242 w 283"/>
                <a:gd name="T39" fmla="*/ 114 h 114"/>
                <a:gd name="T40" fmla="*/ 248 w 283"/>
                <a:gd name="T41" fmla="*/ 114 h 114"/>
                <a:gd name="T42" fmla="*/ 261 w 283"/>
                <a:gd name="T43" fmla="*/ 113 h 114"/>
                <a:gd name="T44" fmla="*/ 274 w 283"/>
                <a:gd name="T45" fmla="*/ 105 h 114"/>
                <a:gd name="T46" fmla="*/ 277 w 283"/>
                <a:gd name="T47" fmla="*/ 98 h 114"/>
                <a:gd name="T48" fmla="*/ 283 w 283"/>
                <a:gd name="T49" fmla="*/ 86 h 114"/>
                <a:gd name="T50" fmla="*/ 283 w 283"/>
                <a:gd name="T51" fmla="*/ 73 h 114"/>
                <a:gd name="T52" fmla="*/ 277 w 283"/>
                <a:gd name="T53" fmla="*/ 60 h 114"/>
                <a:gd name="T54" fmla="*/ 274 w 283"/>
                <a:gd name="T55" fmla="*/ 54 h 114"/>
                <a:gd name="T56" fmla="*/ 243 w 283"/>
                <a:gd name="T57" fmla="*/ 30 h 114"/>
                <a:gd name="T58" fmla="*/ 212 w 283"/>
                <a:gd name="T59" fmla="*/ 14 h 114"/>
                <a:gd name="T60" fmla="*/ 177 w 283"/>
                <a:gd name="T61" fmla="*/ 3 h 114"/>
                <a:gd name="T62" fmla="*/ 141 w 283"/>
                <a:gd name="T63" fmla="*/ 0 h 114"/>
                <a:gd name="T64" fmla="*/ 105 w 283"/>
                <a:gd name="T65" fmla="*/ 3 h 114"/>
                <a:gd name="T66" fmla="*/ 71 w 283"/>
                <a:gd name="T67" fmla="*/ 14 h 114"/>
                <a:gd name="T68" fmla="*/ 38 w 283"/>
                <a:gd name="T69" fmla="*/ 30 h 114"/>
                <a:gd name="T70" fmla="*/ 9 w 283"/>
                <a:gd name="T71" fmla="*/ 5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83" h="114">
                  <a:moveTo>
                    <a:pt x="9" y="54"/>
                  </a:moveTo>
                  <a:lnTo>
                    <a:pt x="9" y="54"/>
                  </a:lnTo>
                  <a:lnTo>
                    <a:pt x="4" y="60"/>
                  </a:lnTo>
                  <a:lnTo>
                    <a:pt x="1" y="67"/>
                  </a:lnTo>
                  <a:lnTo>
                    <a:pt x="0" y="73"/>
                  </a:lnTo>
                  <a:lnTo>
                    <a:pt x="0" y="79"/>
                  </a:lnTo>
                  <a:lnTo>
                    <a:pt x="0" y="86"/>
                  </a:lnTo>
                  <a:lnTo>
                    <a:pt x="1" y="92"/>
                  </a:lnTo>
                  <a:lnTo>
                    <a:pt x="4" y="98"/>
                  </a:lnTo>
                  <a:lnTo>
                    <a:pt x="9" y="105"/>
                  </a:lnTo>
                  <a:lnTo>
                    <a:pt x="9" y="105"/>
                  </a:lnTo>
                  <a:lnTo>
                    <a:pt x="15" y="110"/>
                  </a:lnTo>
                  <a:lnTo>
                    <a:pt x="20" y="113"/>
                  </a:lnTo>
                  <a:lnTo>
                    <a:pt x="28" y="114"/>
                  </a:lnTo>
                  <a:lnTo>
                    <a:pt x="35" y="114"/>
                  </a:lnTo>
                  <a:lnTo>
                    <a:pt x="41" y="114"/>
                  </a:lnTo>
                  <a:lnTo>
                    <a:pt x="47" y="113"/>
                  </a:lnTo>
                  <a:lnTo>
                    <a:pt x="54" y="110"/>
                  </a:lnTo>
                  <a:lnTo>
                    <a:pt x="60" y="105"/>
                  </a:lnTo>
                  <a:lnTo>
                    <a:pt x="60" y="105"/>
                  </a:lnTo>
                  <a:lnTo>
                    <a:pt x="68" y="97"/>
                  </a:lnTo>
                  <a:lnTo>
                    <a:pt x="78" y="90"/>
                  </a:lnTo>
                  <a:lnTo>
                    <a:pt x="87" y="84"/>
                  </a:lnTo>
                  <a:lnTo>
                    <a:pt x="98" y="79"/>
                  </a:lnTo>
                  <a:lnTo>
                    <a:pt x="108" y="76"/>
                  </a:lnTo>
                  <a:lnTo>
                    <a:pt x="119" y="73"/>
                  </a:lnTo>
                  <a:lnTo>
                    <a:pt x="130" y="71"/>
                  </a:lnTo>
                  <a:lnTo>
                    <a:pt x="141" y="71"/>
                  </a:lnTo>
                  <a:lnTo>
                    <a:pt x="153" y="71"/>
                  </a:lnTo>
                  <a:lnTo>
                    <a:pt x="164" y="73"/>
                  </a:lnTo>
                  <a:lnTo>
                    <a:pt x="173" y="76"/>
                  </a:lnTo>
                  <a:lnTo>
                    <a:pt x="184" y="79"/>
                  </a:lnTo>
                  <a:lnTo>
                    <a:pt x="196" y="84"/>
                  </a:lnTo>
                  <a:lnTo>
                    <a:pt x="205" y="90"/>
                  </a:lnTo>
                  <a:lnTo>
                    <a:pt x="215" y="97"/>
                  </a:lnTo>
                  <a:lnTo>
                    <a:pt x="223" y="105"/>
                  </a:lnTo>
                  <a:lnTo>
                    <a:pt x="223" y="105"/>
                  </a:lnTo>
                  <a:lnTo>
                    <a:pt x="229" y="110"/>
                  </a:lnTo>
                  <a:lnTo>
                    <a:pt x="234" y="113"/>
                  </a:lnTo>
                  <a:lnTo>
                    <a:pt x="242" y="114"/>
                  </a:lnTo>
                  <a:lnTo>
                    <a:pt x="248" y="114"/>
                  </a:lnTo>
                  <a:lnTo>
                    <a:pt x="248" y="114"/>
                  </a:lnTo>
                  <a:lnTo>
                    <a:pt x="255" y="114"/>
                  </a:lnTo>
                  <a:lnTo>
                    <a:pt x="261" y="113"/>
                  </a:lnTo>
                  <a:lnTo>
                    <a:pt x="267" y="110"/>
                  </a:lnTo>
                  <a:lnTo>
                    <a:pt x="274" y="105"/>
                  </a:lnTo>
                  <a:lnTo>
                    <a:pt x="274" y="105"/>
                  </a:lnTo>
                  <a:lnTo>
                    <a:pt x="277" y="98"/>
                  </a:lnTo>
                  <a:lnTo>
                    <a:pt x="280" y="92"/>
                  </a:lnTo>
                  <a:lnTo>
                    <a:pt x="283" y="86"/>
                  </a:lnTo>
                  <a:lnTo>
                    <a:pt x="283" y="79"/>
                  </a:lnTo>
                  <a:lnTo>
                    <a:pt x="283" y="73"/>
                  </a:lnTo>
                  <a:lnTo>
                    <a:pt x="280" y="67"/>
                  </a:lnTo>
                  <a:lnTo>
                    <a:pt x="277" y="60"/>
                  </a:lnTo>
                  <a:lnTo>
                    <a:pt x="274" y="54"/>
                  </a:lnTo>
                  <a:lnTo>
                    <a:pt x="274" y="54"/>
                  </a:lnTo>
                  <a:lnTo>
                    <a:pt x="259" y="41"/>
                  </a:lnTo>
                  <a:lnTo>
                    <a:pt x="243" y="30"/>
                  </a:lnTo>
                  <a:lnTo>
                    <a:pt x="228" y="20"/>
                  </a:lnTo>
                  <a:lnTo>
                    <a:pt x="212" y="14"/>
                  </a:lnTo>
                  <a:lnTo>
                    <a:pt x="194" y="8"/>
                  </a:lnTo>
                  <a:lnTo>
                    <a:pt x="177" y="3"/>
                  </a:lnTo>
                  <a:lnTo>
                    <a:pt x="159" y="1"/>
                  </a:lnTo>
                  <a:lnTo>
                    <a:pt x="141" y="0"/>
                  </a:lnTo>
                  <a:lnTo>
                    <a:pt x="124" y="1"/>
                  </a:lnTo>
                  <a:lnTo>
                    <a:pt x="105" y="3"/>
                  </a:lnTo>
                  <a:lnTo>
                    <a:pt x="87" y="8"/>
                  </a:lnTo>
                  <a:lnTo>
                    <a:pt x="71" y="14"/>
                  </a:lnTo>
                  <a:lnTo>
                    <a:pt x="54" y="20"/>
                  </a:lnTo>
                  <a:lnTo>
                    <a:pt x="38" y="30"/>
                  </a:lnTo>
                  <a:lnTo>
                    <a:pt x="23" y="41"/>
                  </a:lnTo>
                  <a:lnTo>
                    <a:pt x="9" y="54"/>
                  </a:lnTo>
                  <a:lnTo>
                    <a:pt x="9" y="54"/>
                  </a:lnTo>
                  <a:close/>
                </a:path>
              </a:pathLst>
            </a:custGeom>
            <a:solidFill>
              <a:srgbClr val="6EBE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>
                <a:latin typeface="CiscoSans" pitchFamily="34" charset="0"/>
              </a:endParaRPr>
            </a:p>
          </p:txBody>
        </p:sp>
        <p:sp>
          <p:nvSpPr>
            <p:cNvPr id="35" name="Freeform 38"/>
            <p:cNvSpPr>
              <a:spLocks/>
            </p:cNvSpPr>
            <p:nvPr/>
          </p:nvSpPr>
          <p:spPr bwMode="auto">
            <a:xfrm>
              <a:off x="770" y="2067"/>
              <a:ext cx="49" cy="49"/>
            </a:xfrm>
            <a:custGeom>
              <a:avLst/>
              <a:gdLst>
                <a:gd name="T0" fmla="*/ 49 w 97"/>
                <a:gd name="T1" fmla="*/ 0 h 99"/>
                <a:gd name="T2" fmla="*/ 49 w 97"/>
                <a:gd name="T3" fmla="*/ 0 h 99"/>
                <a:gd name="T4" fmla="*/ 40 w 97"/>
                <a:gd name="T5" fmla="*/ 2 h 99"/>
                <a:gd name="T6" fmla="*/ 30 w 97"/>
                <a:gd name="T7" fmla="*/ 5 h 99"/>
                <a:gd name="T8" fmla="*/ 22 w 97"/>
                <a:gd name="T9" fmla="*/ 10 h 99"/>
                <a:gd name="T10" fmla="*/ 14 w 97"/>
                <a:gd name="T11" fmla="*/ 15 h 99"/>
                <a:gd name="T12" fmla="*/ 8 w 97"/>
                <a:gd name="T13" fmla="*/ 23 h 99"/>
                <a:gd name="T14" fmla="*/ 5 w 97"/>
                <a:gd name="T15" fmla="*/ 31 h 99"/>
                <a:gd name="T16" fmla="*/ 2 w 97"/>
                <a:gd name="T17" fmla="*/ 40 h 99"/>
                <a:gd name="T18" fmla="*/ 0 w 97"/>
                <a:gd name="T19" fmla="*/ 50 h 99"/>
                <a:gd name="T20" fmla="*/ 0 w 97"/>
                <a:gd name="T21" fmla="*/ 50 h 99"/>
                <a:gd name="T22" fmla="*/ 2 w 97"/>
                <a:gd name="T23" fmla="*/ 59 h 99"/>
                <a:gd name="T24" fmla="*/ 5 w 97"/>
                <a:gd name="T25" fmla="*/ 69 h 99"/>
                <a:gd name="T26" fmla="*/ 8 w 97"/>
                <a:gd name="T27" fmla="*/ 77 h 99"/>
                <a:gd name="T28" fmla="*/ 14 w 97"/>
                <a:gd name="T29" fmla="*/ 85 h 99"/>
                <a:gd name="T30" fmla="*/ 22 w 97"/>
                <a:gd name="T31" fmla="*/ 90 h 99"/>
                <a:gd name="T32" fmla="*/ 30 w 97"/>
                <a:gd name="T33" fmla="*/ 94 h 99"/>
                <a:gd name="T34" fmla="*/ 40 w 97"/>
                <a:gd name="T35" fmla="*/ 98 h 99"/>
                <a:gd name="T36" fmla="*/ 49 w 97"/>
                <a:gd name="T37" fmla="*/ 99 h 99"/>
                <a:gd name="T38" fmla="*/ 49 w 97"/>
                <a:gd name="T39" fmla="*/ 99 h 99"/>
                <a:gd name="T40" fmla="*/ 59 w 97"/>
                <a:gd name="T41" fmla="*/ 98 h 99"/>
                <a:gd name="T42" fmla="*/ 69 w 97"/>
                <a:gd name="T43" fmla="*/ 94 h 99"/>
                <a:gd name="T44" fmla="*/ 77 w 97"/>
                <a:gd name="T45" fmla="*/ 90 h 99"/>
                <a:gd name="T46" fmla="*/ 83 w 97"/>
                <a:gd name="T47" fmla="*/ 85 h 99"/>
                <a:gd name="T48" fmla="*/ 89 w 97"/>
                <a:gd name="T49" fmla="*/ 77 h 99"/>
                <a:gd name="T50" fmla="*/ 94 w 97"/>
                <a:gd name="T51" fmla="*/ 69 h 99"/>
                <a:gd name="T52" fmla="*/ 97 w 97"/>
                <a:gd name="T53" fmla="*/ 59 h 99"/>
                <a:gd name="T54" fmla="*/ 97 w 97"/>
                <a:gd name="T55" fmla="*/ 50 h 99"/>
                <a:gd name="T56" fmla="*/ 97 w 97"/>
                <a:gd name="T57" fmla="*/ 50 h 99"/>
                <a:gd name="T58" fmla="*/ 97 w 97"/>
                <a:gd name="T59" fmla="*/ 40 h 99"/>
                <a:gd name="T60" fmla="*/ 94 w 97"/>
                <a:gd name="T61" fmla="*/ 31 h 99"/>
                <a:gd name="T62" fmla="*/ 89 w 97"/>
                <a:gd name="T63" fmla="*/ 23 h 99"/>
                <a:gd name="T64" fmla="*/ 83 w 97"/>
                <a:gd name="T65" fmla="*/ 15 h 99"/>
                <a:gd name="T66" fmla="*/ 77 w 97"/>
                <a:gd name="T67" fmla="*/ 10 h 99"/>
                <a:gd name="T68" fmla="*/ 69 w 97"/>
                <a:gd name="T69" fmla="*/ 5 h 99"/>
                <a:gd name="T70" fmla="*/ 59 w 97"/>
                <a:gd name="T71" fmla="*/ 2 h 99"/>
                <a:gd name="T72" fmla="*/ 49 w 97"/>
                <a:gd name="T73" fmla="*/ 0 h 99"/>
                <a:gd name="T74" fmla="*/ 49 w 97"/>
                <a:gd name="T75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7" h="99">
                  <a:moveTo>
                    <a:pt x="49" y="0"/>
                  </a:moveTo>
                  <a:lnTo>
                    <a:pt x="49" y="0"/>
                  </a:lnTo>
                  <a:lnTo>
                    <a:pt x="40" y="2"/>
                  </a:lnTo>
                  <a:lnTo>
                    <a:pt x="30" y="5"/>
                  </a:lnTo>
                  <a:lnTo>
                    <a:pt x="22" y="10"/>
                  </a:lnTo>
                  <a:lnTo>
                    <a:pt x="14" y="15"/>
                  </a:lnTo>
                  <a:lnTo>
                    <a:pt x="8" y="23"/>
                  </a:lnTo>
                  <a:lnTo>
                    <a:pt x="5" y="31"/>
                  </a:lnTo>
                  <a:lnTo>
                    <a:pt x="2" y="40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2" y="59"/>
                  </a:lnTo>
                  <a:lnTo>
                    <a:pt x="5" y="69"/>
                  </a:lnTo>
                  <a:lnTo>
                    <a:pt x="8" y="77"/>
                  </a:lnTo>
                  <a:lnTo>
                    <a:pt x="14" y="85"/>
                  </a:lnTo>
                  <a:lnTo>
                    <a:pt x="22" y="90"/>
                  </a:lnTo>
                  <a:lnTo>
                    <a:pt x="30" y="94"/>
                  </a:lnTo>
                  <a:lnTo>
                    <a:pt x="40" y="98"/>
                  </a:lnTo>
                  <a:lnTo>
                    <a:pt x="49" y="99"/>
                  </a:lnTo>
                  <a:lnTo>
                    <a:pt x="49" y="99"/>
                  </a:lnTo>
                  <a:lnTo>
                    <a:pt x="59" y="98"/>
                  </a:lnTo>
                  <a:lnTo>
                    <a:pt x="69" y="94"/>
                  </a:lnTo>
                  <a:lnTo>
                    <a:pt x="77" y="90"/>
                  </a:lnTo>
                  <a:lnTo>
                    <a:pt x="83" y="85"/>
                  </a:lnTo>
                  <a:lnTo>
                    <a:pt x="89" y="77"/>
                  </a:lnTo>
                  <a:lnTo>
                    <a:pt x="94" y="69"/>
                  </a:lnTo>
                  <a:lnTo>
                    <a:pt x="97" y="59"/>
                  </a:lnTo>
                  <a:lnTo>
                    <a:pt x="97" y="50"/>
                  </a:lnTo>
                  <a:lnTo>
                    <a:pt x="97" y="50"/>
                  </a:lnTo>
                  <a:lnTo>
                    <a:pt x="97" y="40"/>
                  </a:lnTo>
                  <a:lnTo>
                    <a:pt x="94" y="31"/>
                  </a:lnTo>
                  <a:lnTo>
                    <a:pt x="89" y="23"/>
                  </a:lnTo>
                  <a:lnTo>
                    <a:pt x="83" y="15"/>
                  </a:lnTo>
                  <a:lnTo>
                    <a:pt x="77" y="10"/>
                  </a:lnTo>
                  <a:lnTo>
                    <a:pt x="69" y="5"/>
                  </a:lnTo>
                  <a:lnTo>
                    <a:pt x="59" y="2"/>
                  </a:lnTo>
                  <a:lnTo>
                    <a:pt x="49" y="0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6EBE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>
                <a:latin typeface="CiscoSans" pitchFamily="34" charset="0"/>
              </a:endParaRPr>
            </a:p>
          </p:txBody>
        </p:sp>
        <p:sp>
          <p:nvSpPr>
            <p:cNvPr id="36" name="Freeform 39"/>
            <p:cNvSpPr>
              <a:spLocks noEditPoints="1"/>
            </p:cNvSpPr>
            <p:nvPr/>
          </p:nvSpPr>
          <p:spPr bwMode="auto">
            <a:xfrm>
              <a:off x="892" y="2098"/>
              <a:ext cx="187" cy="311"/>
            </a:xfrm>
            <a:custGeom>
              <a:avLst/>
              <a:gdLst>
                <a:gd name="T0" fmla="*/ 375 w 375"/>
                <a:gd name="T1" fmla="*/ 346 h 624"/>
                <a:gd name="T2" fmla="*/ 375 w 375"/>
                <a:gd name="T3" fmla="*/ 353 h 624"/>
                <a:gd name="T4" fmla="*/ 370 w 375"/>
                <a:gd name="T5" fmla="*/ 366 h 624"/>
                <a:gd name="T6" fmla="*/ 361 w 375"/>
                <a:gd name="T7" fmla="*/ 377 h 624"/>
                <a:gd name="T8" fmla="*/ 348 w 375"/>
                <a:gd name="T9" fmla="*/ 383 h 624"/>
                <a:gd name="T10" fmla="*/ 340 w 375"/>
                <a:gd name="T11" fmla="*/ 482 h 624"/>
                <a:gd name="T12" fmla="*/ 338 w 375"/>
                <a:gd name="T13" fmla="*/ 492 h 624"/>
                <a:gd name="T14" fmla="*/ 332 w 375"/>
                <a:gd name="T15" fmla="*/ 506 h 624"/>
                <a:gd name="T16" fmla="*/ 321 w 375"/>
                <a:gd name="T17" fmla="*/ 517 h 624"/>
                <a:gd name="T18" fmla="*/ 307 w 375"/>
                <a:gd name="T19" fmla="*/ 523 h 624"/>
                <a:gd name="T20" fmla="*/ 257 w 375"/>
                <a:gd name="T21" fmla="*/ 525 h 624"/>
                <a:gd name="T22" fmla="*/ 257 w 375"/>
                <a:gd name="T23" fmla="*/ 581 h 624"/>
                <a:gd name="T24" fmla="*/ 254 w 375"/>
                <a:gd name="T25" fmla="*/ 598 h 624"/>
                <a:gd name="T26" fmla="*/ 244 w 375"/>
                <a:gd name="T27" fmla="*/ 611 h 624"/>
                <a:gd name="T28" fmla="*/ 232 w 375"/>
                <a:gd name="T29" fmla="*/ 621 h 624"/>
                <a:gd name="T30" fmla="*/ 214 w 375"/>
                <a:gd name="T31" fmla="*/ 624 h 624"/>
                <a:gd name="T32" fmla="*/ 125 w 375"/>
                <a:gd name="T33" fmla="*/ 624 h 624"/>
                <a:gd name="T34" fmla="*/ 109 w 375"/>
                <a:gd name="T35" fmla="*/ 621 h 624"/>
                <a:gd name="T36" fmla="*/ 96 w 375"/>
                <a:gd name="T37" fmla="*/ 611 h 624"/>
                <a:gd name="T38" fmla="*/ 86 w 375"/>
                <a:gd name="T39" fmla="*/ 598 h 624"/>
                <a:gd name="T40" fmla="*/ 83 w 375"/>
                <a:gd name="T41" fmla="*/ 581 h 624"/>
                <a:gd name="T42" fmla="*/ 42 w 375"/>
                <a:gd name="T43" fmla="*/ 525 h 624"/>
                <a:gd name="T44" fmla="*/ 34 w 375"/>
                <a:gd name="T45" fmla="*/ 523 h 624"/>
                <a:gd name="T46" fmla="*/ 18 w 375"/>
                <a:gd name="T47" fmla="*/ 517 h 624"/>
                <a:gd name="T48" fmla="*/ 7 w 375"/>
                <a:gd name="T49" fmla="*/ 506 h 624"/>
                <a:gd name="T50" fmla="*/ 0 w 375"/>
                <a:gd name="T51" fmla="*/ 492 h 624"/>
                <a:gd name="T52" fmla="*/ 0 w 375"/>
                <a:gd name="T53" fmla="*/ 142 h 624"/>
                <a:gd name="T54" fmla="*/ 0 w 375"/>
                <a:gd name="T55" fmla="*/ 134 h 624"/>
                <a:gd name="T56" fmla="*/ 7 w 375"/>
                <a:gd name="T57" fmla="*/ 118 h 624"/>
                <a:gd name="T58" fmla="*/ 18 w 375"/>
                <a:gd name="T59" fmla="*/ 107 h 624"/>
                <a:gd name="T60" fmla="*/ 34 w 375"/>
                <a:gd name="T61" fmla="*/ 101 h 624"/>
                <a:gd name="T62" fmla="*/ 83 w 375"/>
                <a:gd name="T63" fmla="*/ 99 h 624"/>
                <a:gd name="T64" fmla="*/ 83 w 375"/>
                <a:gd name="T65" fmla="*/ 44 h 624"/>
                <a:gd name="T66" fmla="*/ 86 w 375"/>
                <a:gd name="T67" fmla="*/ 28 h 624"/>
                <a:gd name="T68" fmla="*/ 96 w 375"/>
                <a:gd name="T69" fmla="*/ 13 h 624"/>
                <a:gd name="T70" fmla="*/ 109 w 375"/>
                <a:gd name="T71" fmla="*/ 4 h 624"/>
                <a:gd name="T72" fmla="*/ 125 w 375"/>
                <a:gd name="T73" fmla="*/ 0 h 624"/>
                <a:gd name="T74" fmla="*/ 214 w 375"/>
                <a:gd name="T75" fmla="*/ 0 h 624"/>
                <a:gd name="T76" fmla="*/ 232 w 375"/>
                <a:gd name="T77" fmla="*/ 4 h 624"/>
                <a:gd name="T78" fmla="*/ 244 w 375"/>
                <a:gd name="T79" fmla="*/ 13 h 624"/>
                <a:gd name="T80" fmla="*/ 254 w 375"/>
                <a:gd name="T81" fmla="*/ 28 h 624"/>
                <a:gd name="T82" fmla="*/ 257 w 375"/>
                <a:gd name="T83" fmla="*/ 44 h 624"/>
                <a:gd name="T84" fmla="*/ 297 w 375"/>
                <a:gd name="T85" fmla="*/ 99 h 624"/>
                <a:gd name="T86" fmla="*/ 307 w 375"/>
                <a:gd name="T87" fmla="*/ 101 h 624"/>
                <a:gd name="T88" fmla="*/ 321 w 375"/>
                <a:gd name="T89" fmla="*/ 107 h 624"/>
                <a:gd name="T90" fmla="*/ 332 w 375"/>
                <a:gd name="T91" fmla="*/ 118 h 624"/>
                <a:gd name="T92" fmla="*/ 338 w 375"/>
                <a:gd name="T93" fmla="*/ 134 h 624"/>
                <a:gd name="T94" fmla="*/ 340 w 375"/>
                <a:gd name="T95" fmla="*/ 241 h 624"/>
                <a:gd name="T96" fmla="*/ 348 w 375"/>
                <a:gd name="T97" fmla="*/ 243 h 624"/>
                <a:gd name="T98" fmla="*/ 361 w 375"/>
                <a:gd name="T99" fmla="*/ 248 h 624"/>
                <a:gd name="T100" fmla="*/ 370 w 375"/>
                <a:gd name="T101" fmla="*/ 259 h 624"/>
                <a:gd name="T102" fmla="*/ 375 w 375"/>
                <a:gd name="T103" fmla="*/ 272 h 624"/>
                <a:gd name="T104" fmla="*/ 375 w 375"/>
                <a:gd name="T105" fmla="*/ 279 h 624"/>
                <a:gd name="T106" fmla="*/ 66 w 375"/>
                <a:gd name="T107" fmla="*/ 171 h 624"/>
                <a:gd name="T108" fmla="*/ 275 w 375"/>
                <a:gd name="T109" fmla="*/ 453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75" h="624">
                  <a:moveTo>
                    <a:pt x="375" y="279"/>
                  </a:moveTo>
                  <a:lnTo>
                    <a:pt x="375" y="346"/>
                  </a:lnTo>
                  <a:lnTo>
                    <a:pt x="375" y="346"/>
                  </a:lnTo>
                  <a:lnTo>
                    <a:pt x="375" y="353"/>
                  </a:lnTo>
                  <a:lnTo>
                    <a:pt x="373" y="359"/>
                  </a:lnTo>
                  <a:lnTo>
                    <a:pt x="370" y="366"/>
                  </a:lnTo>
                  <a:lnTo>
                    <a:pt x="365" y="372"/>
                  </a:lnTo>
                  <a:lnTo>
                    <a:pt x="361" y="377"/>
                  </a:lnTo>
                  <a:lnTo>
                    <a:pt x="354" y="380"/>
                  </a:lnTo>
                  <a:lnTo>
                    <a:pt x="348" y="383"/>
                  </a:lnTo>
                  <a:lnTo>
                    <a:pt x="340" y="383"/>
                  </a:lnTo>
                  <a:lnTo>
                    <a:pt x="340" y="482"/>
                  </a:lnTo>
                  <a:lnTo>
                    <a:pt x="340" y="482"/>
                  </a:lnTo>
                  <a:lnTo>
                    <a:pt x="338" y="492"/>
                  </a:lnTo>
                  <a:lnTo>
                    <a:pt x="337" y="500"/>
                  </a:lnTo>
                  <a:lnTo>
                    <a:pt x="332" y="506"/>
                  </a:lnTo>
                  <a:lnTo>
                    <a:pt x="327" y="512"/>
                  </a:lnTo>
                  <a:lnTo>
                    <a:pt x="321" y="517"/>
                  </a:lnTo>
                  <a:lnTo>
                    <a:pt x="314" y="522"/>
                  </a:lnTo>
                  <a:lnTo>
                    <a:pt x="307" y="523"/>
                  </a:lnTo>
                  <a:lnTo>
                    <a:pt x="297" y="525"/>
                  </a:lnTo>
                  <a:lnTo>
                    <a:pt x="257" y="525"/>
                  </a:lnTo>
                  <a:lnTo>
                    <a:pt x="257" y="581"/>
                  </a:lnTo>
                  <a:lnTo>
                    <a:pt x="257" y="581"/>
                  </a:lnTo>
                  <a:lnTo>
                    <a:pt x="255" y="590"/>
                  </a:lnTo>
                  <a:lnTo>
                    <a:pt x="254" y="598"/>
                  </a:lnTo>
                  <a:lnTo>
                    <a:pt x="249" y="605"/>
                  </a:lnTo>
                  <a:lnTo>
                    <a:pt x="244" y="611"/>
                  </a:lnTo>
                  <a:lnTo>
                    <a:pt x="238" y="616"/>
                  </a:lnTo>
                  <a:lnTo>
                    <a:pt x="232" y="621"/>
                  </a:lnTo>
                  <a:lnTo>
                    <a:pt x="224" y="622"/>
                  </a:lnTo>
                  <a:lnTo>
                    <a:pt x="214" y="624"/>
                  </a:lnTo>
                  <a:lnTo>
                    <a:pt x="125" y="624"/>
                  </a:lnTo>
                  <a:lnTo>
                    <a:pt x="125" y="624"/>
                  </a:lnTo>
                  <a:lnTo>
                    <a:pt x="117" y="622"/>
                  </a:lnTo>
                  <a:lnTo>
                    <a:pt x="109" y="621"/>
                  </a:lnTo>
                  <a:lnTo>
                    <a:pt x="102" y="616"/>
                  </a:lnTo>
                  <a:lnTo>
                    <a:pt x="96" y="611"/>
                  </a:lnTo>
                  <a:lnTo>
                    <a:pt x="90" y="605"/>
                  </a:lnTo>
                  <a:lnTo>
                    <a:pt x="86" y="598"/>
                  </a:lnTo>
                  <a:lnTo>
                    <a:pt x="83" y="590"/>
                  </a:lnTo>
                  <a:lnTo>
                    <a:pt x="83" y="581"/>
                  </a:lnTo>
                  <a:lnTo>
                    <a:pt x="83" y="525"/>
                  </a:lnTo>
                  <a:lnTo>
                    <a:pt x="42" y="525"/>
                  </a:lnTo>
                  <a:lnTo>
                    <a:pt x="42" y="525"/>
                  </a:lnTo>
                  <a:lnTo>
                    <a:pt x="34" y="523"/>
                  </a:lnTo>
                  <a:lnTo>
                    <a:pt x="26" y="522"/>
                  </a:lnTo>
                  <a:lnTo>
                    <a:pt x="18" y="517"/>
                  </a:lnTo>
                  <a:lnTo>
                    <a:pt x="13" y="512"/>
                  </a:lnTo>
                  <a:lnTo>
                    <a:pt x="7" y="506"/>
                  </a:lnTo>
                  <a:lnTo>
                    <a:pt x="4" y="500"/>
                  </a:lnTo>
                  <a:lnTo>
                    <a:pt x="0" y="492"/>
                  </a:lnTo>
                  <a:lnTo>
                    <a:pt x="0" y="482"/>
                  </a:lnTo>
                  <a:lnTo>
                    <a:pt x="0" y="142"/>
                  </a:lnTo>
                  <a:lnTo>
                    <a:pt x="0" y="142"/>
                  </a:lnTo>
                  <a:lnTo>
                    <a:pt x="0" y="134"/>
                  </a:lnTo>
                  <a:lnTo>
                    <a:pt x="4" y="126"/>
                  </a:lnTo>
                  <a:lnTo>
                    <a:pt x="7" y="118"/>
                  </a:lnTo>
                  <a:lnTo>
                    <a:pt x="13" y="112"/>
                  </a:lnTo>
                  <a:lnTo>
                    <a:pt x="18" y="107"/>
                  </a:lnTo>
                  <a:lnTo>
                    <a:pt x="26" y="103"/>
                  </a:lnTo>
                  <a:lnTo>
                    <a:pt x="34" y="101"/>
                  </a:lnTo>
                  <a:lnTo>
                    <a:pt x="42" y="99"/>
                  </a:lnTo>
                  <a:lnTo>
                    <a:pt x="83" y="99"/>
                  </a:lnTo>
                  <a:lnTo>
                    <a:pt x="83" y="44"/>
                  </a:lnTo>
                  <a:lnTo>
                    <a:pt x="83" y="44"/>
                  </a:lnTo>
                  <a:lnTo>
                    <a:pt x="83" y="36"/>
                  </a:lnTo>
                  <a:lnTo>
                    <a:pt x="86" y="28"/>
                  </a:lnTo>
                  <a:lnTo>
                    <a:pt x="90" y="20"/>
                  </a:lnTo>
                  <a:lnTo>
                    <a:pt x="96" y="13"/>
                  </a:lnTo>
                  <a:lnTo>
                    <a:pt x="102" y="8"/>
                  </a:lnTo>
                  <a:lnTo>
                    <a:pt x="109" y="4"/>
                  </a:lnTo>
                  <a:lnTo>
                    <a:pt x="117" y="2"/>
                  </a:lnTo>
                  <a:lnTo>
                    <a:pt x="125" y="0"/>
                  </a:lnTo>
                  <a:lnTo>
                    <a:pt x="214" y="0"/>
                  </a:lnTo>
                  <a:lnTo>
                    <a:pt x="214" y="0"/>
                  </a:lnTo>
                  <a:lnTo>
                    <a:pt x="224" y="2"/>
                  </a:lnTo>
                  <a:lnTo>
                    <a:pt x="232" y="4"/>
                  </a:lnTo>
                  <a:lnTo>
                    <a:pt x="238" y="8"/>
                  </a:lnTo>
                  <a:lnTo>
                    <a:pt x="244" y="13"/>
                  </a:lnTo>
                  <a:lnTo>
                    <a:pt x="249" y="20"/>
                  </a:lnTo>
                  <a:lnTo>
                    <a:pt x="254" y="28"/>
                  </a:lnTo>
                  <a:lnTo>
                    <a:pt x="255" y="36"/>
                  </a:lnTo>
                  <a:lnTo>
                    <a:pt x="257" y="44"/>
                  </a:lnTo>
                  <a:lnTo>
                    <a:pt x="257" y="99"/>
                  </a:lnTo>
                  <a:lnTo>
                    <a:pt x="297" y="99"/>
                  </a:lnTo>
                  <a:lnTo>
                    <a:pt x="297" y="99"/>
                  </a:lnTo>
                  <a:lnTo>
                    <a:pt x="307" y="101"/>
                  </a:lnTo>
                  <a:lnTo>
                    <a:pt x="314" y="103"/>
                  </a:lnTo>
                  <a:lnTo>
                    <a:pt x="321" y="107"/>
                  </a:lnTo>
                  <a:lnTo>
                    <a:pt x="327" y="112"/>
                  </a:lnTo>
                  <a:lnTo>
                    <a:pt x="332" y="118"/>
                  </a:lnTo>
                  <a:lnTo>
                    <a:pt x="337" y="126"/>
                  </a:lnTo>
                  <a:lnTo>
                    <a:pt x="338" y="134"/>
                  </a:lnTo>
                  <a:lnTo>
                    <a:pt x="340" y="142"/>
                  </a:lnTo>
                  <a:lnTo>
                    <a:pt x="340" y="241"/>
                  </a:lnTo>
                  <a:lnTo>
                    <a:pt x="340" y="241"/>
                  </a:lnTo>
                  <a:lnTo>
                    <a:pt x="348" y="243"/>
                  </a:lnTo>
                  <a:lnTo>
                    <a:pt x="354" y="244"/>
                  </a:lnTo>
                  <a:lnTo>
                    <a:pt x="361" y="248"/>
                  </a:lnTo>
                  <a:lnTo>
                    <a:pt x="365" y="252"/>
                  </a:lnTo>
                  <a:lnTo>
                    <a:pt x="370" y="259"/>
                  </a:lnTo>
                  <a:lnTo>
                    <a:pt x="373" y="265"/>
                  </a:lnTo>
                  <a:lnTo>
                    <a:pt x="375" y="272"/>
                  </a:lnTo>
                  <a:lnTo>
                    <a:pt x="375" y="279"/>
                  </a:lnTo>
                  <a:lnTo>
                    <a:pt x="375" y="279"/>
                  </a:lnTo>
                  <a:close/>
                  <a:moveTo>
                    <a:pt x="275" y="171"/>
                  </a:moveTo>
                  <a:lnTo>
                    <a:pt x="66" y="171"/>
                  </a:lnTo>
                  <a:lnTo>
                    <a:pt x="66" y="453"/>
                  </a:lnTo>
                  <a:lnTo>
                    <a:pt x="275" y="453"/>
                  </a:lnTo>
                  <a:lnTo>
                    <a:pt x="275" y="171"/>
                  </a:lnTo>
                  <a:close/>
                </a:path>
              </a:pathLst>
            </a:custGeom>
            <a:solidFill>
              <a:srgbClr val="F04C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>
                <a:latin typeface="CiscoSans" pitchFamily="34" charset="0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6624463" y="1247764"/>
            <a:ext cx="1591856" cy="710815"/>
            <a:chOff x="6426440" y="1508018"/>
            <a:chExt cx="1657495" cy="774526"/>
          </a:xfrm>
        </p:grpSpPr>
        <p:grpSp>
          <p:nvGrpSpPr>
            <p:cNvPr id="46" name="Group 45"/>
            <p:cNvGrpSpPr>
              <a:grpSpLocks noChangeAspect="1"/>
            </p:cNvGrpSpPr>
            <p:nvPr/>
          </p:nvGrpSpPr>
          <p:grpSpPr>
            <a:xfrm>
              <a:off x="6426440" y="1508018"/>
              <a:ext cx="774526" cy="774526"/>
              <a:chOff x="5938818" y="2083461"/>
              <a:chExt cx="647980" cy="647980"/>
            </a:xfrm>
          </p:grpSpPr>
          <p:sp>
            <p:nvSpPr>
              <p:cNvPr id="47" name="Oval 705"/>
              <p:cNvSpPr>
                <a:spLocks noChangeArrowheads="1"/>
              </p:cNvSpPr>
              <p:nvPr/>
            </p:nvSpPr>
            <p:spPr bwMode="auto">
              <a:xfrm>
                <a:off x="5938818" y="2083461"/>
                <a:ext cx="647980" cy="647980"/>
              </a:xfrm>
              <a:prstGeom prst="ellipse">
                <a:avLst/>
              </a:prstGeom>
              <a:solidFill>
                <a:srgbClr val="005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48" name="Freeform 706"/>
              <p:cNvSpPr>
                <a:spLocks/>
              </p:cNvSpPr>
              <p:nvPr/>
            </p:nvSpPr>
            <p:spPr bwMode="auto">
              <a:xfrm>
                <a:off x="6132812" y="2437450"/>
                <a:ext cx="443986" cy="293991"/>
              </a:xfrm>
              <a:custGeom>
                <a:avLst/>
                <a:gdLst>
                  <a:gd name="T0" fmla="*/ 170 w 188"/>
                  <a:gd name="T1" fmla="*/ 0 h 124"/>
                  <a:gd name="T2" fmla="*/ 170 w 188"/>
                  <a:gd name="T3" fmla="*/ 2 h 124"/>
                  <a:gd name="T4" fmla="*/ 168 w 188"/>
                  <a:gd name="T5" fmla="*/ 8 h 124"/>
                  <a:gd name="T6" fmla="*/ 161 w 188"/>
                  <a:gd name="T7" fmla="*/ 12 h 124"/>
                  <a:gd name="T8" fmla="*/ 154 w 188"/>
                  <a:gd name="T9" fmla="*/ 9 h 124"/>
                  <a:gd name="T10" fmla="*/ 149 w 188"/>
                  <a:gd name="T11" fmla="*/ 4 h 124"/>
                  <a:gd name="T12" fmla="*/ 131 w 188"/>
                  <a:gd name="T13" fmla="*/ 51 h 124"/>
                  <a:gd name="T14" fmla="*/ 68 w 188"/>
                  <a:gd name="T15" fmla="*/ 88 h 124"/>
                  <a:gd name="T16" fmla="*/ 55 w 188"/>
                  <a:gd name="T17" fmla="*/ 89 h 124"/>
                  <a:gd name="T18" fmla="*/ 0 w 188"/>
                  <a:gd name="T19" fmla="*/ 72 h 124"/>
                  <a:gd name="T20" fmla="*/ 54 w 188"/>
                  <a:gd name="T21" fmla="*/ 124 h 124"/>
                  <a:gd name="T22" fmla="*/ 55 w 188"/>
                  <a:gd name="T23" fmla="*/ 124 h 124"/>
                  <a:gd name="T24" fmla="*/ 188 w 188"/>
                  <a:gd name="T25" fmla="*/ 18 h 124"/>
                  <a:gd name="T26" fmla="*/ 170 w 188"/>
                  <a:gd name="T27" fmla="*/ 0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88" h="124">
                    <a:moveTo>
                      <a:pt x="170" y="0"/>
                    </a:moveTo>
                    <a:cubicBezTo>
                      <a:pt x="170" y="0"/>
                      <a:pt x="170" y="1"/>
                      <a:pt x="170" y="2"/>
                    </a:cubicBezTo>
                    <a:cubicBezTo>
                      <a:pt x="170" y="4"/>
                      <a:pt x="170" y="7"/>
                      <a:pt x="168" y="8"/>
                    </a:cubicBezTo>
                    <a:cubicBezTo>
                      <a:pt x="166" y="10"/>
                      <a:pt x="164" y="12"/>
                      <a:pt x="161" y="12"/>
                    </a:cubicBezTo>
                    <a:cubicBezTo>
                      <a:pt x="158" y="12"/>
                      <a:pt x="156" y="11"/>
                      <a:pt x="154" y="9"/>
                    </a:cubicBezTo>
                    <a:cubicBezTo>
                      <a:pt x="149" y="4"/>
                      <a:pt x="149" y="4"/>
                      <a:pt x="149" y="4"/>
                    </a:cubicBezTo>
                    <a:cubicBezTo>
                      <a:pt x="148" y="21"/>
                      <a:pt x="141" y="38"/>
                      <a:pt x="131" y="51"/>
                    </a:cubicBezTo>
                    <a:cubicBezTo>
                      <a:pt x="116" y="72"/>
                      <a:pt x="93" y="85"/>
                      <a:pt x="68" y="88"/>
                    </a:cubicBezTo>
                    <a:cubicBezTo>
                      <a:pt x="64" y="89"/>
                      <a:pt x="60" y="89"/>
                      <a:pt x="55" y="89"/>
                    </a:cubicBezTo>
                    <a:cubicBezTo>
                      <a:pt x="35" y="89"/>
                      <a:pt x="16" y="83"/>
                      <a:pt x="0" y="72"/>
                    </a:cubicBezTo>
                    <a:cubicBezTo>
                      <a:pt x="54" y="124"/>
                      <a:pt x="54" y="124"/>
                      <a:pt x="54" y="124"/>
                    </a:cubicBezTo>
                    <a:cubicBezTo>
                      <a:pt x="54" y="124"/>
                      <a:pt x="55" y="124"/>
                      <a:pt x="55" y="124"/>
                    </a:cubicBezTo>
                    <a:cubicBezTo>
                      <a:pt x="120" y="124"/>
                      <a:pt x="175" y="79"/>
                      <a:pt x="188" y="18"/>
                    </a:cubicBezTo>
                    <a:cubicBezTo>
                      <a:pt x="170" y="0"/>
                      <a:pt x="170" y="0"/>
                      <a:pt x="170" y="0"/>
                    </a:cubicBezTo>
                  </a:path>
                </a:pathLst>
              </a:custGeom>
              <a:solidFill>
                <a:srgbClr val="003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49" name="Freeform 707"/>
              <p:cNvSpPr>
                <a:spLocks/>
              </p:cNvSpPr>
              <p:nvPr/>
            </p:nvSpPr>
            <p:spPr bwMode="auto">
              <a:xfrm>
                <a:off x="5987816" y="2156459"/>
                <a:ext cx="484985" cy="283991"/>
              </a:xfrm>
              <a:custGeom>
                <a:avLst/>
                <a:gdLst>
                  <a:gd name="T0" fmla="*/ 25 w 205"/>
                  <a:gd name="T1" fmla="*/ 119 h 120"/>
                  <a:gd name="T2" fmla="*/ 25 w 205"/>
                  <a:gd name="T3" fmla="*/ 119 h 120"/>
                  <a:gd name="T4" fmla="*/ 26 w 205"/>
                  <a:gd name="T5" fmla="*/ 119 h 120"/>
                  <a:gd name="T6" fmla="*/ 26 w 205"/>
                  <a:gd name="T7" fmla="*/ 119 h 120"/>
                  <a:gd name="T8" fmla="*/ 27 w 205"/>
                  <a:gd name="T9" fmla="*/ 119 h 120"/>
                  <a:gd name="T10" fmla="*/ 27 w 205"/>
                  <a:gd name="T11" fmla="*/ 120 h 120"/>
                  <a:gd name="T12" fmla="*/ 27 w 205"/>
                  <a:gd name="T13" fmla="*/ 120 h 120"/>
                  <a:gd name="T14" fmla="*/ 27 w 205"/>
                  <a:gd name="T15" fmla="*/ 120 h 120"/>
                  <a:gd name="T16" fmla="*/ 28 w 205"/>
                  <a:gd name="T17" fmla="*/ 120 h 120"/>
                  <a:gd name="T18" fmla="*/ 28 w 205"/>
                  <a:gd name="T19" fmla="*/ 120 h 120"/>
                  <a:gd name="T20" fmla="*/ 28 w 205"/>
                  <a:gd name="T21" fmla="*/ 120 h 120"/>
                  <a:gd name="T22" fmla="*/ 28 w 205"/>
                  <a:gd name="T23" fmla="*/ 120 h 120"/>
                  <a:gd name="T24" fmla="*/ 30 w 205"/>
                  <a:gd name="T25" fmla="*/ 120 h 120"/>
                  <a:gd name="T26" fmla="*/ 30 w 205"/>
                  <a:gd name="T27" fmla="*/ 120 h 120"/>
                  <a:gd name="T28" fmla="*/ 31 w 205"/>
                  <a:gd name="T29" fmla="*/ 120 h 120"/>
                  <a:gd name="T30" fmla="*/ 31 w 205"/>
                  <a:gd name="T31" fmla="*/ 120 h 120"/>
                  <a:gd name="T32" fmla="*/ 32 w 205"/>
                  <a:gd name="T33" fmla="*/ 120 h 120"/>
                  <a:gd name="T34" fmla="*/ 32 w 205"/>
                  <a:gd name="T35" fmla="*/ 120 h 120"/>
                  <a:gd name="T36" fmla="*/ 32 w 205"/>
                  <a:gd name="T37" fmla="*/ 120 h 120"/>
                  <a:gd name="T38" fmla="*/ 33 w 205"/>
                  <a:gd name="T39" fmla="*/ 120 h 120"/>
                  <a:gd name="T40" fmla="*/ 33 w 205"/>
                  <a:gd name="T41" fmla="*/ 120 h 120"/>
                  <a:gd name="T42" fmla="*/ 33 w 205"/>
                  <a:gd name="T43" fmla="*/ 120 h 120"/>
                  <a:gd name="T44" fmla="*/ 34 w 205"/>
                  <a:gd name="T45" fmla="*/ 119 h 120"/>
                  <a:gd name="T46" fmla="*/ 34 w 205"/>
                  <a:gd name="T47" fmla="*/ 119 h 120"/>
                  <a:gd name="T48" fmla="*/ 34 w 205"/>
                  <a:gd name="T49" fmla="*/ 119 h 120"/>
                  <a:gd name="T50" fmla="*/ 35 w 205"/>
                  <a:gd name="T51" fmla="*/ 119 h 120"/>
                  <a:gd name="T52" fmla="*/ 35 w 205"/>
                  <a:gd name="T53" fmla="*/ 119 h 120"/>
                  <a:gd name="T54" fmla="*/ 36 w 205"/>
                  <a:gd name="T55" fmla="*/ 118 h 120"/>
                  <a:gd name="T56" fmla="*/ 36 w 205"/>
                  <a:gd name="T57" fmla="*/ 118 h 120"/>
                  <a:gd name="T58" fmla="*/ 36 w 205"/>
                  <a:gd name="T59" fmla="*/ 118 h 120"/>
                  <a:gd name="T60" fmla="*/ 36 w 205"/>
                  <a:gd name="T61" fmla="*/ 118 h 120"/>
                  <a:gd name="T62" fmla="*/ 57 w 205"/>
                  <a:gd name="T63" fmla="*/ 97 h 120"/>
                  <a:gd name="T64" fmla="*/ 57 w 205"/>
                  <a:gd name="T65" fmla="*/ 85 h 120"/>
                  <a:gd name="T66" fmla="*/ 45 w 205"/>
                  <a:gd name="T67" fmla="*/ 85 h 120"/>
                  <a:gd name="T68" fmla="*/ 39 w 205"/>
                  <a:gd name="T69" fmla="*/ 90 h 120"/>
                  <a:gd name="T70" fmla="*/ 53 w 205"/>
                  <a:gd name="T71" fmla="*/ 53 h 120"/>
                  <a:gd name="T72" fmla="*/ 104 w 205"/>
                  <a:gd name="T73" fmla="*/ 24 h 120"/>
                  <a:gd name="T74" fmla="*/ 186 w 205"/>
                  <a:gd name="T75" fmla="*/ 74 h 120"/>
                  <a:gd name="T76" fmla="*/ 198 w 205"/>
                  <a:gd name="T77" fmla="*/ 79 h 120"/>
                  <a:gd name="T78" fmla="*/ 203 w 205"/>
                  <a:gd name="T79" fmla="*/ 68 h 120"/>
                  <a:gd name="T80" fmla="*/ 101 w 205"/>
                  <a:gd name="T81" fmla="*/ 6 h 120"/>
                  <a:gd name="T82" fmla="*/ 39 w 205"/>
                  <a:gd name="T83" fmla="*/ 43 h 120"/>
                  <a:gd name="T84" fmla="*/ 21 w 205"/>
                  <a:gd name="T85" fmla="*/ 89 h 120"/>
                  <a:gd name="T86" fmla="*/ 16 w 205"/>
                  <a:gd name="T87" fmla="*/ 84 h 120"/>
                  <a:gd name="T88" fmla="*/ 3 w 205"/>
                  <a:gd name="T89" fmla="*/ 84 h 120"/>
                  <a:gd name="T90" fmla="*/ 3 w 205"/>
                  <a:gd name="T91" fmla="*/ 97 h 120"/>
                  <a:gd name="T92" fmla="*/ 24 w 205"/>
                  <a:gd name="T93" fmla="*/ 117 h 120"/>
                  <a:gd name="T94" fmla="*/ 24 w 205"/>
                  <a:gd name="T95" fmla="*/ 118 h 120"/>
                  <a:gd name="T96" fmla="*/ 25 w 205"/>
                  <a:gd name="T97" fmla="*/ 118 h 120"/>
                  <a:gd name="T98" fmla="*/ 25 w 205"/>
                  <a:gd name="T99" fmla="*/ 119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05" h="120">
                    <a:moveTo>
                      <a:pt x="25" y="119"/>
                    </a:moveTo>
                    <a:cubicBezTo>
                      <a:pt x="25" y="119"/>
                      <a:pt x="25" y="119"/>
                      <a:pt x="25" y="119"/>
                    </a:cubicBezTo>
                    <a:cubicBezTo>
                      <a:pt x="26" y="119"/>
                      <a:pt x="26" y="119"/>
                      <a:pt x="26" y="119"/>
                    </a:cubicBezTo>
                    <a:cubicBezTo>
                      <a:pt x="26" y="119"/>
                      <a:pt x="26" y="119"/>
                      <a:pt x="26" y="119"/>
                    </a:cubicBezTo>
                    <a:cubicBezTo>
                      <a:pt x="27" y="119"/>
                      <a:pt x="27" y="119"/>
                      <a:pt x="27" y="119"/>
                    </a:cubicBezTo>
                    <a:cubicBezTo>
                      <a:pt x="27" y="120"/>
                      <a:pt x="27" y="120"/>
                      <a:pt x="27" y="120"/>
                    </a:cubicBezTo>
                    <a:cubicBezTo>
                      <a:pt x="27" y="120"/>
                      <a:pt x="27" y="120"/>
                      <a:pt x="27" y="120"/>
                    </a:cubicBezTo>
                    <a:cubicBezTo>
                      <a:pt x="27" y="120"/>
                      <a:pt x="27" y="120"/>
                      <a:pt x="27" y="120"/>
                    </a:cubicBezTo>
                    <a:cubicBezTo>
                      <a:pt x="28" y="120"/>
                      <a:pt x="28" y="120"/>
                      <a:pt x="28" y="120"/>
                    </a:cubicBezTo>
                    <a:cubicBezTo>
                      <a:pt x="28" y="120"/>
                      <a:pt x="28" y="120"/>
                      <a:pt x="28" y="120"/>
                    </a:cubicBezTo>
                    <a:cubicBezTo>
                      <a:pt x="28" y="120"/>
                      <a:pt x="28" y="120"/>
                      <a:pt x="28" y="120"/>
                    </a:cubicBezTo>
                    <a:cubicBezTo>
                      <a:pt x="28" y="120"/>
                      <a:pt x="28" y="120"/>
                      <a:pt x="28" y="120"/>
                    </a:cubicBezTo>
                    <a:cubicBezTo>
                      <a:pt x="29" y="120"/>
                      <a:pt x="30" y="120"/>
                      <a:pt x="30" y="120"/>
                    </a:cubicBezTo>
                    <a:cubicBezTo>
                      <a:pt x="30" y="120"/>
                      <a:pt x="30" y="120"/>
                      <a:pt x="30" y="120"/>
                    </a:cubicBezTo>
                    <a:cubicBezTo>
                      <a:pt x="30" y="120"/>
                      <a:pt x="31" y="120"/>
                      <a:pt x="31" y="120"/>
                    </a:cubicBezTo>
                    <a:cubicBezTo>
                      <a:pt x="31" y="120"/>
                      <a:pt x="31" y="120"/>
                      <a:pt x="31" y="120"/>
                    </a:cubicBezTo>
                    <a:cubicBezTo>
                      <a:pt x="32" y="120"/>
                      <a:pt x="32" y="120"/>
                      <a:pt x="32" y="120"/>
                    </a:cubicBezTo>
                    <a:cubicBezTo>
                      <a:pt x="32" y="120"/>
                      <a:pt x="32" y="120"/>
                      <a:pt x="32" y="120"/>
                    </a:cubicBezTo>
                    <a:cubicBezTo>
                      <a:pt x="32" y="120"/>
                      <a:pt x="32" y="120"/>
                      <a:pt x="32" y="120"/>
                    </a:cubicBezTo>
                    <a:cubicBezTo>
                      <a:pt x="33" y="120"/>
                      <a:pt x="33" y="120"/>
                      <a:pt x="33" y="120"/>
                    </a:cubicBezTo>
                    <a:cubicBezTo>
                      <a:pt x="33" y="120"/>
                      <a:pt x="33" y="120"/>
                      <a:pt x="33" y="120"/>
                    </a:cubicBezTo>
                    <a:cubicBezTo>
                      <a:pt x="33" y="120"/>
                      <a:pt x="33" y="120"/>
                      <a:pt x="33" y="120"/>
                    </a:cubicBezTo>
                    <a:cubicBezTo>
                      <a:pt x="34" y="119"/>
                      <a:pt x="34" y="119"/>
                      <a:pt x="34" y="119"/>
                    </a:cubicBezTo>
                    <a:cubicBezTo>
                      <a:pt x="34" y="119"/>
                      <a:pt x="34" y="119"/>
                      <a:pt x="34" y="119"/>
                    </a:cubicBezTo>
                    <a:cubicBezTo>
                      <a:pt x="34" y="119"/>
                      <a:pt x="34" y="119"/>
                      <a:pt x="34" y="119"/>
                    </a:cubicBezTo>
                    <a:cubicBezTo>
                      <a:pt x="35" y="119"/>
                      <a:pt x="35" y="119"/>
                      <a:pt x="35" y="119"/>
                    </a:cubicBezTo>
                    <a:cubicBezTo>
                      <a:pt x="35" y="119"/>
                      <a:pt x="35" y="119"/>
                      <a:pt x="35" y="119"/>
                    </a:cubicBezTo>
                    <a:cubicBezTo>
                      <a:pt x="36" y="118"/>
                      <a:pt x="36" y="118"/>
                      <a:pt x="36" y="118"/>
                    </a:cubicBezTo>
                    <a:cubicBezTo>
                      <a:pt x="36" y="118"/>
                      <a:pt x="36" y="118"/>
                      <a:pt x="36" y="118"/>
                    </a:cubicBezTo>
                    <a:cubicBezTo>
                      <a:pt x="36" y="118"/>
                      <a:pt x="36" y="118"/>
                      <a:pt x="36" y="118"/>
                    </a:cubicBezTo>
                    <a:cubicBezTo>
                      <a:pt x="36" y="118"/>
                      <a:pt x="36" y="118"/>
                      <a:pt x="36" y="118"/>
                    </a:cubicBezTo>
                    <a:cubicBezTo>
                      <a:pt x="57" y="97"/>
                      <a:pt x="57" y="97"/>
                      <a:pt x="57" y="97"/>
                    </a:cubicBezTo>
                    <a:cubicBezTo>
                      <a:pt x="61" y="94"/>
                      <a:pt x="61" y="88"/>
                      <a:pt x="57" y="85"/>
                    </a:cubicBezTo>
                    <a:cubicBezTo>
                      <a:pt x="54" y="81"/>
                      <a:pt x="48" y="81"/>
                      <a:pt x="45" y="85"/>
                    </a:cubicBezTo>
                    <a:cubicBezTo>
                      <a:pt x="39" y="90"/>
                      <a:pt x="39" y="90"/>
                      <a:pt x="39" y="90"/>
                    </a:cubicBezTo>
                    <a:cubicBezTo>
                      <a:pt x="40" y="77"/>
                      <a:pt x="45" y="64"/>
                      <a:pt x="53" y="53"/>
                    </a:cubicBezTo>
                    <a:cubicBezTo>
                      <a:pt x="66" y="37"/>
                      <a:pt x="84" y="27"/>
                      <a:pt x="104" y="24"/>
                    </a:cubicBezTo>
                    <a:cubicBezTo>
                      <a:pt x="139" y="19"/>
                      <a:pt x="174" y="40"/>
                      <a:pt x="186" y="74"/>
                    </a:cubicBezTo>
                    <a:cubicBezTo>
                      <a:pt x="188" y="78"/>
                      <a:pt x="193" y="81"/>
                      <a:pt x="198" y="79"/>
                    </a:cubicBezTo>
                    <a:cubicBezTo>
                      <a:pt x="202" y="77"/>
                      <a:pt x="205" y="72"/>
                      <a:pt x="203" y="68"/>
                    </a:cubicBezTo>
                    <a:cubicBezTo>
                      <a:pt x="188" y="26"/>
                      <a:pt x="145" y="0"/>
                      <a:pt x="101" y="6"/>
                    </a:cubicBezTo>
                    <a:cubicBezTo>
                      <a:pt x="76" y="10"/>
                      <a:pt x="54" y="23"/>
                      <a:pt x="39" y="43"/>
                    </a:cubicBezTo>
                    <a:cubicBezTo>
                      <a:pt x="29" y="57"/>
                      <a:pt x="23" y="73"/>
                      <a:pt x="21" y="89"/>
                    </a:cubicBezTo>
                    <a:cubicBezTo>
                      <a:pt x="16" y="84"/>
                      <a:pt x="16" y="84"/>
                      <a:pt x="16" y="84"/>
                    </a:cubicBezTo>
                    <a:cubicBezTo>
                      <a:pt x="13" y="81"/>
                      <a:pt x="7" y="81"/>
                      <a:pt x="3" y="84"/>
                    </a:cubicBezTo>
                    <a:cubicBezTo>
                      <a:pt x="0" y="88"/>
                      <a:pt x="0" y="93"/>
                      <a:pt x="3" y="97"/>
                    </a:cubicBezTo>
                    <a:cubicBezTo>
                      <a:pt x="24" y="117"/>
                      <a:pt x="24" y="117"/>
                      <a:pt x="24" y="117"/>
                    </a:cubicBezTo>
                    <a:cubicBezTo>
                      <a:pt x="24" y="118"/>
                      <a:pt x="24" y="118"/>
                      <a:pt x="24" y="118"/>
                    </a:cubicBezTo>
                    <a:cubicBezTo>
                      <a:pt x="25" y="118"/>
                      <a:pt x="25" y="118"/>
                      <a:pt x="25" y="118"/>
                    </a:cubicBezTo>
                    <a:cubicBezTo>
                      <a:pt x="25" y="119"/>
                      <a:pt x="25" y="119"/>
                      <a:pt x="25" y="11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50" name="Freeform 708"/>
              <p:cNvSpPr>
                <a:spLocks noEditPoints="1"/>
              </p:cNvSpPr>
              <p:nvPr/>
            </p:nvSpPr>
            <p:spPr bwMode="auto">
              <a:xfrm>
                <a:off x="5987816" y="2154459"/>
                <a:ext cx="484985" cy="287991"/>
              </a:xfrm>
              <a:custGeom>
                <a:avLst/>
                <a:gdLst>
                  <a:gd name="T0" fmla="*/ 28 w 205"/>
                  <a:gd name="T1" fmla="*/ 122 h 122"/>
                  <a:gd name="T2" fmla="*/ 27 w 205"/>
                  <a:gd name="T3" fmla="*/ 121 h 122"/>
                  <a:gd name="T4" fmla="*/ 27 w 205"/>
                  <a:gd name="T5" fmla="*/ 121 h 122"/>
                  <a:gd name="T6" fmla="*/ 26 w 205"/>
                  <a:gd name="T7" fmla="*/ 121 h 122"/>
                  <a:gd name="T8" fmla="*/ 25 w 205"/>
                  <a:gd name="T9" fmla="*/ 120 h 122"/>
                  <a:gd name="T10" fmla="*/ 24 w 205"/>
                  <a:gd name="T11" fmla="*/ 120 h 122"/>
                  <a:gd name="T12" fmla="*/ 23 w 205"/>
                  <a:gd name="T13" fmla="*/ 119 h 122"/>
                  <a:gd name="T14" fmla="*/ 0 w 205"/>
                  <a:gd name="T15" fmla="*/ 92 h 122"/>
                  <a:gd name="T16" fmla="*/ 10 w 205"/>
                  <a:gd name="T17" fmla="*/ 82 h 122"/>
                  <a:gd name="T18" fmla="*/ 20 w 205"/>
                  <a:gd name="T19" fmla="*/ 89 h 122"/>
                  <a:gd name="T20" fmla="*/ 101 w 205"/>
                  <a:gd name="T21" fmla="*/ 7 h 122"/>
                  <a:gd name="T22" fmla="*/ 198 w 205"/>
                  <a:gd name="T23" fmla="*/ 81 h 122"/>
                  <a:gd name="T24" fmla="*/ 186 w 205"/>
                  <a:gd name="T25" fmla="*/ 75 h 122"/>
                  <a:gd name="T26" fmla="*/ 54 w 205"/>
                  <a:gd name="T27" fmla="*/ 55 h 122"/>
                  <a:gd name="T28" fmla="*/ 44 w 205"/>
                  <a:gd name="T29" fmla="*/ 85 h 122"/>
                  <a:gd name="T30" fmla="*/ 51 w 205"/>
                  <a:gd name="T31" fmla="*/ 82 h 122"/>
                  <a:gd name="T32" fmla="*/ 58 w 205"/>
                  <a:gd name="T33" fmla="*/ 99 h 122"/>
                  <a:gd name="T34" fmla="*/ 36 w 205"/>
                  <a:gd name="T35" fmla="*/ 120 h 122"/>
                  <a:gd name="T36" fmla="*/ 36 w 205"/>
                  <a:gd name="T37" fmla="*/ 120 h 122"/>
                  <a:gd name="T38" fmla="*/ 35 w 205"/>
                  <a:gd name="T39" fmla="*/ 121 h 122"/>
                  <a:gd name="T40" fmla="*/ 34 w 205"/>
                  <a:gd name="T41" fmla="*/ 121 h 122"/>
                  <a:gd name="T42" fmla="*/ 33 w 205"/>
                  <a:gd name="T43" fmla="*/ 121 h 122"/>
                  <a:gd name="T44" fmla="*/ 33 w 205"/>
                  <a:gd name="T45" fmla="*/ 121 h 122"/>
                  <a:gd name="T46" fmla="*/ 32 w 205"/>
                  <a:gd name="T47" fmla="*/ 122 h 122"/>
                  <a:gd name="T48" fmla="*/ 30 w 205"/>
                  <a:gd name="T49" fmla="*/ 122 h 122"/>
                  <a:gd name="T50" fmla="*/ 28 w 205"/>
                  <a:gd name="T51" fmla="*/ 120 h 122"/>
                  <a:gd name="T52" fmla="*/ 29 w 205"/>
                  <a:gd name="T53" fmla="*/ 120 h 122"/>
                  <a:gd name="T54" fmla="*/ 31 w 205"/>
                  <a:gd name="T55" fmla="*/ 120 h 122"/>
                  <a:gd name="T56" fmla="*/ 32 w 205"/>
                  <a:gd name="T57" fmla="*/ 120 h 122"/>
                  <a:gd name="T58" fmla="*/ 33 w 205"/>
                  <a:gd name="T59" fmla="*/ 120 h 122"/>
                  <a:gd name="T60" fmla="*/ 33 w 205"/>
                  <a:gd name="T61" fmla="*/ 120 h 122"/>
                  <a:gd name="T62" fmla="*/ 34 w 205"/>
                  <a:gd name="T63" fmla="*/ 119 h 122"/>
                  <a:gd name="T64" fmla="*/ 35 w 205"/>
                  <a:gd name="T65" fmla="*/ 119 h 122"/>
                  <a:gd name="T66" fmla="*/ 35 w 205"/>
                  <a:gd name="T67" fmla="*/ 119 h 122"/>
                  <a:gd name="T68" fmla="*/ 36 w 205"/>
                  <a:gd name="T69" fmla="*/ 118 h 122"/>
                  <a:gd name="T70" fmla="*/ 57 w 205"/>
                  <a:gd name="T71" fmla="*/ 86 h 122"/>
                  <a:gd name="T72" fmla="*/ 51 w 205"/>
                  <a:gd name="T73" fmla="*/ 84 h 122"/>
                  <a:gd name="T74" fmla="*/ 38 w 205"/>
                  <a:gd name="T75" fmla="*/ 93 h 122"/>
                  <a:gd name="T76" fmla="*/ 53 w 205"/>
                  <a:gd name="T77" fmla="*/ 54 h 122"/>
                  <a:gd name="T78" fmla="*/ 187 w 205"/>
                  <a:gd name="T79" fmla="*/ 74 h 122"/>
                  <a:gd name="T80" fmla="*/ 198 w 205"/>
                  <a:gd name="T81" fmla="*/ 79 h 122"/>
                  <a:gd name="T82" fmla="*/ 101 w 205"/>
                  <a:gd name="T83" fmla="*/ 8 h 122"/>
                  <a:gd name="T84" fmla="*/ 21 w 205"/>
                  <a:gd name="T85" fmla="*/ 90 h 122"/>
                  <a:gd name="T86" fmla="*/ 16 w 205"/>
                  <a:gd name="T87" fmla="*/ 86 h 122"/>
                  <a:gd name="T88" fmla="*/ 10 w 205"/>
                  <a:gd name="T89" fmla="*/ 83 h 122"/>
                  <a:gd name="T90" fmla="*/ 1 w 205"/>
                  <a:gd name="T91" fmla="*/ 92 h 122"/>
                  <a:gd name="T92" fmla="*/ 24 w 205"/>
                  <a:gd name="T93" fmla="*/ 118 h 122"/>
                  <a:gd name="T94" fmla="*/ 25 w 205"/>
                  <a:gd name="T95" fmla="*/ 119 h 122"/>
                  <a:gd name="T96" fmla="*/ 25 w 205"/>
                  <a:gd name="T97" fmla="*/ 119 h 122"/>
                  <a:gd name="T98" fmla="*/ 26 w 205"/>
                  <a:gd name="T99" fmla="*/ 120 h 122"/>
                  <a:gd name="T100" fmla="*/ 27 w 205"/>
                  <a:gd name="T101" fmla="*/ 120 h 122"/>
                  <a:gd name="T102" fmla="*/ 28 w 205"/>
                  <a:gd name="T103" fmla="*/ 120 h 122"/>
                  <a:gd name="T104" fmla="*/ 28 w 205"/>
                  <a:gd name="T105" fmla="*/ 12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05" h="122">
                    <a:moveTo>
                      <a:pt x="30" y="122"/>
                    </a:moveTo>
                    <a:cubicBezTo>
                      <a:pt x="29" y="122"/>
                      <a:pt x="29" y="122"/>
                      <a:pt x="28" y="122"/>
                    </a:cubicBezTo>
                    <a:cubicBezTo>
                      <a:pt x="28" y="122"/>
                      <a:pt x="28" y="122"/>
                      <a:pt x="28" y="122"/>
                    </a:cubicBezTo>
                    <a:cubicBezTo>
                      <a:pt x="27" y="121"/>
                      <a:pt x="27" y="121"/>
                      <a:pt x="27" y="121"/>
                    </a:cubicBezTo>
                    <a:cubicBezTo>
                      <a:pt x="27" y="121"/>
                      <a:pt x="27" y="121"/>
                      <a:pt x="27" y="121"/>
                    </a:cubicBezTo>
                    <a:cubicBezTo>
                      <a:pt x="27" y="121"/>
                      <a:pt x="27" y="121"/>
                      <a:pt x="27" y="121"/>
                    </a:cubicBezTo>
                    <a:cubicBezTo>
                      <a:pt x="26" y="121"/>
                      <a:pt x="26" y="121"/>
                      <a:pt x="26" y="121"/>
                    </a:cubicBezTo>
                    <a:cubicBezTo>
                      <a:pt x="26" y="121"/>
                      <a:pt x="26" y="121"/>
                      <a:pt x="26" y="121"/>
                    </a:cubicBezTo>
                    <a:cubicBezTo>
                      <a:pt x="25" y="121"/>
                      <a:pt x="25" y="121"/>
                      <a:pt x="25" y="121"/>
                    </a:cubicBezTo>
                    <a:cubicBezTo>
                      <a:pt x="25" y="120"/>
                      <a:pt x="25" y="120"/>
                      <a:pt x="25" y="120"/>
                    </a:cubicBezTo>
                    <a:cubicBezTo>
                      <a:pt x="25" y="120"/>
                      <a:pt x="25" y="120"/>
                      <a:pt x="25" y="120"/>
                    </a:cubicBezTo>
                    <a:cubicBezTo>
                      <a:pt x="24" y="120"/>
                      <a:pt x="24" y="120"/>
                      <a:pt x="24" y="120"/>
                    </a:cubicBezTo>
                    <a:cubicBezTo>
                      <a:pt x="24" y="120"/>
                      <a:pt x="24" y="120"/>
                      <a:pt x="24" y="120"/>
                    </a:cubicBezTo>
                    <a:cubicBezTo>
                      <a:pt x="23" y="119"/>
                      <a:pt x="23" y="119"/>
                      <a:pt x="23" y="119"/>
                    </a:cubicBezTo>
                    <a:cubicBezTo>
                      <a:pt x="3" y="98"/>
                      <a:pt x="3" y="98"/>
                      <a:pt x="3" y="98"/>
                    </a:cubicBezTo>
                    <a:cubicBezTo>
                      <a:pt x="1" y="96"/>
                      <a:pt x="0" y="94"/>
                      <a:pt x="0" y="92"/>
                    </a:cubicBezTo>
                    <a:cubicBezTo>
                      <a:pt x="0" y="89"/>
                      <a:pt x="1" y="87"/>
                      <a:pt x="3" y="85"/>
                    </a:cubicBezTo>
                    <a:cubicBezTo>
                      <a:pt x="5" y="83"/>
                      <a:pt x="7" y="82"/>
                      <a:pt x="10" y="82"/>
                    </a:cubicBezTo>
                    <a:cubicBezTo>
                      <a:pt x="12" y="82"/>
                      <a:pt x="15" y="83"/>
                      <a:pt x="16" y="85"/>
                    </a:cubicBezTo>
                    <a:cubicBezTo>
                      <a:pt x="20" y="89"/>
                      <a:pt x="20" y="89"/>
                      <a:pt x="20" y="89"/>
                    </a:cubicBezTo>
                    <a:cubicBezTo>
                      <a:pt x="22" y="72"/>
                      <a:pt x="29" y="57"/>
                      <a:pt x="39" y="43"/>
                    </a:cubicBezTo>
                    <a:cubicBezTo>
                      <a:pt x="54" y="23"/>
                      <a:pt x="76" y="10"/>
                      <a:pt x="101" y="7"/>
                    </a:cubicBezTo>
                    <a:cubicBezTo>
                      <a:pt x="146" y="0"/>
                      <a:pt x="189" y="26"/>
                      <a:pt x="204" y="68"/>
                    </a:cubicBezTo>
                    <a:cubicBezTo>
                      <a:pt x="205" y="73"/>
                      <a:pt x="203" y="79"/>
                      <a:pt x="198" y="81"/>
                    </a:cubicBezTo>
                    <a:cubicBezTo>
                      <a:pt x="196" y="81"/>
                      <a:pt x="193" y="81"/>
                      <a:pt x="191" y="80"/>
                    </a:cubicBezTo>
                    <a:cubicBezTo>
                      <a:pt x="188" y="79"/>
                      <a:pt x="187" y="77"/>
                      <a:pt x="186" y="75"/>
                    </a:cubicBezTo>
                    <a:cubicBezTo>
                      <a:pt x="174" y="41"/>
                      <a:pt x="139" y="20"/>
                      <a:pt x="104" y="25"/>
                    </a:cubicBezTo>
                    <a:cubicBezTo>
                      <a:pt x="84" y="28"/>
                      <a:pt x="66" y="39"/>
                      <a:pt x="54" y="55"/>
                    </a:cubicBezTo>
                    <a:cubicBezTo>
                      <a:pt x="46" y="65"/>
                      <a:pt x="41" y="77"/>
                      <a:pt x="40" y="90"/>
                    </a:cubicBezTo>
                    <a:cubicBezTo>
                      <a:pt x="44" y="85"/>
                      <a:pt x="44" y="85"/>
                      <a:pt x="44" y="85"/>
                    </a:cubicBezTo>
                    <a:cubicBezTo>
                      <a:pt x="46" y="83"/>
                      <a:pt x="48" y="82"/>
                      <a:pt x="51" y="82"/>
                    </a:cubicBezTo>
                    <a:cubicBezTo>
                      <a:pt x="51" y="82"/>
                      <a:pt x="51" y="82"/>
                      <a:pt x="51" y="82"/>
                    </a:cubicBezTo>
                    <a:cubicBezTo>
                      <a:pt x="53" y="82"/>
                      <a:pt x="56" y="83"/>
                      <a:pt x="58" y="85"/>
                    </a:cubicBezTo>
                    <a:cubicBezTo>
                      <a:pt x="61" y="89"/>
                      <a:pt x="61" y="95"/>
                      <a:pt x="58" y="99"/>
                    </a:cubicBezTo>
                    <a:cubicBezTo>
                      <a:pt x="37" y="119"/>
                      <a:pt x="37" y="119"/>
                      <a:pt x="37" y="119"/>
                    </a:cubicBezTo>
                    <a:cubicBezTo>
                      <a:pt x="36" y="120"/>
                      <a:pt x="36" y="120"/>
                      <a:pt x="36" y="120"/>
                    </a:cubicBezTo>
                    <a:cubicBezTo>
                      <a:pt x="36" y="120"/>
                      <a:pt x="36" y="120"/>
                      <a:pt x="36" y="120"/>
                    </a:cubicBezTo>
                    <a:cubicBezTo>
                      <a:pt x="36" y="120"/>
                      <a:pt x="36" y="120"/>
                      <a:pt x="36" y="120"/>
                    </a:cubicBezTo>
                    <a:cubicBezTo>
                      <a:pt x="35" y="120"/>
                      <a:pt x="35" y="120"/>
                      <a:pt x="35" y="120"/>
                    </a:cubicBezTo>
                    <a:cubicBezTo>
                      <a:pt x="35" y="121"/>
                      <a:pt x="35" y="121"/>
                      <a:pt x="35" y="121"/>
                    </a:cubicBezTo>
                    <a:cubicBezTo>
                      <a:pt x="34" y="121"/>
                      <a:pt x="34" y="121"/>
                      <a:pt x="34" y="121"/>
                    </a:cubicBezTo>
                    <a:cubicBezTo>
                      <a:pt x="34" y="121"/>
                      <a:pt x="34" y="121"/>
                      <a:pt x="34" y="121"/>
                    </a:cubicBezTo>
                    <a:cubicBezTo>
                      <a:pt x="33" y="121"/>
                      <a:pt x="33" y="121"/>
                      <a:pt x="33" y="121"/>
                    </a:cubicBezTo>
                    <a:cubicBezTo>
                      <a:pt x="33" y="121"/>
                      <a:pt x="33" y="121"/>
                      <a:pt x="33" y="121"/>
                    </a:cubicBezTo>
                    <a:cubicBezTo>
                      <a:pt x="33" y="121"/>
                      <a:pt x="33" y="121"/>
                      <a:pt x="33" y="121"/>
                    </a:cubicBezTo>
                    <a:cubicBezTo>
                      <a:pt x="33" y="121"/>
                      <a:pt x="33" y="121"/>
                      <a:pt x="33" y="121"/>
                    </a:cubicBezTo>
                    <a:cubicBezTo>
                      <a:pt x="32" y="122"/>
                      <a:pt x="32" y="122"/>
                      <a:pt x="32" y="122"/>
                    </a:cubicBezTo>
                    <a:cubicBezTo>
                      <a:pt x="32" y="122"/>
                      <a:pt x="32" y="122"/>
                      <a:pt x="32" y="122"/>
                    </a:cubicBezTo>
                    <a:cubicBezTo>
                      <a:pt x="31" y="122"/>
                      <a:pt x="31" y="122"/>
                      <a:pt x="31" y="122"/>
                    </a:cubicBezTo>
                    <a:cubicBezTo>
                      <a:pt x="31" y="122"/>
                      <a:pt x="30" y="122"/>
                      <a:pt x="30" y="122"/>
                    </a:cubicBezTo>
                    <a:moveTo>
                      <a:pt x="28" y="120"/>
                    </a:moveTo>
                    <a:cubicBezTo>
                      <a:pt x="28" y="120"/>
                      <a:pt x="28" y="120"/>
                      <a:pt x="28" y="120"/>
                    </a:cubicBezTo>
                    <a:cubicBezTo>
                      <a:pt x="28" y="121"/>
                      <a:pt x="28" y="121"/>
                      <a:pt x="28" y="121"/>
                    </a:cubicBezTo>
                    <a:cubicBezTo>
                      <a:pt x="29" y="120"/>
                      <a:pt x="29" y="120"/>
                      <a:pt x="29" y="120"/>
                    </a:cubicBezTo>
                    <a:cubicBezTo>
                      <a:pt x="29" y="121"/>
                      <a:pt x="30" y="121"/>
                      <a:pt x="30" y="121"/>
                    </a:cubicBezTo>
                    <a:cubicBezTo>
                      <a:pt x="30" y="121"/>
                      <a:pt x="31" y="121"/>
                      <a:pt x="31" y="120"/>
                    </a:cubicBezTo>
                    <a:cubicBezTo>
                      <a:pt x="31" y="120"/>
                      <a:pt x="31" y="120"/>
                      <a:pt x="31" y="120"/>
                    </a:cubicBezTo>
                    <a:cubicBezTo>
                      <a:pt x="32" y="120"/>
                      <a:pt x="32" y="120"/>
                      <a:pt x="32" y="120"/>
                    </a:cubicBezTo>
                    <a:cubicBezTo>
                      <a:pt x="32" y="120"/>
                      <a:pt x="32" y="120"/>
                      <a:pt x="32" y="120"/>
                    </a:cubicBezTo>
                    <a:cubicBezTo>
                      <a:pt x="33" y="120"/>
                      <a:pt x="33" y="120"/>
                      <a:pt x="33" y="120"/>
                    </a:cubicBezTo>
                    <a:cubicBezTo>
                      <a:pt x="33" y="120"/>
                      <a:pt x="33" y="120"/>
                      <a:pt x="33" y="120"/>
                    </a:cubicBezTo>
                    <a:cubicBezTo>
                      <a:pt x="33" y="120"/>
                      <a:pt x="33" y="120"/>
                      <a:pt x="33" y="120"/>
                    </a:cubicBezTo>
                    <a:cubicBezTo>
                      <a:pt x="34" y="120"/>
                      <a:pt x="34" y="120"/>
                      <a:pt x="34" y="120"/>
                    </a:cubicBezTo>
                    <a:cubicBezTo>
                      <a:pt x="34" y="119"/>
                      <a:pt x="34" y="119"/>
                      <a:pt x="34" y="119"/>
                    </a:cubicBezTo>
                    <a:cubicBezTo>
                      <a:pt x="34" y="119"/>
                      <a:pt x="34" y="119"/>
                      <a:pt x="34" y="119"/>
                    </a:cubicBezTo>
                    <a:cubicBezTo>
                      <a:pt x="35" y="119"/>
                      <a:pt x="35" y="119"/>
                      <a:pt x="35" y="119"/>
                    </a:cubicBezTo>
                    <a:cubicBezTo>
                      <a:pt x="35" y="119"/>
                      <a:pt x="35" y="119"/>
                      <a:pt x="35" y="119"/>
                    </a:cubicBezTo>
                    <a:cubicBezTo>
                      <a:pt x="35" y="119"/>
                      <a:pt x="35" y="119"/>
                      <a:pt x="35" y="119"/>
                    </a:cubicBezTo>
                    <a:cubicBezTo>
                      <a:pt x="36" y="118"/>
                      <a:pt x="36" y="118"/>
                      <a:pt x="36" y="118"/>
                    </a:cubicBezTo>
                    <a:cubicBezTo>
                      <a:pt x="36" y="118"/>
                      <a:pt x="36" y="118"/>
                      <a:pt x="36" y="118"/>
                    </a:cubicBezTo>
                    <a:cubicBezTo>
                      <a:pt x="57" y="98"/>
                      <a:pt x="57" y="98"/>
                      <a:pt x="57" y="98"/>
                    </a:cubicBezTo>
                    <a:cubicBezTo>
                      <a:pt x="60" y="95"/>
                      <a:pt x="60" y="89"/>
                      <a:pt x="57" y="86"/>
                    </a:cubicBezTo>
                    <a:cubicBezTo>
                      <a:pt x="55" y="85"/>
                      <a:pt x="53" y="84"/>
                      <a:pt x="51" y="84"/>
                    </a:cubicBezTo>
                    <a:cubicBezTo>
                      <a:pt x="51" y="84"/>
                      <a:pt x="51" y="84"/>
                      <a:pt x="51" y="84"/>
                    </a:cubicBezTo>
                    <a:cubicBezTo>
                      <a:pt x="49" y="84"/>
                      <a:pt x="47" y="84"/>
                      <a:pt x="45" y="86"/>
                    </a:cubicBezTo>
                    <a:cubicBezTo>
                      <a:pt x="38" y="93"/>
                      <a:pt x="38" y="93"/>
                      <a:pt x="38" y="93"/>
                    </a:cubicBezTo>
                    <a:cubicBezTo>
                      <a:pt x="38" y="91"/>
                      <a:pt x="38" y="91"/>
                      <a:pt x="38" y="91"/>
                    </a:cubicBezTo>
                    <a:cubicBezTo>
                      <a:pt x="40" y="78"/>
                      <a:pt x="45" y="65"/>
                      <a:pt x="53" y="54"/>
                    </a:cubicBezTo>
                    <a:cubicBezTo>
                      <a:pt x="65" y="38"/>
                      <a:pt x="83" y="27"/>
                      <a:pt x="104" y="24"/>
                    </a:cubicBezTo>
                    <a:cubicBezTo>
                      <a:pt x="140" y="19"/>
                      <a:pt x="175" y="40"/>
                      <a:pt x="187" y="74"/>
                    </a:cubicBezTo>
                    <a:cubicBezTo>
                      <a:pt x="188" y="76"/>
                      <a:pt x="189" y="78"/>
                      <a:pt x="191" y="79"/>
                    </a:cubicBezTo>
                    <a:cubicBezTo>
                      <a:pt x="193" y="80"/>
                      <a:pt x="195" y="80"/>
                      <a:pt x="198" y="79"/>
                    </a:cubicBezTo>
                    <a:cubicBezTo>
                      <a:pt x="202" y="78"/>
                      <a:pt x="204" y="73"/>
                      <a:pt x="202" y="69"/>
                    </a:cubicBezTo>
                    <a:cubicBezTo>
                      <a:pt x="188" y="27"/>
                      <a:pt x="145" y="2"/>
                      <a:pt x="101" y="8"/>
                    </a:cubicBezTo>
                    <a:cubicBezTo>
                      <a:pt x="77" y="11"/>
                      <a:pt x="55" y="24"/>
                      <a:pt x="40" y="44"/>
                    </a:cubicBezTo>
                    <a:cubicBezTo>
                      <a:pt x="30" y="58"/>
                      <a:pt x="23" y="74"/>
                      <a:pt x="21" y="90"/>
                    </a:cubicBezTo>
                    <a:cubicBezTo>
                      <a:pt x="21" y="92"/>
                      <a:pt x="21" y="92"/>
                      <a:pt x="21" y="92"/>
                    </a:cubicBezTo>
                    <a:cubicBezTo>
                      <a:pt x="16" y="86"/>
                      <a:pt x="16" y="86"/>
                      <a:pt x="16" y="86"/>
                    </a:cubicBezTo>
                    <a:cubicBezTo>
                      <a:pt x="14" y="84"/>
                      <a:pt x="12" y="83"/>
                      <a:pt x="10" y="83"/>
                    </a:cubicBezTo>
                    <a:cubicBezTo>
                      <a:pt x="10" y="83"/>
                      <a:pt x="10" y="83"/>
                      <a:pt x="10" y="83"/>
                    </a:cubicBezTo>
                    <a:cubicBezTo>
                      <a:pt x="7" y="83"/>
                      <a:pt x="5" y="84"/>
                      <a:pt x="4" y="86"/>
                    </a:cubicBezTo>
                    <a:cubicBezTo>
                      <a:pt x="2" y="87"/>
                      <a:pt x="1" y="89"/>
                      <a:pt x="1" y="92"/>
                    </a:cubicBezTo>
                    <a:cubicBezTo>
                      <a:pt x="1" y="94"/>
                      <a:pt x="2" y="96"/>
                      <a:pt x="4" y="97"/>
                    </a:cubicBezTo>
                    <a:cubicBezTo>
                      <a:pt x="24" y="118"/>
                      <a:pt x="24" y="118"/>
                      <a:pt x="24" y="118"/>
                    </a:cubicBezTo>
                    <a:cubicBezTo>
                      <a:pt x="25" y="119"/>
                      <a:pt x="25" y="119"/>
                      <a:pt x="25" y="119"/>
                    </a:cubicBezTo>
                    <a:cubicBezTo>
                      <a:pt x="25" y="119"/>
                      <a:pt x="25" y="119"/>
                      <a:pt x="25" y="119"/>
                    </a:cubicBezTo>
                    <a:cubicBezTo>
                      <a:pt x="25" y="119"/>
                      <a:pt x="25" y="119"/>
                      <a:pt x="25" y="119"/>
                    </a:cubicBezTo>
                    <a:cubicBezTo>
                      <a:pt x="25" y="119"/>
                      <a:pt x="25" y="119"/>
                      <a:pt x="25" y="119"/>
                    </a:cubicBezTo>
                    <a:cubicBezTo>
                      <a:pt x="26" y="119"/>
                      <a:pt x="26" y="119"/>
                      <a:pt x="26" y="119"/>
                    </a:cubicBezTo>
                    <a:cubicBezTo>
                      <a:pt x="26" y="120"/>
                      <a:pt x="26" y="120"/>
                      <a:pt x="26" y="120"/>
                    </a:cubicBezTo>
                    <a:cubicBezTo>
                      <a:pt x="26" y="120"/>
                      <a:pt x="26" y="120"/>
                      <a:pt x="26" y="120"/>
                    </a:cubicBezTo>
                    <a:cubicBezTo>
                      <a:pt x="27" y="120"/>
                      <a:pt x="27" y="120"/>
                      <a:pt x="27" y="120"/>
                    </a:cubicBezTo>
                    <a:cubicBezTo>
                      <a:pt x="27" y="120"/>
                      <a:pt x="27" y="120"/>
                      <a:pt x="27" y="120"/>
                    </a:cubicBezTo>
                    <a:cubicBezTo>
                      <a:pt x="28" y="120"/>
                      <a:pt x="28" y="120"/>
                      <a:pt x="28" y="120"/>
                    </a:cubicBezTo>
                    <a:cubicBezTo>
                      <a:pt x="28" y="121"/>
                      <a:pt x="28" y="121"/>
                      <a:pt x="28" y="121"/>
                    </a:cubicBezTo>
                    <a:cubicBezTo>
                      <a:pt x="28" y="120"/>
                      <a:pt x="28" y="120"/>
                      <a:pt x="28" y="120"/>
                    </a:cubicBezTo>
                  </a:path>
                </a:pathLst>
              </a:custGeom>
              <a:solidFill>
                <a:srgbClr val="005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51" name="Freeform 709"/>
              <p:cNvSpPr>
                <a:spLocks/>
              </p:cNvSpPr>
              <p:nvPr/>
            </p:nvSpPr>
            <p:spPr bwMode="auto">
              <a:xfrm>
                <a:off x="6172810" y="2243456"/>
                <a:ext cx="112997" cy="262992"/>
              </a:xfrm>
              <a:custGeom>
                <a:avLst/>
                <a:gdLst>
                  <a:gd name="T0" fmla="*/ 39 w 48"/>
                  <a:gd name="T1" fmla="*/ 0 h 111"/>
                  <a:gd name="T2" fmla="*/ 30 w 48"/>
                  <a:gd name="T3" fmla="*/ 9 h 111"/>
                  <a:gd name="T4" fmla="*/ 30 w 48"/>
                  <a:gd name="T5" fmla="*/ 69 h 111"/>
                  <a:gd name="T6" fmla="*/ 4 w 48"/>
                  <a:gd name="T7" fmla="*/ 96 h 111"/>
                  <a:gd name="T8" fmla="*/ 4 w 48"/>
                  <a:gd name="T9" fmla="*/ 108 h 111"/>
                  <a:gd name="T10" fmla="*/ 10 w 48"/>
                  <a:gd name="T11" fmla="*/ 111 h 111"/>
                  <a:gd name="T12" fmla="*/ 16 w 48"/>
                  <a:gd name="T13" fmla="*/ 108 h 111"/>
                  <a:gd name="T14" fmla="*/ 45 w 48"/>
                  <a:gd name="T15" fmla="*/ 79 h 111"/>
                  <a:gd name="T16" fmla="*/ 48 w 48"/>
                  <a:gd name="T17" fmla="*/ 70 h 111"/>
                  <a:gd name="T18" fmla="*/ 48 w 48"/>
                  <a:gd name="T19" fmla="*/ 9 h 111"/>
                  <a:gd name="T20" fmla="*/ 39 w 48"/>
                  <a:gd name="T21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111">
                    <a:moveTo>
                      <a:pt x="39" y="0"/>
                    </a:moveTo>
                    <a:cubicBezTo>
                      <a:pt x="34" y="0"/>
                      <a:pt x="30" y="4"/>
                      <a:pt x="30" y="9"/>
                    </a:cubicBezTo>
                    <a:cubicBezTo>
                      <a:pt x="30" y="69"/>
                      <a:pt x="30" y="69"/>
                      <a:pt x="30" y="69"/>
                    </a:cubicBezTo>
                    <a:cubicBezTo>
                      <a:pt x="4" y="96"/>
                      <a:pt x="4" y="96"/>
                      <a:pt x="4" y="96"/>
                    </a:cubicBezTo>
                    <a:cubicBezTo>
                      <a:pt x="0" y="99"/>
                      <a:pt x="0" y="105"/>
                      <a:pt x="4" y="108"/>
                    </a:cubicBezTo>
                    <a:cubicBezTo>
                      <a:pt x="5" y="110"/>
                      <a:pt x="8" y="111"/>
                      <a:pt x="10" y="111"/>
                    </a:cubicBezTo>
                    <a:cubicBezTo>
                      <a:pt x="12" y="111"/>
                      <a:pt x="14" y="110"/>
                      <a:pt x="16" y="108"/>
                    </a:cubicBezTo>
                    <a:cubicBezTo>
                      <a:pt x="45" y="79"/>
                      <a:pt x="45" y="79"/>
                      <a:pt x="45" y="79"/>
                    </a:cubicBezTo>
                    <a:cubicBezTo>
                      <a:pt x="48" y="77"/>
                      <a:pt x="48" y="73"/>
                      <a:pt x="48" y="70"/>
                    </a:cubicBezTo>
                    <a:cubicBezTo>
                      <a:pt x="48" y="9"/>
                      <a:pt x="48" y="9"/>
                      <a:pt x="48" y="9"/>
                    </a:cubicBezTo>
                    <a:cubicBezTo>
                      <a:pt x="48" y="4"/>
                      <a:pt x="44" y="0"/>
                      <a:pt x="39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52" name="Freeform 710"/>
              <p:cNvSpPr>
                <a:spLocks noEditPoints="1"/>
              </p:cNvSpPr>
              <p:nvPr/>
            </p:nvSpPr>
            <p:spPr bwMode="auto">
              <a:xfrm>
                <a:off x="6169810" y="2241456"/>
                <a:ext cx="118996" cy="264992"/>
              </a:xfrm>
              <a:custGeom>
                <a:avLst/>
                <a:gdLst>
                  <a:gd name="T0" fmla="*/ 11 w 50"/>
                  <a:gd name="T1" fmla="*/ 112 h 112"/>
                  <a:gd name="T2" fmla="*/ 4 w 50"/>
                  <a:gd name="T3" fmla="*/ 110 h 112"/>
                  <a:gd name="T4" fmla="*/ 4 w 50"/>
                  <a:gd name="T5" fmla="*/ 96 h 112"/>
                  <a:gd name="T6" fmla="*/ 30 w 50"/>
                  <a:gd name="T7" fmla="*/ 70 h 112"/>
                  <a:gd name="T8" fmla="*/ 30 w 50"/>
                  <a:gd name="T9" fmla="*/ 10 h 112"/>
                  <a:gd name="T10" fmla="*/ 40 w 50"/>
                  <a:gd name="T11" fmla="*/ 0 h 112"/>
                  <a:gd name="T12" fmla="*/ 49 w 50"/>
                  <a:gd name="T13" fmla="*/ 10 h 112"/>
                  <a:gd name="T14" fmla="*/ 49 w 50"/>
                  <a:gd name="T15" fmla="*/ 71 h 112"/>
                  <a:gd name="T16" fmla="*/ 47 w 50"/>
                  <a:gd name="T17" fmla="*/ 80 h 112"/>
                  <a:gd name="T18" fmla="*/ 18 w 50"/>
                  <a:gd name="T19" fmla="*/ 110 h 112"/>
                  <a:gd name="T20" fmla="*/ 11 w 50"/>
                  <a:gd name="T21" fmla="*/ 112 h 112"/>
                  <a:gd name="T22" fmla="*/ 40 w 50"/>
                  <a:gd name="T23" fmla="*/ 2 h 112"/>
                  <a:gd name="T24" fmla="*/ 31 w 50"/>
                  <a:gd name="T25" fmla="*/ 10 h 112"/>
                  <a:gd name="T26" fmla="*/ 31 w 50"/>
                  <a:gd name="T27" fmla="*/ 71 h 112"/>
                  <a:gd name="T28" fmla="*/ 5 w 50"/>
                  <a:gd name="T29" fmla="*/ 97 h 112"/>
                  <a:gd name="T30" fmla="*/ 5 w 50"/>
                  <a:gd name="T31" fmla="*/ 109 h 112"/>
                  <a:gd name="T32" fmla="*/ 11 w 50"/>
                  <a:gd name="T33" fmla="*/ 111 h 112"/>
                  <a:gd name="T34" fmla="*/ 17 w 50"/>
                  <a:gd name="T35" fmla="*/ 109 h 112"/>
                  <a:gd name="T36" fmla="*/ 46 w 50"/>
                  <a:gd name="T37" fmla="*/ 80 h 112"/>
                  <a:gd name="T38" fmla="*/ 48 w 50"/>
                  <a:gd name="T39" fmla="*/ 72 h 112"/>
                  <a:gd name="T40" fmla="*/ 48 w 50"/>
                  <a:gd name="T41" fmla="*/ 71 h 112"/>
                  <a:gd name="T42" fmla="*/ 48 w 50"/>
                  <a:gd name="T43" fmla="*/ 10 h 112"/>
                  <a:gd name="T44" fmla="*/ 40 w 50"/>
                  <a:gd name="T45" fmla="*/ 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0" h="112">
                    <a:moveTo>
                      <a:pt x="11" y="112"/>
                    </a:moveTo>
                    <a:cubicBezTo>
                      <a:pt x="8" y="112"/>
                      <a:pt x="6" y="112"/>
                      <a:pt x="4" y="110"/>
                    </a:cubicBezTo>
                    <a:cubicBezTo>
                      <a:pt x="0" y="106"/>
                      <a:pt x="0" y="100"/>
                      <a:pt x="4" y="96"/>
                    </a:cubicBezTo>
                    <a:cubicBezTo>
                      <a:pt x="30" y="70"/>
                      <a:pt x="30" y="70"/>
                      <a:pt x="30" y="70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30" y="5"/>
                      <a:pt x="34" y="0"/>
                      <a:pt x="40" y="0"/>
                    </a:cubicBezTo>
                    <a:cubicBezTo>
                      <a:pt x="45" y="0"/>
                      <a:pt x="49" y="5"/>
                      <a:pt x="49" y="10"/>
                    </a:cubicBezTo>
                    <a:cubicBezTo>
                      <a:pt x="49" y="71"/>
                      <a:pt x="49" y="71"/>
                      <a:pt x="49" y="71"/>
                    </a:cubicBezTo>
                    <a:cubicBezTo>
                      <a:pt x="50" y="75"/>
                      <a:pt x="49" y="78"/>
                      <a:pt x="47" y="80"/>
                    </a:cubicBezTo>
                    <a:cubicBezTo>
                      <a:pt x="18" y="110"/>
                      <a:pt x="18" y="110"/>
                      <a:pt x="18" y="110"/>
                    </a:cubicBezTo>
                    <a:cubicBezTo>
                      <a:pt x="16" y="112"/>
                      <a:pt x="13" y="112"/>
                      <a:pt x="11" y="112"/>
                    </a:cubicBezTo>
                    <a:moveTo>
                      <a:pt x="40" y="2"/>
                    </a:moveTo>
                    <a:cubicBezTo>
                      <a:pt x="35" y="2"/>
                      <a:pt x="31" y="5"/>
                      <a:pt x="31" y="10"/>
                    </a:cubicBezTo>
                    <a:cubicBezTo>
                      <a:pt x="31" y="71"/>
                      <a:pt x="31" y="71"/>
                      <a:pt x="31" y="71"/>
                    </a:cubicBezTo>
                    <a:cubicBezTo>
                      <a:pt x="5" y="97"/>
                      <a:pt x="5" y="97"/>
                      <a:pt x="5" y="97"/>
                    </a:cubicBezTo>
                    <a:cubicBezTo>
                      <a:pt x="2" y="100"/>
                      <a:pt x="2" y="106"/>
                      <a:pt x="5" y="109"/>
                    </a:cubicBezTo>
                    <a:cubicBezTo>
                      <a:pt x="7" y="110"/>
                      <a:pt x="9" y="111"/>
                      <a:pt x="11" y="111"/>
                    </a:cubicBezTo>
                    <a:cubicBezTo>
                      <a:pt x="13" y="111"/>
                      <a:pt x="15" y="110"/>
                      <a:pt x="17" y="109"/>
                    </a:cubicBezTo>
                    <a:cubicBezTo>
                      <a:pt x="46" y="80"/>
                      <a:pt x="46" y="80"/>
                      <a:pt x="46" y="80"/>
                    </a:cubicBezTo>
                    <a:cubicBezTo>
                      <a:pt x="48" y="77"/>
                      <a:pt x="49" y="74"/>
                      <a:pt x="48" y="72"/>
                    </a:cubicBezTo>
                    <a:cubicBezTo>
                      <a:pt x="48" y="71"/>
                      <a:pt x="48" y="71"/>
                      <a:pt x="48" y="71"/>
                    </a:cubicBezTo>
                    <a:cubicBezTo>
                      <a:pt x="48" y="10"/>
                      <a:pt x="48" y="10"/>
                      <a:pt x="48" y="10"/>
                    </a:cubicBezTo>
                    <a:cubicBezTo>
                      <a:pt x="48" y="5"/>
                      <a:pt x="44" y="2"/>
                      <a:pt x="40" y="2"/>
                    </a:cubicBezTo>
                  </a:path>
                </a:pathLst>
              </a:custGeom>
              <a:solidFill>
                <a:srgbClr val="005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53" name="Freeform 711"/>
              <p:cNvSpPr>
                <a:spLocks/>
              </p:cNvSpPr>
              <p:nvPr/>
            </p:nvSpPr>
            <p:spPr bwMode="auto">
              <a:xfrm>
                <a:off x="6049814" y="2376452"/>
                <a:ext cx="486985" cy="271992"/>
              </a:xfrm>
              <a:custGeom>
                <a:avLst/>
                <a:gdLst>
                  <a:gd name="T0" fmla="*/ 202 w 206"/>
                  <a:gd name="T1" fmla="*/ 21 h 115"/>
                  <a:gd name="T2" fmla="*/ 181 w 206"/>
                  <a:gd name="T3" fmla="*/ 3 h 115"/>
                  <a:gd name="T4" fmla="*/ 175 w 206"/>
                  <a:gd name="T5" fmla="*/ 0 h 115"/>
                  <a:gd name="T6" fmla="*/ 174 w 206"/>
                  <a:gd name="T7" fmla="*/ 0 h 115"/>
                  <a:gd name="T8" fmla="*/ 174 w 206"/>
                  <a:gd name="T9" fmla="*/ 0 h 115"/>
                  <a:gd name="T10" fmla="*/ 168 w 206"/>
                  <a:gd name="T11" fmla="*/ 3 h 115"/>
                  <a:gd name="T12" fmla="*/ 148 w 206"/>
                  <a:gd name="T13" fmla="*/ 24 h 115"/>
                  <a:gd name="T14" fmla="*/ 149 w 206"/>
                  <a:gd name="T15" fmla="*/ 37 h 115"/>
                  <a:gd name="T16" fmla="*/ 155 w 206"/>
                  <a:gd name="T17" fmla="*/ 39 h 115"/>
                  <a:gd name="T18" fmla="*/ 161 w 206"/>
                  <a:gd name="T19" fmla="*/ 36 h 115"/>
                  <a:gd name="T20" fmla="*/ 166 w 206"/>
                  <a:gd name="T21" fmla="*/ 31 h 115"/>
                  <a:gd name="T22" fmla="*/ 151 w 206"/>
                  <a:gd name="T23" fmla="*/ 66 h 115"/>
                  <a:gd name="T24" fmla="*/ 101 w 206"/>
                  <a:gd name="T25" fmla="*/ 96 h 115"/>
                  <a:gd name="T26" fmla="*/ 18 w 206"/>
                  <a:gd name="T27" fmla="*/ 46 h 115"/>
                  <a:gd name="T28" fmla="*/ 7 w 206"/>
                  <a:gd name="T29" fmla="*/ 41 h 115"/>
                  <a:gd name="T30" fmla="*/ 1 w 206"/>
                  <a:gd name="T31" fmla="*/ 52 h 115"/>
                  <a:gd name="T32" fmla="*/ 90 w 206"/>
                  <a:gd name="T33" fmla="*/ 115 h 115"/>
                  <a:gd name="T34" fmla="*/ 103 w 206"/>
                  <a:gd name="T35" fmla="*/ 114 h 115"/>
                  <a:gd name="T36" fmla="*/ 165 w 206"/>
                  <a:gd name="T37" fmla="*/ 77 h 115"/>
                  <a:gd name="T38" fmla="*/ 184 w 206"/>
                  <a:gd name="T39" fmla="*/ 29 h 115"/>
                  <a:gd name="T40" fmla="*/ 190 w 206"/>
                  <a:gd name="T41" fmla="*/ 35 h 115"/>
                  <a:gd name="T42" fmla="*/ 196 w 206"/>
                  <a:gd name="T43" fmla="*/ 37 h 115"/>
                  <a:gd name="T44" fmla="*/ 202 w 206"/>
                  <a:gd name="T45" fmla="*/ 34 h 115"/>
                  <a:gd name="T46" fmla="*/ 202 w 206"/>
                  <a:gd name="T47" fmla="*/ 21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06" h="115">
                    <a:moveTo>
                      <a:pt x="202" y="21"/>
                    </a:moveTo>
                    <a:cubicBezTo>
                      <a:pt x="181" y="3"/>
                      <a:pt x="181" y="3"/>
                      <a:pt x="181" y="3"/>
                    </a:cubicBezTo>
                    <a:cubicBezTo>
                      <a:pt x="180" y="1"/>
                      <a:pt x="177" y="0"/>
                      <a:pt x="175" y="0"/>
                    </a:cubicBezTo>
                    <a:cubicBezTo>
                      <a:pt x="174" y="0"/>
                      <a:pt x="174" y="0"/>
                      <a:pt x="174" y="0"/>
                    </a:cubicBezTo>
                    <a:cubicBezTo>
                      <a:pt x="174" y="0"/>
                      <a:pt x="174" y="0"/>
                      <a:pt x="174" y="0"/>
                    </a:cubicBezTo>
                    <a:cubicBezTo>
                      <a:pt x="172" y="0"/>
                      <a:pt x="169" y="1"/>
                      <a:pt x="168" y="3"/>
                    </a:cubicBezTo>
                    <a:cubicBezTo>
                      <a:pt x="148" y="24"/>
                      <a:pt x="148" y="24"/>
                      <a:pt x="148" y="24"/>
                    </a:cubicBezTo>
                    <a:cubicBezTo>
                      <a:pt x="145" y="28"/>
                      <a:pt x="145" y="33"/>
                      <a:pt x="149" y="37"/>
                    </a:cubicBezTo>
                    <a:cubicBezTo>
                      <a:pt x="150" y="38"/>
                      <a:pt x="153" y="39"/>
                      <a:pt x="155" y="39"/>
                    </a:cubicBezTo>
                    <a:cubicBezTo>
                      <a:pt x="157" y="39"/>
                      <a:pt x="160" y="38"/>
                      <a:pt x="161" y="36"/>
                    </a:cubicBezTo>
                    <a:cubicBezTo>
                      <a:pt x="166" y="31"/>
                      <a:pt x="166" y="31"/>
                      <a:pt x="166" y="31"/>
                    </a:cubicBezTo>
                    <a:cubicBezTo>
                      <a:pt x="164" y="44"/>
                      <a:pt x="159" y="56"/>
                      <a:pt x="151" y="66"/>
                    </a:cubicBezTo>
                    <a:cubicBezTo>
                      <a:pt x="139" y="83"/>
                      <a:pt x="121" y="93"/>
                      <a:pt x="101" y="96"/>
                    </a:cubicBezTo>
                    <a:cubicBezTo>
                      <a:pt x="65" y="101"/>
                      <a:pt x="30" y="80"/>
                      <a:pt x="18" y="46"/>
                    </a:cubicBezTo>
                    <a:cubicBezTo>
                      <a:pt x="17" y="42"/>
                      <a:pt x="11" y="39"/>
                      <a:pt x="7" y="41"/>
                    </a:cubicBezTo>
                    <a:cubicBezTo>
                      <a:pt x="2" y="43"/>
                      <a:pt x="0" y="48"/>
                      <a:pt x="1" y="52"/>
                    </a:cubicBezTo>
                    <a:cubicBezTo>
                      <a:pt x="15" y="90"/>
                      <a:pt x="51" y="115"/>
                      <a:pt x="90" y="115"/>
                    </a:cubicBezTo>
                    <a:cubicBezTo>
                      <a:pt x="94" y="115"/>
                      <a:pt x="99" y="114"/>
                      <a:pt x="103" y="114"/>
                    </a:cubicBezTo>
                    <a:cubicBezTo>
                      <a:pt x="128" y="110"/>
                      <a:pt x="150" y="97"/>
                      <a:pt x="165" y="77"/>
                    </a:cubicBezTo>
                    <a:cubicBezTo>
                      <a:pt x="176" y="63"/>
                      <a:pt x="182" y="46"/>
                      <a:pt x="184" y="29"/>
                    </a:cubicBezTo>
                    <a:cubicBezTo>
                      <a:pt x="190" y="35"/>
                      <a:pt x="190" y="35"/>
                      <a:pt x="190" y="35"/>
                    </a:cubicBezTo>
                    <a:cubicBezTo>
                      <a:pt x="192" y="36"/>
                      <a:pt x="194" y="37"/>
                      <a:pt x="196" y="37"/>
                    </a:cubicBezTo>
                    <a:cubicBezTo>
                      <a:pt x="198" y="37"/>
                      <a:pt x="201" y="36"/>
                      <a:pt x="202" y="34"/>
                    </a:cubicBezTo>
                    <a:cubicBezTo>
                      <a:pt x="206" y="30"/>
                      <a:pt x="205" y="25"/>
                      <a:pt x="202" y="2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54" name="Freeform 712"/>
              <p:cNvSpPr>
                <a:spLocks noEditPoints="1"/>
              </p:cNvSpPr>
              <p:nvPr/>
            </p:nvSpPr>
            <p:spPr bwMode="auto">
              <a:xfrm>
                <a:off x="6047814" y="2374452"/>
                <a:ext cx="486985" cy="273992"/>
              </a:xfrm>
              <a:custGeom>
                <a:avLst/>
                <a:gdLst>
                  <a:gd name="T0" fmla="*/ 91 w 206"/>
                  <a:gd name="T1" fmla="*/ 116 h 116"/>
                  <a:gd name="T2" fmla="*/ 2 w 206"/>
                  <a:gd name="T3" fmla="*/ 53 h 116"/>
                  <a:gd name="T4" fmla="*/ 8 w 206"/>
                  <a:gd name="T5" fmla="*/ 41 h 116"/>
                  <a:gd name="T6" fmla="*/ 15 w 206"/>
                  <a:gd name="T7" fmla="*/ 42 h 116"/>
                  <a:gd name="T8" fmla="*/ 20 w 206"/>
                  <a:gd name="T9" fmla="*/ 47 h 116"/>
                  <a:gd name="T10" fmla="*/ 102 w 206"/>
                  <a:gd name="T11" fmla="*/ 96 h 116"/>
                  <a:gd name="T12" fmla="*/ 152 w 206"/>
                  <a:gd name="T13" fmla="*/ 67 h 116"/>
                  <a:gd name="T14" fmla="*/ 166 w 206"/>
                  <a:gd name="T15" fmla="*/ 34 h 116"/>
                  <a:gd name="T16" fmla="*/ 163 w 206"/>
                  <a:gd name="T17" fmla="*/ 37 h 116"/>
                  <a:gd name="T18" fmla="*/ 156 w 206"/>
                  <a:gd name="T19" fmla="*/ 41 h 116"/>
                  <a:gd name="T20" fmla="*/ 149 w 206"/>
                  <a:gd name="T21" fmla="*/ 38 h 116"/>
                  <a:gd name="T22" fmla="*/ 146 w 206"/>
                  <a:gd name="T23" fmla="*/ 32 h 116"/>
                  <a:gd name="T24" fmla="*/ 149 w 206"/>
                  <a:gd name="T25" fmla="*/ 25 h 116"/>
                  <a:gd name="T26" fmla="*/ 168 w 206"/>
                  <a:gd name="T27" fmla="*/ 3 h 116"/>
                  <a:gd name="T28" fmla="*/ 175 w 206"/>
                  <a:gd name="T29" fmla="*/ 0 h 116"/>
                  <a:gd name="T30" fmla="*/ 175 w 206"/>
                  <a:gd name="T31" fmla="*/ 0 h 116"/>
                  <a:gd name="T32" fmla="*/ 176 w 206"/>
                  <a:gd name="T33" fmla="*/ 0 h 116"/>
                  <a:gd name="T34" fmla="*/ 183 w 206"/>
                  <a:gd name="T35" fmla="*/ 4 h 116"/>
                  <a:gd name="T36" fmla="*/ 203 w 206"/>
                  <a:gd name="T37" fmla="*/ 22 h 116"/>
                  <a:gd name="T38" fmla="*/ 206 w 206"/>
                  <a:gd name="T39" fmla="*/ 29 h 116"/>
                  <a:gd name="T40" fmla="*/ 204 w 206"/>
                  <a:gd name="T41" fmla="*/ 35 h 116"/>
                  <a:gd name="T42" fmla="*/ 197 w 206"/>
                  <a:gd name="T43" fmla="*/ 39 h 116"/>
                  <a:gd name="T44" fmla="*/ 190 w 206"/>
                  <a:gd name="T45" fmla="*/ 36 h 116"/>
                  <a:gd name="T46" fmla="*/ 185 w 206"/>
                  <a:gd name="T47" fmla="*/ 31 h 116"/>
                  <a:gd name="T48" fmla="*/ 167 w 206"/>
                  <a:gd name="T49" fmla="*/ 78 h 116"/>
                  <a:gd name="T50" fmla="*/ 104 w 206"/>
                  <a:gd name="T51" fmla="*/ 115 h 116"/>
                  <a:gd name="T52" fmla="*/ 91 w 206"/>
                  <a:gd name="T53" fmla="*/ 116 h 116"/>
                  <a:gd name="T54" fmla="*/ 11 w 206"/>
                  <a:gd name="T55" fmla="*/ 42 h 116"/>
                  <a:gd name="T56" fmla="*/ 8 w 206"/>
                  <a:gd name="T57" fmla="*/ 42 h 116"/>
                  <a:gd name="T58" fmla="*/ 3 w 206"/>
                  <a:gd name="T59" fmla="*/ 53 h 116"/>
                  <a:gd name="T60" fmla="*/ 91 w 206"/>
                  <a:gd name="T61" fmla="*/ 115 h 116"/>
                  <a:gd name="T62" fmla="*/ 104 w 206"/>
                  <a:gd name="T63" fmla="*/ 114 h 116"/>
                  <a:gd name="T64" fmla="*/ 166 w 206"/>
                  <a:gd name="T65" fmla="*/ 78 h 116"/>
                  <a:gd name="T66" fmla="*/ 184 w 206"/>
                  <a:gd name="T67" fmla="*/ 30 h 116"/>
                  <a:gd name="T68" fmla="*/ 184 w 206"/>
                  <a:gd name="T69" fmla="*/ 29 h 116"/>
                  <a:gd name="T70" fmla="*/ 191 w 206"/>
                  <a:gd name="T71" fmla="*/ 35 h 116"/>
                  <a:gd name="T72" fmla="*/ 197 w 206"/>
                  <a:gd name="T73" fmla="*/ 37 h 116"/>
                  <a:gd name="T74" fmla="*/ 203 w 206"/>
                  <a:gd name="T75" fmla="*/ 35 h 116"/>
                  <a:gd name="T76" fmla="*/ 205 w 206"/>
                  <a:gd name="T77" fmla="*/ 29 h 116"/>
                  <a:gd name="T78" fmla="*/ 202 w 206"/>
                  <a:gd name="T79" fmla="*/ 23 h 116"/>
                  <a:gd name="T80" fmla="*/ 182 w 206"/>
                  <a:gd name="T81" fmla="*/ 4 h 116"/>
                  <a:gd name="T82" fmla="*/ 176 w 206"/>
                  <a:gd name="T83" fmla="*/ 1 h 116"/>
                  <a:gd name="T84" fmla="*/ 175 w 206"/>
                  <a:gd name="T85" fmla="*/ 1 h 116"/>
                  <a:gd name="T86" fmla="*/ 175 w 206"/>
                  <a:gd name="T87" fmla="*/ 1 h 116"/>
                  <a:gd name="T88" fmla="*/ 169 w 206"/>
                  <a:gd name="T89" fmla="*/ 4 h 116"/>
                  <a:gd name="T90" fmla="*/ 150 w 206"/>
                  <a:gd name="T91" fmla="*/ 26 h 116"/>
                  <a:gd name="T92" fmla="*/ 147 w 206"/>
                  <a:gd name="T93" fmla="*/ 32 h 116"/>
                  <a:gd name="T94" fmla="*/ 150 w 206"/>
                  <a:gd name="T95" fmla="*/ 37 h 116"/>
                  <a:gd name="T96" fmla="*/ 156 w 206"/>
                  <a:gd name="T97" fmla="*/ 39 h 116"/>
                  <a:gd name="T98" fmla="*/ 162 w 206"/>
                  <a:gd name="T99" fmla="*/ 37 h 116"/>
                  <a:gd name="T100" fmla="*/ 168 w 206"/>
                  <a:gd name="T101" fmla="*/ 30 h 116"/>
                  <a:gd name="T102" fmla="*/ 167 w 206"/>
                  <a:gd name="T103" fmla="*/ 32 h 116"/>
                  <a:gd name="T104" fmla="*/ 153 w 206"/>
                  <a:gd name="T105" fmla="*/ 68 h 116"/>
                  <a:gd name="T106" fmla="*/ 102 w 206"/>
                  <a:gd name="T107" fmla="*/ 98 h 116"/>
                  <a:gd name="T108" fmla="*/ 19 w 206"/>
                  <a:gd name="T109" fmla="*/ 47 h 116"/>
                  <a:gd name="T110" fmla="*/ 14 w 206"/>
                  <a:gd name="T111" fmla="*/ 43 h 116"/>
                  <a:gd name="T112" fmla="*/ 11 w 206"/>
                  <a:gd name="T113" fmla="*/ 42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06" h="116">
                    <a:moveTo>
                      <a:pt x="91" y="116"/>
                    </a:moveTo>
                    <a:cubicBezTo>
                      <a:pt x="51" y="116"/>
                      <a:pt x="15" y="91"/>
                      <a:pt x="2" y="53"/>
                    </a:cubicBezTo>
                    <a:cubicBezTo>
                      <a:pt x="0" y="49"/>
                      <a:pt x="3" y="43"/>
                      <a:pt x="8" y="41"/>
                    </a:cubicBezTo>
                    <a:cubicBezTo>
                      <a:pt x="10" y="40"/>
                      <a:pt x="13" y="41"/>
                      <a:pt x="15" y="42"/>
                    </a:cubicBezTo>
                    <a:cubicBezTo>
                      <a:pt x="17" y="43"/>
                      <a:pt x="19" y="45"/>
                      <a:pt x="20" y="47"/>
                    </a:cubicBezTo>
                    <a:cubicBezTo>
                      <a:pt x="32" y="81"/>
                      <a:pt x="66" y="101"/>
                      <a:pt x="102" y="96"/>
                    </a:cubicBezTo>
                    <a:cubicBezTo>
                      <a:pt x="122" y="94"/>
                      <a:pt x="139" y="83"/>
                      <a:pt x="152" y="67"/>
                    </a:cubicBezTo>
                    <a:cubicBezTo>
                      <a:pt x="159" y="57"/>
                      <a:pt x="164" y="46"/>
                      <a:pt x="166" y="34"/>
                    </a:cubicBezTo>
                    <a:cubicBezTo>
                      <a:pt x="163" y="37"/>
                      <a:pt x="163" y="37"/>
                      <a:pt x="163" y="37"/>
                    </a:cubicBezTo>
                    <a:cubicBezTo>
                      <a:pt x="161" y="39"/>
                      <a:pt x="158" y="41"/>
                      <a:pt x="156" y="41"/>
                    </a:cubicBezTo>
                    <a:cubicBezTo>
                      <a:pt x="153" y="41"/>
                      <a:pt x="151" y="40"/>
                      <a:pt x="149" y="38"/>
                    </a:cubicBezTo>
                    <a:cubicBezTo>
                      <a:pt x="147" y="36"/>
                      <a:pt x="146" y="34"/>
                      <a:pt x="146" y="32"/>
                    </a:cubicBezTo>
                    <a:cubicBezTo>
                      <a:pt x="146" y="29"/>
                      <a:pt x="147" y="27"/>
                      <a:pt x="149" y="25"/>
                    </a:cubicBezTo>
                    <a:cubicBezTo>
                      <a:pt x="168" y="3"/>
                      <a:pt x="168" y="3"/>
                      <a:pt x="168" y="3"/>
                    </a:cubicBezTo>
                    <a:cubicBezTo>
                      <a:pt x="170" y="1"/>
                      <a:pt x="172" y="0"/>
                      <a:pt x="175" y="0"/>
                    </a:cubicBezTo>
                    <a:cubicBezTo>
                      <a:pt x="175" y="0"/>
                      <a:pt x="175" y="0"/>
                      <a:pt x="175" y="0"/>
                    </a:cubicBezTo>
                    <a:cubicBezTo>
                      <a:pt x="176" y="0"/>
                      <a:pt x="176" y="0"/>
                      <a:pt x="176" y="0"/>
                    </a:cubicBezTo>
                    <a:cubicBezTo>
                      <a:pt x="179" y="0"/>
                      <a:pt x="181" y="1"/>
                      <a:pt x="183" y="4"/>
                    </a:cubicBezTo>
                    <a:cubicBezTo>
                      <a:pt x="203" y="22"/>
                      <a:pt x="203" y="22"/>
                      <a:pt x="203" y="22"/>
                    </a:cubicBezTo>
                    <a:cubicBezTo>
                      <a:pt x="205" y="24"/>
                      <a:pt x="206" y="26"/>
                      <a:pt x="206" y="29"/>
                    </a:cubicBezTo>
                    <a:cubicBezTo>
                      <a:pt x="206" y="31"/>
                      <a:pt x="206" y="34"/>
                      <a:pt x="204" y="35"/>
                    </a:cubicBezTo>
                    <a:cubicBezTo>
                      <a:pt x="202" y="37"/>
                      <a:pt x="200" y="39"/>
                      <a:pt x="197" y="39"/>
                    </a:cubicBezTo>
                    <a:cubicBezTo>
                      <a:pt x="194" y="39"/>
                      <a:pt x="192" y="38"/>
                      <a:pt x="190" y="36"/>
                    </a:cubicBezTo>
                    <a:cubicBezTo>
                      <a:pt x="185" y="31"/>
                      <a:pt x="185" y="31"/>
                      <a:pt x="185" y="31"/>
                    </a:cubicBezTo>
                    <a:cubicBezTo>
                      <a:pt x="184" y="48"/>
                      <a:pt x="177" y="65"/>
                      <a:pt x="167" y="78"/>
                    </a:cubicBezTo>
                    <a:cubicBezTo>
                      <a:pt x="152" y="99"/>
                      <a:pt x="129" y="112"/>
                      <a:pt x="104" y="115"/>
                    </a:cubicBezTo>
                    <a:cubicBezTo>
                      <a:pt x="100" y="116"/>
                      <a:pt x="96" y="116"/>
                      <a:pt x="91" y="116"/>
                    </a:cubicBezTo>
                    <a:moveTo>
                      <a:pt x="11" y="42"/>
                    </a:moveTo>
                    <a:cubicBezTo>
                      <a:pt x="10" y="42"/>
                      <a:pt x="9" y="42"/>
                      <a:pt x="8" y="42"/>
                    </a:cubicBezTo>
                    <a:cubicBezTo>
                      <a:pt x="4" y="44"/>
                      <a:pt x="2" y="49"/>
                      <a:pt x="3" y="53"/>
                    </a:cubicBezTo>
                    <a:cubicBezTo>
                      <a:pt x="16" y="90"/>
                      <a:pt x="52" y="115"/>
                      <a:pt x="91" y="115"/>
                    </a:cubicBezTo>
                    <a:cubicBezTo>
                      <a:pt x="95" y="115"/>
                      <a:pt x="100" y="115"/>
                      <a:pt x="104" y="114"/>
                    </a:cubicBezTo>
                    <a:cubicBezTo>
                      <a:pt x="129" y="111"/>
                      <a:pt x="151" y="98"/>
                      <a:pt x="166" y="78"/>
                    </a:cubicBezTo>
                    <a:cubicBezTo>
                      <a:pt x="176" y="64"/>
                      <a:pt x="183" y="47"/>
                      <a:pt x="184" y="30"/>
                    </a:cubicBezTo>
                    <a:cubicBezTo>
                      <a:pt x="184" y="29"/>
                      <a:pt x="184" y="29"/>
                      <a:pt x="184" y="29"/>
                    </a:cubicBezTo>
                    <a:cubicBezTo>
                      <a:pt x="191" y="35"/>
                      <a:pt x="191" y="35"/>
                      <a:pt x="191" y="35"/>
                    </a:cubicBezTo>
                    <a:cubicBezTo>
                      <a:pt x="193" y="37"/>
                      <a:pt x="195" y="37"/>
                      <a:pt x="197" y="37"/>
                    </a:cubicBezTo>
                    <a:cubicBezTo>
                      <a:pt x="199" y="37"/>
                      <a:pt x="201" y="36"/>
                      <a:pt x="203" y="35"/>
                    </a:cubicBezTo>
                    <a:cubicBezTo>
                      <a:pt x="204" y="33"/>
                      <a:pt x="205" y="31"/>
                      <a:pt x="205" y="29"/>
                    </a:cubicBezTo>
                    <a:cubicBezTo>
                      <a:pt x="205" y="26"/>
                      <a:pt x="204" y="24"/>
                      <a:pt x="202" y="23"/>
                    </a:cubicBezTo>
                    <a:cubicBezTo>
                      <a:pt x="182" y="4"/>
                      <a:pt x="182" y="4"/>
                      <a:pt x="182" y="4"/>
                    </a:cubicBezTo>
                    <a:cubicBezTo>
                      <a:pt x="180" y="2"/>
                      <a:pt x="178" y="1"/>
                      <a:pt x="176" y="1"/>
                    </a:cubicBezTo>
                    <a:cubicBezTo>
                      <a:pt x="175" y="1"/>
                      <a:pt x="175" y="1"/>
                      <a:pt x="175" y="1"/>
                    </a:cubicBezTo>
                    <a:cubicBezTo>
                      <a:pt x="175" y="1"/>
                      <a:pt x="175" y="1"/>
                      <a:pt x="175" y="1"/>
                    </a:cubicBezTo>
                    <a:cubicBezTo>
                      <a:pt x="173" y="1"/>
                      <a:pt x="171" y="2"/>
                      <a:pt x="169" y="4"/>
                    </a:cubicBezTo>
                    <a:cubicBezTo>
                      <a:pt x="150" y="26"/>
                      <a:pt x="150" y="26"/>
                      <a:pt x="150" y="26"/>
                    </a:cubicBezTo>
                    <a:cubicBezTo>
                      <a:pt x="148" y="27"/>
                      <a:pt x="147" y="29"/>
                      <a:pt x="147" y="32"/>
                    </a:cubicBezTo>
                    <a:cubicBezTo>
                      <a:pt x="148" y="34"/>
                      <a:pt x="149" y="36"/>
                      <a:pt x="150" y="37"/>
                    </a:cubicBezTo>
                    <a:cubicBezTo>
                      <a:pt x="152" y="39"/>
                      <a:pt x="154" y="39"/>
                      <a:pt x="156" y="39"/>
                    </a:cubicBezTo>
                    <a:cubicBezTo>
                      <a:pt x="158" y="39"/>
                      <a:pt x="160" y="38"/>
                      <a:pt x="162" y="37"/>
                    </a:cubicBezTo>
                    <a:cubicBezTo>
                      <a:pt x="168" y="30"/>
                      <a:pt x="168" y="30"/>
                      <a:pt x="168" y="30"/>
                    </a:cubicBezTo>
                    <a:cubicBezTo>
                      <a:pt x="167" y="32"/>
                      <a:pt x="167" y="32"/>
                      <a:pt x="167" y="32"/>
                    </a:cubicBezTo>
                    <a:cubicBezTo>
                      <a:pt x="165" y="45"/>
                      <a:pt x="160" y="57"/>
                      <a:pt x="153" y="68"/>
                    </a:cubicBezTo>
                    <a:cubicBezTo>
                      <a:pt x="140" y="84"/>
                      <a:pt x="122" y="95"/>
                      <a:pt x="102" y="98"/>
                    </a:cubicBezTo>
                    <a:cubicBezTo>
                      <a:pt x="66" y="103"/>
                      <a:pt x="31" y="82"/>
                      <a:pt x="19" y="47"/>
                    </a:cubicBezTo>
                    <a:cubicBezTo>
                      <a:pt x="18" y="45"/>
                      <a:pt x="16" y="44"/>
                      <a:pt x="14" y="43"/>
                    </a:cubicBezTo>
                    <a:cubicBezTo>
                      <a:pt x="13" y="42"/>
                      <a:pt x="12" y="42"/>
                      <a:pt x="11" y="42"/>
                    </a:cubicBezTo>
                  </a:path>
                </a:pathLst>
              </a:custGeom>
              <a:solidFill>
                <a:srgbClr val="005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55" name="Freeform 713"/>
              <p:cNvSpPr>
                <a:spLocks/>
              </p:cNvSpPr>
              <p:nvPr/>
            </p:nvSpPr>
            <p:spPr bwMode="auto">
              <a:xfrm>
                <a:off x="6030815" y="2156459"/>
                <a:ext cx="441986" cy="283991"/>
              </a:xfrm>
              <a:custGeom>
                <a:avLst/>
                <a:gdLst>
                  <a:gd name="T0" fmla="*/ 12 w 187"/>
                  <a:gd name="T1" fmla="*/ 120 h 120"/>
                  <a:gd name="T2" fmla="*/ 3 w 187"/>
                  <a:gd name="T3" fmla="*/ 113 h 120"/>
                  <a:gd name="T4" fmla="*/ 21 w 187"/>
                  <a:gd name="T5" fmla="*/ 43 h 120"/>
                  <a:gd name="T6" fmla="*/ 83 w 187"/>
                  <a:gd name="T7" fmla="*/ 6 h 120"/>
                  <a:gd name="T8" fmla="*/ 185 w 187"/>
                  <a:gd name="T9" fmla="*/ 68 h 120"/>
                  <a:gd name="T10" fmla="*/ 180 w 187"/>
                  <a:gd name="T11" fmla="*/ 79 h 120"/>
                  <a:gd name="T12" fmla="*/ 168 w 187"/>
                  <a:gd name="T13" fmla="*/ 74 h 120"/>
                  <a:gd name="T14" fmla="*/ 86 w 187"/>
                  <a:gd name="T15" fmla="*/ 24 h 120"/>
                  <a:gd name="T16" fmla="*/ 35 w 187"/>
                  <a:gd name="T17" fmla="*/ 53 h 120"/>
                  <a:gd name="T18" fmla="*/ 21 w 187"/>
                  <a:gd name="T19" fmla="*/ 110 h 120"/>
                  <a:gd name="T20" fmla="*/ 13 w 187"/>
                  <a:gd name="T21" fmla="*/ 120 h 120"/>
                  <a:gd name="T22" fmla="*/ 12 w 187"/>
                  <a:gd name="T23" fmla="*/ 12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87" h="120">
                    <a:moveTo>
                      <a:pt x="12" y="120"/>
                    </a:moveTo>
                    <a:cubicBezTo>
                      <a:pt x="8" y="120"/>
                      <a:pt x="4" y="117"/>
                      <a:pt x="3" y="113"/>
                    </a:cubicBezTo>
                    <a:cubicBezTo>
                      <a:pt x="0" y="88"/>
                      <a:pt x="6" y="63"/>
                      <a:pt x="21" y="43"/>
                    </a:cubicBezTo>
                    <a:cubicBezTo>
                      <a:pt x="36" y="23"/>
                      <a:pt x="58" y="10"/>
                      <a:pt x="83" y="6"/>
                    </a:cubicBezTo>
                    <a:cubicBezTo>
                      <a:pt x="127" y="0"/>
                      <a:pt x="170" y="26"/>
                      <a:pt x="185" y="68"/>
                    </a:cubicBezTo>
                    <a:cubicBezTo>
                      <a:pt x="187" y="72"/>
                      <a:pt x="184" y="77"/>
                      <a:pt x="180" y="79"/>
                    </a:cubicBezTo>
                    <a:cubicBezTo>
                      <a:pt x="175" y="81"/>
                      <a:pt x="170" y="78"/>
                      <a:pt x="168" y="74"/>
                    </a:cubicBezTo>
                    <a:cubicBezTo>
                      <a:pt x="156" y="40"/>
                      <a:pt x="121" y="19"/>
                      <a:pt x="86" y="24"/>
                    </a:cubicBezTo>
                    <a:cubicBezTo>
                      <a:pt x="66" y="27"/>
                      <a:pt x="48" y="37"/>
                      <a:pt x="35" y="53"/>
                    </a:cubicBezTo>
                    <a:cubicBezTo>
                      <a:pt x="23" y="70"/>
                      <a:pt x="18" y="90"/>
                      <a:pt x="21" y="110"/>
                    </a:cubicBezTo>
                    <a:cubicBezTo>
                      <a:pt x="22" y="115"/>
                      <a:pt x="18" y="119"/>
                      <a:pt x="13" y="120"/>
                    </a:cubicBezTo>
                    <a:cubicBezTo>
                      <a:pt x="13" y="120"/>
                      <a:pt x="13" y="120"/>
                      <a:pt x="12" y="120"/>
                    </a:cubicBezTo>
                  </a:path>
                </a:pathLst>
              </a:custGeom>
              <a:solidFill>
                <a:srgbClr val="00BB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56" name="Freeform 714"/>
              <p:cNvSpPr>
                <a:spLocks/>
              </p:cNvSpPr>
              <p:nvPr/>
            </p:nvSpPr>
            <p:spPr bwMode="auto">
              <a:xfrm>
                <a:off x="6049814" y="2374452"/>
                <a:ext cx="450986" cy="273992"/>
              </a:xfrm>
              <a:custGeom>
                <a:avLst/>
                <a:gdLst>
                  <a:gd name="T0" fmla="*/ 90 w 191"/>
                  <a:gd name="T1" fmla="*/ 116 h 116"/>
                  <a:gd name="T2" fmla="*/ 1 w 191"/>
                  <a:gd name="T3" fmla="*/ 53 h 116"/>
                  <a:gd name="T4" fmla="*/ 7 w 191"/>
                  <a:gd name="T5" fmla="*/ 42 h 116"/>
                  <a:gd name="T6" fmla="*/ 18 w 191"/>
                  <a:gd name="T7" fmla="*/ 47 h 116"/>
                  <a:gd name="T8" fmla="*/ 101 w 191"/>
                  <a:gd name="T9" fmla="*/ 97 h 116"/>
                  <a:gd name="T10" fmla="*/ 166 w 191"/>
                  <a:gd name="T11" fmla="*/ 11 h 116"/>
                  <a:gd name="T12" fmla="*/ 173 w 191"/>
                  <a:gd name="T13" fmla="*/ 1 h 116"/>
                  <a:gd name="T14" fmla="*/ 183 w 191"/>
                  <a:gd name="T15" fmla="*/ 8 h 116"/>
                  <a:gd name="T16" fmla="*/ 103 w 191"/>
                  <a:gd name="T17" fmla="*/ 115 h 116"/>
                  <a:gd name="T18" fmla="*/ 90 w 191"/>
                  <a:gd name="T19" fmla="*/ 116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1" h="116">
                    <a:moveTo>
                      <a:pt x="90" y="116"/>
                    </a:moveTo>
                    <a:cubicBezTo>
                      <a:pt x="51" y="116"/>
                      <a:pt x="15" y="91"/>
                      <a:pt x="1" y="53"/>
                    </a:cubicBezTo>
                    <a:cubicBezTo>
                      <a:pt x="0" y="49"/>
                      <a:pt x="2" y="44"/>
                      <a:pt x="7" y="42"/>
                    </a:cubicBezTo>
                    <a:cubicBezTo>
                      <a:pt x="11" y="40"/>
                      <a:pt x="17" y="43"/>
                      <a:pt x="18" y="47"/>
                    </a:cubicBezTo>
                    <a:cubicBezTo>
                      <a:pt x="30" y="81"/>
                      <a:pt x="65" y="102"/>
                      <a:pt x="101" y="97"/>
                    </a:cubicBezTo>
                    <a:cubicBezTo>
                      <a:pt x="142" y="91"/>
                      <a:pt x="172" y="52"/>
                      <a:pt x="166" y="11"/>
                    </a:cubicBezTo>
                    <a:cubicBezTo>
                      <a:pt x="165" y="6"/>
                      <a:pt x="168" y="1"/>
                      <a:pt x="173" y="1"/>
                    </a:cubicBezTo>
                    <a:cubicBezTo>
                      <a:pt x="178" y="0"/>
                      <a:pt x="183" y="3"/>
                      <a:pt x="183" y="8"/>
                    </a:cubicBezTo>
                    <a:cubicBezTo>
                      <a:pt x="191" y="60"/>
                      <a:pt x="155" y="107"/>
                      <a:pt x="103" y="115"/>
                    </a:cubicBezTo>
                    <a:cubicBezTo>
                      <a:pt x="99" y="115"/>
                      <a:pt x="94" y="116"/>
                      <a:pt x="90" y="116"/>
                    </a:cubicBezTo>
                  </a:path>
                </a:pathLst>
              </a:custGeom>
              <a:solidFill>
                <a:srgbClr val="00BB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57" name="Freeform 715"/>
              <p:cNvSpPr>
                <a:spLocks/>
              </p:cNvSpPr>
              <p:nvPr/>
            </p:nvSpPr>
            <p:spPr bwMode="auto">
              <a:xfrm>
                <a:off x="6243808" y="2246456"/>
                <a:ext cx="39999" cy="160995"/>
              </a:xfrm>
              <a:custGeom>
                <a:avLst/>
                <a:gdLst>
                  <a:gd name="T0" fmla="*/ 9 w 17"/>
                  <a:gd name="T1" fmla="*/ 0 h 68"/>
                  <a:gd name="T2" fmla="*/ 0 w 17"/>
                  <a:gd name="T3" fmla="*/ 8 h 68"/>
                  <a:gd name="T4" fmla="*/ 0 w 17"/>
                  <a:gd name="T5" fmla="*/ 68 h 68"/>
                  <a:gd name="T6" fmla="*/ 3 w 17"/>
                  <a:gd name="T7" fmla="*/ 65 h 68"/>
                  <a:gd name="T8" fmla="*/ 9 w 17"/>
                  <a:gd name="T9" fmla="*/ 63 h 68"/>
                  <a:gd name="T10" fmla="*/ 15 w 17"/>
                  <a:gd name="T11" fmla="*/ 65 h 68"/>
                  <a:gd name="T12" fmla="*/ 17 w 17"/>
                  <a:gd name="T13" fmla="*/ 68 h 68"/>
                  <a:gd name="T14" fmla="*/ 17 w 17"/>
                  <a:gd name="T15" fmla="*/ 8 h 68"/>
                  <a:gd name="T16" fmla="*/ 9 w 17"/>
                  <a:gd name="T17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68">
                    <a:moveTo>
                      <a:pt x="9" y="0"/>
                    </a:moveTo>
                    <a:cubicBezTo>
                      <a:pt x="4" y="0"/>
                      <a:pt x="0" y="3"/>
                      <a:pt x="0" y="8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4"/>
                      <a:pt x="7" y="63"/>
                      <a:pt x="9" y="63"/>
                    </a:cubicBezTo>
                    <a:cubicBezTo>
                      <a:pt x="11" y="63"/>
                      <a:pt x="14" y="64"/>
                      <a:pt x="15" y="65"/>
                    </a:cubicBezTo>
                    <a:cubicBezTo>
                      <a:pt x="16" y="66"/>
                      <a:pt x="17" y="67"/>
                      <a:pt x="17" y="68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17" y="3"/>
                      <a:pt x="13" y="0"/>
                      <a:pt x="9" y="0"/>
                    </a:cubicBezTo>
                  </a:path>
                </a:pathLst>
              </a:custGeom>
              <a:solidFill>
                <a:srgbClr val="FAAB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58" name="Freeform 716"/>
              <p:cNvSpPr>
                <a:spLocks/>
              </p:cNvSpPr>
              <p:nvPr/>
            </p:nvSpPr>
            <p:spPr bwMode="auto">
              <a:xfrm>
                <a:off x="6243808" y="2243456"/>
                <a:ext cx="41999" cy="165995"/>
              </a:xfrm>
              <a:custGeom>
                <a:avLst/>
                <a:gdLst>
                  <a:gd name="T0" fmla="*/ 9 w 18"/>
                  <a:gd name="T1" fmla="*/ 0 h 70"/>
                  <a:gd name="T2" fmla="*/ 9 w 18"/>
                  <a:gd name="T3" fmla="*/ 0 h 70"/>
                  <a:gd name="T4" fmla="*/ 0 w 18"/>
                  <a:gd name="T5" fmla="*/ 9 h 70"/>
                  <a:gd name="T6" fmla="*/ 0 w 18"/>
                  <a:gd name="T7" fmla="*/ 69 h 70"/>
                  <a:gd name="T8" fmla="*/ 0 w 18"/>
                  <a:gd name="T9" fmla="*/ 69 h 70"/>
                  <a:gd name="T10" fmla="*/ 0 w 18"/>
                  <a:gd name="T11" fmla="*/ 9 h 70"/>
                  <a:gd name="T12" fmla="*/ 9 w 18"/>
                  <a:gd name="T13" fmla="*/ 1 h 70"/>
                  <a:gd name="T14" fmla="*/ 17 w 18"/>
                  <a:gd name="T15" fmla="*/ 9 h 70"/>
                  <a:gd name="T16" fmla="*/ 17 w 18"/>
                  <a:gd name="T17" fmla="*/ 69 h 70"/>
                  <a:gd name="T18" fmla="*/ 18 w 18"/>
                  <a:gd name="T19" fmla="*/ 70 h 70"/>
                  <a:gd name="T20" fmla="*/ 18 w 18"/>
                  <a:gd name="T21" fmla="*/ 9 h 70"/>
                  <a:gd name="T22" fmla="*/ 9 w 18"/>
                  <a:gd name="T23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8" h="70">
                    <a:moveTo>
                      <a:pt x="9" y="0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69"/>
                      <a:pt x="0" y="69"/>
                      <a:pt x="0" y="69"/>
                    </a:cubicBezTo>
                    <a:cubicBezTo>
                      <a:pt x="0" y="69"/>
                      <a:pt x="0" y="69"/>
                      <a:pt x="0" y="6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4"/>
                      <a:pt x="4" y="1"/>
                      <a:pt x="9" y="1"/>
                    </a:cubicBezTo>
                    <a:cubicBezTo>
                      <a:pt x="13" y="1"/>
                      <a:pt x="17" y="4"/>
                      <a:pt x="17" y="9"/>
                    </a:cubicBezTo>
                    <a:cubicBezTo>
                      <a:pt x="17" y="69"/>
                      <a:pt x="17" y="69"/>
                      <a:pt x="17" y="69"/>
                    </a:cubicBezTo>
                    <a:cubicBezTo>
                      <a:pt x="17" y="69"/>
                      <a:pt x="17" y="70"/>
                      <a:pt x="18" y="70"/>
                    </a:cubicBezTo>
                    <a:cubicBezTo>
                      <a:pt x="18" y="9"/>
                      <a:pt x="18" y="9"/>
                      <a:pt x="18" y="9"/>
                    </a:cubicBezTo>
                    <a:cubicBezTo>
                      <a:pt x="18" y="4"/>
                      <a:pt x="14" y="0"/>
                      <a:pt x="9" y="0"/>
                    </a:cubicBezTo>
                  </a:path>
                </a:pathLst>
              </a:custGeom>
              <a:solidFill>
                <a:srgbClr val="00360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59" name="Freeform 717"/>
              <p:cNvSpPr>
                <a:spLocks/>
              </p:cNvSpPr>
              <p:nvPr/>
            </p:nvSpPr>
            <p:spPr bwMode="auto">
              <a:xfrm>
                <a:off x="6174810" y="2409451"/>
                <a:ext cx="98997" cy="94997"/>
              </a:xfrm>
              <a:custGeom>
                <a:avLst/>
                <a:gdLst>
                  <a:gd name="T0" fmla="*/ 29 w 42"/>
                  <a:gd name="T1" fmla="*/ 0 h 40"/>
                  <a:gd name="T2" fmla="*/ 3 w 42"/>
                  <a:gd name="T3" fmla="*/ 26 h 40"/>
                  <a:gd name="T4" fmla="*/ 3 w 42"/>
                  <a:gd name="T5" fmla="*/ 38 h 40"/>
                  <a:gd name="T6" fmla="*/ 9 w 42"/>
                  <a:gd name="T7" fmla="*/ 40 h 40"/>
                  <a:gd name="T8" fmla="*/ 15 w 42"/>
                  <a:gd name="T9" fmla="*/ 38 h 40"/>
                  <a:gd name="T10" fmla="*/ 42 w 42"/>
                  <a:gd name="T11" fmla="*/ 11 h 40"/>
                  <a:gd name="T12" fmla="*/ 38 w 42"/>
                  <a:gd name="T13" fmla="*/ 12 h 40"/>
                  <a:gd name="T14" fmla="*/ 29 w 42"/>
                  <a:gd name="T15" fmla="*/ 3 h 40"/>
                  <a:gd name="T16" fmla="*/ 29 w 42"/>
                  <a:gd name="T17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" h="40">
                    <a:moveTo>
                      <a:pt x="29" y="0"/>
                    </a:moveTo>
                    <a:cubicBezTo>
                      <a:pt x="3" y="26"/>
                      <a:pt x="3" y="26"/>
                      <a:pt x="3" y="26"/>
                    </a:cubicBezTo>
                    <a:cubicBezTo>
                      <a:pt x="0" y="29"/>
                      <a:pt x="0" y="35"/>
                      <a:pt x="3" y="38"/>
                    </a:cubicBezTo>
                    <a:cubicBezTo>
                      <a:pt x="5" y="39"/>
                      <a:pt x="7" y="40"/>
                      <a:pt x="9" y="40"/>
                    </a:cubicBezTo>
                    <a:cubicBezTo>
                      <a:pt x="11" y="40"/>
                      <a:pt x="13" y="39"/>
                      <a:pt x="15" y="38"/>
                    </a:cubicBezTo>
                    <a:cubicBezTo>
                      <a:pt x="42" y="11"/>
                      <a:pt x="42" y="11"/>
                      <a:pt x="42" y="11"/>
                    </a:cubicBezTo>
                    <a:cubicBezTo>
                      <a:pt x="41" y="11"/>
                      <a:pt x="39" y="12"/>
                      <a:pt x="38" y="12"/>
                    </a:cubicBezTo>
                    <a:cubicBezTo>
                      <a:pt x="33" y="12"/>
                      <a:pt x="29" y="8"/>
                      <a:pt x="29" y="3"/>
                    </a:cubicBezTo>
                    <a:cubicBezTo>
                      <a:pt x="29" y="0"/>
                      <a:pt x="29" y="0"/>
                      <a:pt x="29" y="0"/>
                    </a:cubicBezTo>
                  </a:path>
                </a:pathLst>
              </a:custGeom>
              <a:solidFill>
                <a:srgbClr val="FAAB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60" name="Freeform 718"/>
              <p:cNvSpPr>
                <a:spLocks/>
              </p:cNvSpPr>
              <p:nvPr/>
            </p:nvSpPr>
            <p:spPr bwMode="auto">
              <a:xfrm>
                <a:off x="6172810" y="2407451"/>
                <a:ext cx="112997" cy="98997"/>
              </a:xfrm>
              <a:custGeom>
                <a:avLst/>
                <a:gdLst>
                  <a:gd name="T0" fmla="*/ 30 w 48"/>
                  <a:gd name="T1" fmla="*/ 0 h 42"/>
                  <a:gd name="T2" fmla="*/ 4 w 48"/>
                  <a:gd name="T3" fmla="*/ 27 h 42"/>
                  <a:gd name="T4" fmla="*/ 4 w 48"/>
                  <a:gd name="T5" fmla="*/ 39 h 42"/>
                  <a:gd name="T6" fmla="*/ 10 w 48"/>
                  <a:gd name="T7" fmla="*/ 42 h 42"/>
                  <a:gd name="T8" fmla="*/ 16 w 48"/>
                  <a:gd name="T9" fmla="*/ 39 h 42"/>
                  <a:gd name="T10" fmla="*/ 45 w 48"/>
                  <a:gd name="T11" fmla="*/ 10 h 42"/>
                  <a:gd name="T12" fmla="*/ 48 w 48"/>
                  <a:gd name="T13" fmla="*/ 1 h 42"/>
                  <a:gd name="T14" fmla="*/ 48 w 48"/>
                  <a:gd name="T15" fmla="*/ 4 h 42"/>
                  <a:gd name="T16" fmla="*/ 43 w 48"/>
                  <a:gd name="T17" fmla="*/ 12 h 42"/>
                  <a:gd name="T18" fmla="*/ 16 w 48"/>
                  <a:gd name="T19" fmla="*/ 39 h 42"/>
                  <a:gd name="T20" fmla="*/ 10 w 48"/>
                  <a:gd name="T21" fmla="*/ 41 h 42"/>
                  <a:gd name="T22" fmla="*/ 4 w 48"/>
                  <a:gd name="T23" fmla="*/ 39 h 42"/>
                  <a:gd name="T24" fmla="*/ 4 w 48"/>
                  <a:gd name="T25" fmla="*/ 27 h 42"/>
                  <a:gd name="T26" fmla="*/ 30 w 48"/>
                  <a:gd name="T27" fmla="*/ 1 h 42"/>
                  <a:gd name="T28" fmla="*/ 30 w 48"/>
                  <a:gd name="T29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42">
                    <a:moveTo>
                      <a:pt x="30" y="0"/>
                    </a:moveTo>
                    <a:cubicBezTo>
                      <a:pt x="4" y="27"/>
                      <a:pt x="4" y="27"/>
                      <a:pt x="4" y="27"/>
                    </a:cubicBezTo>
                    <a:cubicBezTo>
                      <a:pt x="0" y="30"/>
                      <a:pt x="0" y="36"/>
                      <a:pt x="4" y="39"/>
                    </a:cubicBezTo>
                    <a:cubicBezTo>
                      <a:pt x="5" y="41"/>
                      <a:pt x="8" y="42"/>
                      <a:pt x="10" y="42"/>
                    </a:cubicBezTo>
                    <a:cubicBezTo>
                      <a:pt x="12" y="42"/>
                      <a:pt x="14" y="41"/>
                      <a:pt x="16" y="39"/>
                    </a:cubicBezTo>
                    <a:cubicBezTo>
                      <a:pt x="45" y="10"/>
                      <a:pt x="45" y="10"/>
                      <a:pt x="45" y="10"/>
                    </a:cubicBezTo>
                    <a:cubicBezTo>
                      <a:pt x="48" y="8"/>
                      <a:pt x="48" y="4"/>
                      <a:pt x="48" y="1"/>
                    </a:cubicBezTo>
                    <a:cubicBezTo>
                      <a:pt x="48" y="4"/>
                      <a:pt x="48" y="4"/>
                      <a:pt x="48" y="4"/>
                    </a:cubicBezTo>
                    <a:cubicBezTo>
                      <a:pt x="48" y="7"/>
                      <a:pt x="46" y="10"/>
                      <a:pt x="43" y="12"/>
                    </a:cubicBezTo>
                    <a:cubicBezTo>
                      <a:pt x="16" y="39"/>
                      <a:pt x="16" y="39"/>
                      <a:pt x="16" y="39"/>
                    </a:cubicBezTo>
                    <a:cubicBezTo>
                      <a:pt x="14" y="40"/>
                      <a:pt x="12" y="41"/>
                      <a:pt x="10" y="41"/>
                    </a:cubicBezTo>
                    <a:cubicBezTo>
                      <a:pt x="8" y="41"/>
                      <a:pt x="6" y="40"/>
                      <a:pt x="4" y="39"/>
                    </a:cubicBezTo>
                    <a:cubicBezTo>
                      <a:pt x="1" y="36"/>
                      <a:pt x="1" y="30"/>
                      <a:pt x="4" y="27"/>
                    </a:cubicBezTo>
                    <a:cubicBezTo>
                      <a:pt x="30" y="1"/>
                      <a:pt x="30" y="1"/>
                      <a:pt x="30" y="1"/>
                    </a:cubicBezTo>
                    <a:cubicBezTo>
                      <a:pt x="30" y="0"/>
                      <a:pt x="30" y="0"/>
                      <a:pt x="30" y="0"/>
                    </a:cubicBezTo>
                  </a:path>
                </a:pathLst>
              </a:custGeom>
              <a:solidFill>
                <a:srgbClr val="00360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61" name="Freeform 719"/>
              <p:cNvSpPr>
                <a:spLocks/>
              </p:cNvSpPr>
              <p:nvPr/>
            </p:nvSpPr>
            <p:spPr bwMode="auto">
              <a:xfrm>
                <a:off x="6243808" y="2395452"/>
                <a:ext cx="41999" cy="41999"/>
              </a:xfrm>
              <a:custGeom>
                <a:avLst/>
                <a:gdLst>
                  <a:gd name="T0" fmla="*/ 9 w 18"/>
                  <a:gd name="T1" fmla="*/ 0 h 18"/>
                  <a:gd name="T2" fmla="*/ 3 w 18"/>
                  <a:gd name="T3" fmla="*/ 2 h 18"/>
                  <a:gd name="T4" fmla="*/ 0 w 18"/>
                  <a:gd name="T5" fmla="*/ 5 h 18"/>
                  <a:gd name="T6" fmla="*/ 0 w 18"/>
                  <a:gd name="T7" fmla="*/ 6 h 18"/>
                  <a:gd name="T8" fmla="*/ 0 w 18"/>
                  <a:gd name="T9" fmla="*/ 6 h 18"/>
                  <a:gd name="T10" fmla="*/ 0 w 18"/>
                  <a:gd name="T11" fmla="*/ 9 h 18"/>
                  <a:gd name="T12" fmla="*/ 9 w 18"/>
                  <a:gd name="T13" fmla="*/ 18 h 18"/>
                  <a:gd name="T14" fmla="*/ 13 w 18"/>
                  <a:gd name="T15" fmla="*/ 17 h 18"/>
                  <a:gd name="T16" fmla="*/ 15 w 18"/>
                  <a:gd name="T17" fmla="*/ 15 h 18"/>
                  <a:gd name="T18" fmla="*/ 17 w 18"/>
                  <a:gd name="T19" fmla="*/ 7 h 18"/>
                  <a:gd name="T20" fmla="*/ 17 w 18"/>
                  <a:gd name="T21" fmla="*/ 6 h 18"/>
                  <a:gd name="T22" fmla="*/ 17 w 18"/>
                  <a:gd name="T23" fmla="*/ 5 h 18"/>
                  <a:gd name="T24" fmla="*/ 15 w 18"/>
                  <a:gd name="T25" fmla="*/ 2 h 18"/>
                  <a:gd name="T26" fmla="*/ 9 w 18"/>
                  <a:gd name="T2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8" h="18">
                    <a:moveTo>
                      <a:pt x="9" y="0"/>
                    </a:moveTo>
                    <a:cubicBezTo>
                      <a:pt x="7" y="0"/>
                      <a:pt x="5" y="1"/>
                      <a:pt x="3" y="2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4"/>
                      <a:pt x="4" y="18"/>
                      <a:pt x="9" y="18"/>
                    </a:cubicBezTo>
                    <a:cubicBezTo>
                      <a:pt x="10" y="18"/>
                      <a:pt x="12" y="17"/>
                      <a:pt x="13" y="17"/>
                    </a:cubicBezTo>
                    <a:cubicBezTo>
                      <a:pt x="15" y="15"/>
                      <a:pt x="15" y="15"/>
                      <a:pt x="15" y="15"/>
                    </a:cubicBezTo>
                    <a:cubicBezTo>
                      <a:pt x="17" y="12"/>
                      <a:pt x="18" y="9"/>
                      <a:pt x="17" y="7"/>
                    </a:cubicBezTo>
                    <a:cubicBezTo>
                      <a:pt x="17" y="6"/>
                      <a:pt x="17" y="6"/>
                      <a:pt x="17" y="6"/>
                    </a:cubicBezTo>
                    <a:cubicBezTo>
                      <a:pt x="17" y="5"/>
                      <a:pt x="17" y="5"/>
                      <a:pt x="17" y="5"/>
                    </a:cubicBezTo>
                    <a:cubicBezTo>
                      <a:pt x="17" y="4"/>
                      <a:pt x="16" y="3"/>
                      <a:pt x="15" y="2"/>
                    </a:cubicBezTo>
                    <a:cubicBezTo>
                      <a:pt x="14" y="1"/>
                      <a:pt x="11" y="0"/>
                      <a:pt x="9" y="0"/>
                    </a:cubicBezTo>
                  </a:path>
                </a:pathLst>
              </a:custGeom>
              <a:solidFill>
                <a:srgbClr val="F573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62" name="Freeform 720"/>
              <p:cNvSpPr>
                <a:spLocks noEditPoints="1"/>
              </p:cNvSpPr>
              <p:nvPr/>
            </p:nvSpPr>
            <p:spPr bwMode="auto">
              <a:xfrm>
                <a:off x="6243808" y="2407451"/>
                <a:ext cx="41999" cy="27999"/>
              </a:xfrm>
              <a:custGeom>
                <a:avLst/>
                <a:gdLst>
                  <a:gd name="T0" fmla="*/ 17 w 18"/>
                  <a:gd name="T1" fmla="*/ 0 h 12"/>
                  <a:gd name="T2" fmla="*/ 17 w 18"/>
                  <a:gd name="T3" fmla="*/ 1 h 12"/>
                  <a:gd name="T4" fmla="*/ 17 w 18"/>
                  <a:gd name="T5" fmla="*/ 2 h 12"/>
                  <a:gd name="T6" fmla="*/ 15 w 18"/>
                  <a:gd name="T7" fmla="*/ 10 h 12"/>
                  <a:gd name="T8" fmla="*/ 13 w 18"/>
                  <a:gd name="T9" fmla="*/ 12 h 12"/>
                  <a:gd name="T10" fmla="*/ 18 w 18"/>
                  <a:gd name="T11" fmla="*/ 4 h 12"/>
                  <a:gd name="T12" fmla="*/ 18 w 18"/>
                  <a:gd name="T13" fmla="*/ 1 h 12"/>
                  <a:gd name="T14" fmla="*/ 17 w 18"/>
                  <a:gd name="T15" fmla="*/ 0 h 12"/>
                  <a:gd name="T16" fmla="*/ 0 w 18"/>
                  <a:gd name="T17" fmla="*/ 0 h 12"/>
                  <a:gd name="T18" fmla="*/ 0 w 18"/>
                  <a:gd name="T19" fmla="*/ 0 h 12"/>
                  <a:gd name="T20" fmla="*/ 0 w 18"/>
                  <a:gd name="T21" fmla="*/ 1 h 12"/>
                  <a:gd name="T22" fmla="*/ 0 w 18"/>
                  <a:gd name="T23" fmla="*/ 1 h 12"/>
                  <a:gd name="T24" fmla="*/ 0 w 18"/>
                  <a:gd name="T2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" h="12">
                    <a:moveTo>
                      <a:pt x="17" y="0"/>
                    </a:moveTo>
                    <a:cubicBezTo>
                      <a:pt x="17" y="1"/>
                      <a:pt x="17" y="1"/>
                      <a:pt x="17" y="1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8" y="4"/>
                      <a:pt x="17" y="7"/>
                      <a:pt x="15" y="10"/>
                    </a:cubicBezTo>
                    <a:cubicBezTo>
                      <a:pt x="13" y="12"/>
                      <a:pt x="13" y="12"/>
                      <a:pt x="13" y="12"/>
                    </a:cubicBezTo>
                    <a:cubicBezTo>
                      <a:pt x="16" y="10"/>
                      <a:pt x="18" y="7"/>
                      <a:pt x="18" y="4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7" y="1"/>
                      <a:pt x="17" y="0"/>
                      <a:pt x="17" y="0"/>
                    </a:cubicBezTo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0024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63" name="Freeform 721"/>
              <p:cNvSpPr>
                <a:spLocks/>
              </p:cNvSpPr>
              <p:nvPr/>
            </p:nvSpPr>
            <p:spPr bwMode="auto">
              <a:xfrm>
                <a:off x="5990816" y="2350453"/>
                <a:ext cx="48999" cy="77998"/>
              </a:xfrm>
              <a:custGeom>
                <a:avLst/>
                <a:gdLst>
                  <a:gd name="T0" fmla="*/ 9 w 21"/>
                  <a:gd name="T1" fmla="*/ 0 h 33"/>
                  <a:gd name="T2" fmla="*/ 9 w 21"/>
                  <a:gd name="T3" fmla="*/ 0 h 33"/>
                  <a:gd name="T4" fmla="*/ 3 w 21"/>
                  <a:gd name="T5" fmla="*/ 3 h 33"/>
                  <a:gd name="T6" fmla="*/ 0 w 21"/>
                  <a:gd name="T7" fmla="*/ 9 h 33"/>
                  <a:gd name="T8" fmla="*/ 3 w 21"/>
                  <a:gd name="T9" fmla="*/ 14 h 33"/>
                  <a:gd name="T10" fmla="*/ 21 w 21"/>
                  <a:gd name="T11" fmla="*/ 33 h 33"/>
                  <a:gd name="T12" fmla="*/ 20 w 21"/>
                  <a:gd name="T13" fmla="*/ 31 h 33"/>
                  <a:gd name="T14" fmla="*/ 20 w 21"/>
                  <a:gd name="T15" fmla="*/ 8 h 33"/>
                  <a:gd name="T16" fmla="*/ 15 w 21"/>
                  <a:gd name="T17" fmla="*/ 3 h 33"/>
                  <a:gd name="T18" fmla="*/ 9 w 21"/>
                  <a:gd name="T19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3">
                    <a:moveTo>
                      <a:pt x="9" y="0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6" y="0"/>
                      <a:pt x="4" y="1"/>
                      <a:pt x="3" y="3"/>
                    </a:cubicBezTo>
                    <a:cubicBezTo>
                      <a:pt x="1" y="4"/>
                      <a:pt x="0" y="6"/>
                      <a:pt x="0" y="9"/>
                    </a:cubicBezTo>
                    <a:cubicBezTo>
                      <a:pt x="0" y="11"/>
                      <a:pt x="1" y="13"/>
                      <a:pt x="3" y="14"/>
                    </a:cubicBezTo>
                    <a:cubicBezTo>
                      <a:pt x="21" y="33"/>
                      <a:pt x="21" y="33"/>
                      <a:pt x="21" y="33"/>
                    </a:cubicBezTo>
                    <a:cubicBezTo>
                      <a:pt x="21" y="32"/>
                      <a:pt x="20" y="31"/>
                      <a:pt x="20" y="31"/>
                    </a:cubicBezTo>
                    <a:cubicBezTo>
                      <a:pt x="19" y="23"/>
                      <a:pt x="19" y="15"/>
                      <a:pt x="20" y="8"/>
                    </a:cubicBezTo>
                    <a:cubicBezTo>
                      <a:pt x="15" y="3"/>
                      <a:pt x="15" y="3"/>
                      <a:pt x="15" y="3"/>
                    </a:cubicBezTo>
                    <a:cubicBezTo>
                      <a:pt x="13" y="1"/>
                      <a:pt x="11" y="0"/>
                      <a:pt x="9" y="0"/>
                    </a:cubicBezTo>
                  </a:path>
                </a:pathLst>
              </a:custGeom>
              <a:solidFill>
                <a:srgbClr val="00BB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64" name="Freeform 722"/>
              <p:cNvSpPr>
                <a:spLocks/>
              </p:cNvSpPr>
              <p:nvPr/>
            </p:nvSpPr>
            <p:spPr bwMode="auto">
              <a:xfrm>
                <a:off x="5990816" y="2350453"/>
                <a:ext cx="53998" cy="82997"/>
              </a:xfrm>
              <a:custGeom>
                <a:avLst/>
                <a:gdLst>
                  <a:gd name="T0" fmla="*/ 9 w 23"/>
                  <a:gd name="T1" fmla="*/ 0 h 35"/>
                  <a:gd name="T2" fmla="*/ 9 w 23"/>
                  <a:gd name="T3" fmla="*/ 0 h 35"/>
                  <a:gd name="T4" fmla="*/ 2 w 23"/>
                  <a:gd name="T5" fmla="*/ 2 h 35"/>
                  <a:gd name="T6" fmla="*/ 0 w 23"/>
                  <a:gd name="T7" fmla="*/ 8 h 35"/>
                  <a:gd name="T8" fmla="*/ 0 w 23"/>
                  <a:gd name="T9" fmla="*/ 9 h 35"/>
                  <a:gd name="T10" fmla="*/ 2 w 23"/>
                  <a:gd name="T11" fmla="*/ 15 h 35"/>
                  <a:gd name="T12" fmla="*/ 23 w 23"/>
                  <a:gd name="T13" fmla="*/ 35 h 35"/>
                  <a:gd name="T14" fmla="*/ 21 w 23"/>
                  <a:gd name="T15" fmla="*/ 33 h 35"/>
                  <a:gd name="T16" fmla="*/ 3 w 23"/>
                  <a:gd name="T17" fmla="*/ 14 h 35"/>
                  <a:gd name="T18" fmla="*/ 0 w 23"/>
                  <a:gd name="T19" fmla="*/ 9 h 35"/>
                  <a:gd name="T20" fmla="*/ 3 w 23"/>
                  <a:gd name="T21" fmla="*/ 3 h 35"/>
                  <a:gd name="T22" fmla="*/ 9 w 23"/>
                  <a:gd name="T23" fmla="*/ 0 h 35"/>
                  <a:gd name="T24" fmla="*/ 9 w 23"/>
                  <a:gd name="T25" fmla="*/ 0 h 35"/>
                  <a:gd name="T26" fmla="*/ 15 w 23"/>
                  <a:gd name="T27" fmla="*/ 3 h 35"/>
                  <a:gd name="T28" fmla="*/ 20 w 23"/>
                  <a:gd name="T29" fmla="*/ 8 h 35"/>
                  <a:gd name="T30" fmla="*/ 20 w 23"/>
                  <a:gd name="T31" fmla="*/ 7 h 35"/>
                  <a:gd name="T32" fmla="*/ 15 w 23"/>
                  <a:gd name="T33" fmla="*/ 2 h 35"/>
                  <a:gd name="T34" fmla="*/ 9 w 23"/>
                  <a:gd name="T35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3" h="35">
                    <a:moveTo>
                      <a:pt x="9" y="0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6" y="0"/>
                      <a:pt x="4" y="1"/>
                      <a:pt x="2" y="2"/>
                    </a:cubicBezTo>
                    <a:cubicBezTo>
                      <a:pt x="1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1" y="13"/>
                      <a:pt x="2" y="15"/>
                    </a:cubicBezTo>
                    <a:cubicBezTo>
                      <a:pt x="23" y="35"/>
                      <a:pt x="23" y="35"/>
                      <a:pt x="23" y="35"/>
                    </a:cubicBezTo>
                    <a:cubicBezTo>
                      <a:pt x="22" y="35"/>
                      <a:pt x="21" y="34"/>
                      <a:pt x="21" y="33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1" y="13"/>
                      <a:pt x="0" y="11"/>
                      <a:pt x="0" y="9"/>
                    </a:cubicBezTo>
                    <a:cubicBezTo>
                      <a:pt x="0" y="6"/>
                      <a:pt x="1" y="4"/>
                      <a:pt x="3" y="3"/>
                    </a:cubicBezTo>
                    <a:cubicBezTo>
                      <a:pt x="4" y="1"/>
                      <a:pt x="6" y="0"/>
                      <a:pt x="9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1" y="0"/>
                      <a:pt x="13" y="1"/>
                      <a:pt x="15" y="3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8"/>
                      <a:pt x="20" y="8"/>
                      <a:pt x="20" y="7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13" y="1"/>
                      <a:pt x="11" y="0"/>
                      <a:pt x="9" y="0"/>
                    </a:cubicBezTo>
                  </a:path>
                </a:pathLst>
              </a:custGeom>
              <a:solidFill>
                <a:srgbClr val="003B6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65" name="Freeform 723"/>
              <p:cNvSpPr>
                <a:spLocks/>
              </p:cNvSpPr>
              <p:nvPr/>
            </p:nvSpPr>
            <p:spPr bwMode="auto">
              <a:xfrm>
                <a:off x="6035815" y="2366452"/>
                <a:ext cx="22999" cy="66998"/>
              </a:xfrm>
              <a:custGeom>
                <a:avLst/>
                <a:gdLst>
                  <a:gd name="T0" fmla="*/ 1 w 10"/>
                  <a:gd name="T1" fmla="*/ 0 h 28"/>
                  <a:gd name="T2" fmla="*/ 1 w 10"/>
                  <a:gd name="T3" fmla="*/ 1 h 28"/>
                  <a:gd name="T4" fmla="*/ 1 w 10"/>
                  <a:gd name="T5" fmla="*/ 24 h 28"/>
                  <a:gd name="T6" fmla="*/ 2 w 10"/>
                  <a:gd name="T7" fmla="*/ 26 h 28"/>
                  <a:gd name="T8" fmla="*/ 4 w 10"/>
                  <a:gd name="T9" fmla="*/ 28 h 28"/>
                  <a:gd name="T10" fmla="*/ 4 w 10"/>
                  <a:gd name="T11" fmla="*/ 28 h 28"/>
                  <a:gd name="T12" fmla="*/ 4 w 10"/>
                  <a:gd name="T13" fmla="*/ 16 h 28"/>
                  <a:gd name="T14" fmla="*/ 10 w 10"/>
                  <a:gd name="T15" fmla="*/ 10 h 28"/>
                  <a:gd name="T16" fmla="*/ 1 w 10"/>
                  <a:gd name="T17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28">
                    <a:moveTo>
                      <a:pt x="1" y="0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0" y="8"/>
                      <a:pt x="0" y="16"/>
                      <a:pt x="1" y="24"/>
                    </a:cubicBezTo>
                    <a:cubicBezTo>
                      <a:pt x="1" y="24"/>
                      <a:pt x="2" y="25"/>
                      <a:pt x="2" y="26"/>
                    </a:cubicBezTo>
                    <a:cubicBezTo>
                      <a:pt x="2" y="27"/>
                      <a:pt x="3" y="28"/>
                      <a:pt x="4" y="28"/>
                    </a:cubicBezTo>
                    <a:cubicBezTo>
                      <a:pt x="4" y="28"/>
                      <a:pt x="4" y="28"/>
                      <a:pt x="4" y="28"/>
                    </a:cubicBezTo>
                    <a:cubicBezTo>
                      <a:pt x="0" y="25"/>
                      <a:pt x="0" y="19"/>
                      <a:pt x="4" y="16"/>
                    </a:cubicBezTo>
                    <a:cubicBezTo>
                      <a:pt x="10" y="10"/>
                      <a:pt x="10" y="10"/>
                      <a:pt x="10" y="1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0089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66" name="Freeform 724"/>
              <p:cNvSpPr>
                <a:spLocks/>
              </p:cNvSpPr>
              <p:nvPr/>
            </p:nvSpPr>
            <p:spPr bwMode="auto">
              <a:xfrm>
                <a:off x="6077813" y="2352453"/>
                <a:ext cx="51998" cy="75998"/>
              </a:xfrm>
              <a:custGeom>
                <a:avLst/>
                <a:gdLst>
                  <a:gd name="T0" fmla="*/ 13 w 22"/>
                  <a:gd name="T1" fmla="*/ 0 h 32"/>
                  <a:gd name="T2" fmla="*/ 13 w 22"/>
                  <a:gd name="T3" fmla="*/ 0 h 32"/>
                  <a:gd name="T4" fmla="*/ 7 w 22"/>
                  <a:gd name="T5" fmla="*/ 2 h 32"/>
                  <a:gd name="T6" fmla="*/ 1 w 22"/>
                  <a:gd name="T7" fmla="*/ 8 h 32"/>
                  <a:gd name="T8" fmla="*/ 1 w 22"/>
                  <a:gd name="T9" fmla="*/ 27 h 32"/>
                  <a:gd name="T10" fmla="*/ 1 w 22"/>
                  <a:gd name="T11" fmla="*/ 28 h 32"/>
                  <a:gd name="T12" fmla="*/ 1 w 22"/>
                  <a:gd name="T13" fmla="*/ 28 h 32"/>
                  <a:gd name="T14" fmla="*/ 0 w 22"/>
                  <a:gd name="T15" fmla="*/ 32 h 32"/>
                  <a:gd name="T16" fmla="*/ 19 w 22"/>
                  <a:gd name="T17" fmla="*/ 14 h 32"/>
                  <a:gd name="T18" fmla="*/ 19 w 22"/>
                  <a:gd name="T19" fmla="*/ 2 h 32"/>
                  <a:gd name="T20" fmla="*/ 13 w 22"/>
                  <a:gd name="T21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" h="32">
                    <a:moveTo>
                      <a:pt x="13" y="0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11" y="0"/>
                      <a:pt x="9" y="0"/>
                      <a:pt x="7" y="2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14"/>
                      <a:pt x="0" y="21"/>
                      <a:pt x="1" y="27"/>
                    </a:cubicBezTo>
                    <a:cubicBezTo>
                      <a:pt x="1" y="27"/>
                      <a:pt x="1" y="28"/>
                      <a:pt x="1" y="28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1" y="30"/>
                      <a:pt x="1" y="31"/>
                      <a:pt x="0" y="32"/>
                    </a:cubicBezTo>
                    <a:cubicBezTo>
                      <a:pt x="19" y="14"/>
                      <a:pt x="19" y="14"/>
                      <a:pt x="19" y="14"/>
                    </a:cubicBezTo>
                    <a:cubicBezTo>
                      <a:pt x="22" y="11"/>
                      <a:pt x="22" y="5"/>
                      <a:pt x="19" y="2"/>
                    </a:cubicBezTo>
                    <a:cubicBezTo>
                      <a:pt x="17" y="1"/>
                      <a:pt x="15" y="0"/>
                      <a:pt x="13" y="0"/>
                    </a:cubicBezTo>
                  </a:path>
                </a:pathLst>
              </a:custGeom>
              <a:solidFill>
                <a:srgbClr val="00BB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67" name="Freeform 725"/>
              <p:cNvSpPr>
                <a:spLocks noEditPoints="1"/>
              </p:cNvSpPr>
              <p:nvPr/>
            </p:nvSpPr>
            <p:spPr bwMode="auto">
              <a:xfrm>
                <a:off x="6047814" y="2350453"/>
                <a:ext cx="84997" cy="89997"/>
              </a:xfrm>
              <a:custGeom>
                <a:avLst/>
                <a:gdLst>
                  <a:gd name="T0" fmla="*/ 2 w 36"/>
                  <a:gd name="T1" fmla="*/ 38 h 38"/>
                  <a:gd name="T2" fmla="*/ 2 w 36"/>
                  <a:gd name="T3" fmla="*/ 38 h 38"/>
                  <a:gd name="T4" fmla="*/ 2 w 36"/>
                  <a:gd name="T5" fmla="*/ 38 h 38"/>
                  <a:gd name="T6" fmla="*/ 0 w 36"/>
                  <a:gd name="T7" fmla="*/ 36 h 38"/>
                  <a:gd name="T8" fmla="*/ 2 w 36"/>
                  <a:gd name="T9" fmla="*/ 38 h 38"/>
                  <a:gd name="T10" fmla="*/ 2 w 36"/>
                  <a:gd name="T11" fmla="*/ 38 h 38"/>
                  <a:gd name="T12" fmla="*/ 2 w 36"/>
                  <a:gd name="T13" fmla="*/ 38 h 38"/>
                  <a:gd name="T14" fmla="*/ 2 w 36"/>
                  <a:gd name="T15" fmla="*/ 38 h 38"/>
                  <a:gd name="T16" fmla="*/ 2 w 36"/>
                  <a:gd name="T17" fmla="*/ 38 h 38"/>
                  <a:gd name="T18" fmla="*/ 2 w 36"/>
                  <a:gd name="T19" fmla="*/ 38 h 38"/>
                  <a:gd name="T20" fmla="*/ 2 w 36"/>
                  <a:gd name="T21" fmla="*/ 37 h 38"/>
                  <a:gd name="T22" fmla="*/ 2 w 36"/>
                  <a:gd name="T23" fmla="*/ 37 h 38"/>
                  <a:gd name="T24" fmla="*/ 0 w 36"/>
                  <a:gd name="T25" fmla="*/ 37 h 38"/>
                  <a:gd name="T26" fmla="*/ 0 w 36"/>
                  <a:gd name="T27" fmla="*/ 37 h 38"/>
                  <a:gd name="T28" fmla="*/ 0 w 36"/>
                  <a:gd name="T29" fmla="*/ 37 h 38"/>
                  <a:gd name="T30" fmla="*/ 0 w 36"/>
                  <a:gd name="T31" fmla="*/ 37 h 38"/>
                  <a:gd name="T32" fmla="*/ 0 w 36"/>
                  <a:gd name="T33" fmla="*/ 37 h 38"/>
                  <a:gd name="T34" fmla="*/ 0 w 36"/>
                  <a:gd name="T35" fmla="*/ 36 h 38"/>
                  <a:gd name="T36" fmla="*/ 0 w 36"/>
                  <a:gd name="T37" fmla="*/ 36 h 38"/>
                  <a:gd name="T38" fmla="*/ 0 w 36"/>
                  <a:gd name="T39" fmla="*/ 36 h 38"/>
                  <a:gd name="T40" fmla="*/ 0 w 36"/>
                  <a:gd name="T41" fmla="*/ 36 h 38"/>
                  <a:gd name="T42" fmla="*/ 26 w 36"/>
                  <a:gd name="T43" fmla="*/ 0 h 38"/>
                  <a:gd name="T44" fmla="*/ 20 w 36"/>
                  <a:gd name="T45" fmla="*/ 3 h 38"/>
                  <a:gd name="T46" fmla="*/ 14 w 36"/>
                  <a:gd name="T47" fmla="*/ 8 h 38"/>
                  <a:gd name="T48" fmla="*/ 14 w 36"/>
                  <a:gd name="T49" fmla="*/ 9 h 38"/>
                  <a:gd name="T50" fmla="*/ 20 w 36"/>
                  <a:gd name="T51" fmla="*/ 3 h 38"/>
                  <a:gd name="T52" fmla="*/ 26 w 36"/>
                  <a:gd name="T53" fmla="*/ 1 h 38"/>
                  <a:gd name="T54" fmla="*/ 26 w 36"/>
                  <a:gd name="T55" fmla="*/ 1 h 38"/>
                  <a:gd name="T56" fmla="*/ 32 w 36"/>
                  <a:gd name="T57" fmla="*/ 3 h 38"/>
                  <a:gd name="T58" fmla="*/ 32 w 36"/>
                  <a:gd name="T59" fmla="*/ 15 h 38"/>
                  <a:gd name="T60" fmla="*/ 13 w 36"/>
                  <a:gd name="T61" fmla="*/ 33 h 38"/>
                  <a:gd name="T62" fmla="*/ 11 w 36"/>
                  <a:gd name="T63" fmla="*/ 36 h 38"/>
                  <a:gd name="T64" fmla="*/ 6 w 36"/>
                  <a:gd name="T65" fmla="*/ 38 h 38"/>
                  <a:gd name="T66" fmla="*/ 6 w 36"/>
                  <a:gd name="T67" fmla="*/ 38 h 38"/>
                  <a:gd name="T68" fmla="*/ 6 w 36"/>
                  <a:gd name="T69" fmla="*/ 38 h 38"/>
                  <a:gd name="T70" fmla="*/ 5 w 36"/>
                  <a:gd name="T71" fmla="*/ 38 h 38"/>
                  <a:gd name="T72" fmla="*/ 11 w 36"/>
                  <a:gd name="T73" fmla="*/ 36 h 38"/>
                  <a:gd name="T74" fmla="*/ 32 w 36"/>
                  <a:gd name="T75" fmla="*/ 15 h 38"/>
                  <a:gd name="T76" fmla="*/ 32 w 36"/>
                  <a:gd name="T77" fmla="*/ 3 h 38"/>
                  <a:gd name="T78" fmla="*/ 26 w 36"/>
                  <a:gd name="T79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6" h="38">
                    <a:moveTo>
                      <a:pt x="2" y="38"/>
                    </a:moveTo>
                    <a:cubicBezTo>
                      <a:pt x="2" y="38"/>
                      <a:pt x="2" y="38"/>
                      <a:pt x="2" y="38"/>
                    </a:cubicBezTo>
                    <a:cubicBezTo>
                      <a:pt x="2" y="38"/>
                      <a:pt x="2" y="38"/>
                      <a:pt x="2" y="38"/>
                    </a:cubicBezTo>
                    <a:moveTo>
                      <a:pt x="0" y="36"/>
                    </a:moveTo>
                    <a:cubicBezTo>
                      <a:pt x="0" y="37"/>
                      <a:pt x="1" y="37"/>
                      <a:pt x="2" y="38"/>
                    </a:cubicBezTo>
                    <a:cubicBezTo>
                      <a:pt x="2" y="38"/>
                      <a:pt x="2" y="38"/>
                      <a:pt x="2" y="38"/>
                    </a:cubicBezTo>
                    <a:cubicBezTo>
                      <a:pt x="2" y="38"/>
                      <a:pt x="2" y="38"/>
                      <a:pt x="2" y="38"/>
                    </a:cubicBezTo>
                    <a:cubicBezTo>
                      <a:pt x="2" y="38"/>
                      <a:pt x="2" y="38"/>
                      <a:pt x="2" y="38"/>
                    </a:cubicBezTo>
                    <a:cubicBezTo>
                      <a:pt x="2" y="38"/>
                      <a:pt x="2" y="38"/>
                      <a:pt x="2" y="38"/>
                    </a:cubicBezTo>
                    <a:cubicBezTo>
                      <a:pt x="2" y="38"/>
                      <a:pt x="2" y="38"/>
                      <a:pt x="2" y="38"/>
                    </a:cubicBezTo>
                    <a:cubicBezTo>
                      <a:pt x="2" y="37"/>
                      <a:pt x="2" y="37"/>
                      <a:pt x="2" y="37"/>
                    </a:cubicBezTo>
                    <a:cubicBezTo>
                      <a:pt x="2" y="37"/>
                      <a:pt x="2" y="37"/>
                      <a:pt x="2" y="37"/>
                    </a:cubicBezTo>
                    <a:cubicBezTo>
                      <a:pt x="1" y="37"/>
                      <a:pt x="1" y="37"/>
                      <a:pt x="0" y="37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37"/>
                      <a:pt x="0" y="36"/>
                      <a:pt x="0" y="36"/>
                    </a:cubicBezTo>
                    <a:moveTo>
                      <a:pt x="0" y="36"/>
                    </a:moveTo>
                    <a:cubicBezTo>
                      <a:pt x="0" y="36"/>
                      <a:pt x="0" y="36"/>
                      <a:pt x="0" y="36"/>
                    </a:cubicBezTo>
                    <a:cubicBezTo>
                      <a:pt x="0" y="36"/>
                      <a:pt x="0" y="36"/>
                      <a:pt x="0" y="36"/>
                    </a:cubicBezTo>
                    <a:moveTo>
                      <a:pt x="26" y="0"/>
                    </a:moveTo>
                    <a:cubicBezTo>
                      <a:pt x="24" y="0"/>
                      <a:pt x="21" y="1"/>
                      <a:pt x="20" y="3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20" y="3"/>
                      <a:pt x="20" y="3"/>
                      <a:pt x="20" y="3"/>
                    </a:cubicBezTo>
                    <a:cubicBezTo>
                      <a:pt x="22" y="1"/>
                      <a:pt x="24" y="1"/>
                      <a:pt x="26" y="1"/>
                    </a:cubicBezTo>
                    <a:cubicBezTo>
                      <a:pt x="26" y="1"/>
                      <a:pt x="26" y="1"/>
                      <a:pt x="26" y="1"/>
                    </a:cubicBezTo>
                    <a:cubicBezTo>
                      <a:pt x="28" y="1"/>
                      <a:pt x="30" y="2"/>
                      <a:pt x="32" y="3"/>
                    </a:cubicBezTo>
                    <a:cubicBezTo>
                      <a:pt x="35" y="6"/>
                      <a:pt x="35" y="12"/>
                      <a:pt x="32" y="15"/>
                    </a:cubicBezTo>
                    <a:cubicBezTo>
                      <a:pt x="13" y="33"/>
                      <a:pt x="13" y="33"/>
                      <a:pt x="13" y="33"/>
                    </a:cubicBezTo>
                    <a:cubicBezTo>
                      <a:pt x="13" y="34"/>
                      <a:pt x="12" y="35"/>
                      <a:pt x="11" y="36"/>
                    </a:cubicBezTo>
                    <a:cubicBezTo>
                      <a:pt x="10" y="37"/>
                      <a:pt x="8" y="38"/>
                      <a:pt x="6" y="38"/>
                    </a:cubicBezTo>
                    <a:cubicBezTo>
                      <a:pt x="6" y="38"/>
                      <a:pt x="6" y="38"/>
                      <a:pt x="6" y="38"/>
                    </a:cubicBezTo>
                    <a:cubicBezTo>
                      <a:pt x="6" y="38"/>
                      <a:pt x="6" y="38"/>
                      <a:pt x="6" y="38"/>
                    </a:cubicBezTo>
                    <a:cubicBezTo>
                      <a:pt x="6" y="38"/>
                      <a:pt x="6" y="38"/>
                      <a:pt x="5" y="38"/>
                    </a:cubicBezTo>
                    <a:cubicBezTo>
                      <a:pt x="7" y="38"/>
                      <a:pt x="10" y="37"/>
                      <a:pt x="11" y="36"/>
                    </a:cubicBezTo>
                    <a:cubicBezTo>
                      <a:pt x="32" y="15"/>
                      <a:pt x="32" y="15"/>
                      <a:pt x="32" y="15"/>
                    </a:cubicBezTo>
                    <a:cubicBezTo>
                      <a:pt x="36" y="12"/>
                      <a:pt x="36" y="6"/>
                      <a:pt x="32" y="3"/>
                    </a:cubicBezTo>
                    <a:cubicBezTo>
                      <a:pt x="30" y="1"/>
                      <a:pt x="28" y="0"/>
                      <a:pt x="26" y="0"/>
                    </a:cubicBezTo>
                  </a:path>
                </a:pathLst>
              </a:custGeom>
              <a:solidFill>
                <a:srgbClr val="003B6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68" name="Freeform 726"/>
              <p:cNvSpPr>
                <a:spLocks noEditPoints="1"/>
              </p:cNvSpPr>
              <p:nvPr/>
            </p:nvSpPr>
            <p:spPr bwMode="auto">
              <a:xfrm>
                <a:off x="6044814" y="2369452"/>
                <a:ext cx="35999" cy="70998"/>
              </a:xfrm>
              <a:custGeom>
                <a:avLst/>
                <a:gdLst>
                  <a:gd name="T0" fmla="*/ 7 w 15"/>
                  <a:gd name="T1" fmla="*/ 30 h 30"/>
                  <a:gd name="T2" fmla="*/ 7 w 15"/>
                  <a:gd name="T3" fmla="*/ 30 h 30"/>
                  <a:gd name="T4" fmla="*/ 7 w 15"/>
                  <a:gd name="T5" fmla="*/ 30 h 30"/>
                  <a:gd name="T6" fmla="*/ 7 w 15"/>
                  <a:gd name="T7" fmla="*/ 30 h 30"/>
                  <a:gd name="T8" fmla="*/ 3 w 15"/>
                  <a:gd name="T9" fmla="*/ 30 h 30"/>
                  <a:gd name="T10" fmla="*/ 3 w 15"/>
                  <a:gd name="T11" fmla="*/ 30 h 30"/>
                  <a:gd name="T12" fmla="*/ 3 w 15"/>
                  <a:gd name="T13" fmla="*/ 30 h 30"/>
                  <a:gd name="T14" fmla="*/ 3 w 15"/>
                  <a:gd name="T15" fmla="*/ 30 h 30"/>
                  <a:gd name="T16" fmla="*/ 6 w 15"/>
                  <a:gd name="T17" fmla="*/ 30 h 30"/>
                  <a:gd name="T18" fmla="*/ 3 w 15"/>
                  <a:gd name="T19" fmla="*/ 30 h 30"/>
                  <a:gd name="T20" fmla="*/ 3 w 15"/>
                  <a:gd name="T21" fmla="*/ 30 h 30"/>
                  <a:gd name="T22" fmla="*/ 3 w 15"/>
                  <a:gd name="T23" fmla="*/ 30 h 30"/>
                  <a:gd name="T24" fmla="*/ 3 w 15"/>
                  <a:gd name="T25" fmla="*/ 30 h 30"/>
                  <a:gd name="T26" fmla="*/ 3 w 15"/>
                  <a:gd name="T27" fmla="*/ 30 h 30"/>
                  <a:gd name="T28" fmla="*/ 3 w 15"/>
                  <a:gd name="T29" fmla="*/ 30 h 30"/>
                  <a:gd name="T30" fmla="*/ 3 w 15"/>
                  <a:gd name="T31" fmla="*/ 30 h 30"/>
                  <a:gd name="T32" fmla="*/ 3 w 15"/>
                  <a:gd name="T33" fmla="*/ 29 h 30"/>
                  <a:gd name="T34" fmla="*/ 3 w 15"/>
                  <a:gd name="T35" fmla="*/ 29 h 30"/>
                  <a:gd name="T36" fmla="*/ 3 w 15"/>
                  <a:gd name="T37" fmla="*/ 29 h 30"/>
                  <a:gd name="T38" fmla="*/ 1 w 15"/>
                  <a:gd name="T39" fmla="*/ 29 h 30"/>
                  <a:gd name="T40" fmla="*/ 1 w 15"/>
                  <a:gd name="T41" fmla="*/ 29 h 30"/>
                  <a:gd name="T42" fmla="*/ 1 w 15"/>
                  <a:gd name="T43" fmla="*/ 29 h 30"/>
                  <a:gd name="T44" fmla="*/ 1 w 15"/>
                  <a:gd name="T45" fmla="*/ 29 h 30"/>
                  <a:gd name="T46" fmla="*/ 1 w 15"/>
                  <a:gd name="T47" fmla="*/ 29 h 30"/>
                  <a:gd name="T48" fmla="*/ 1 w 15"/>
                  <a:gd name="T49" fmla="*/ 29 h 30"/>
                  <a:gd name="T50" fmla="*/ 0 w 15"/>
                  <a:gd name="T51" fmla="*/ 27 h 30"/>
                  <a:gd name="T52" fmla="*/ 0 w 15"/>
                  <a:gd name="T53" fmla="*/ 28 h 30"/>
                  <a:gd name="T54" fmla="*/ 1 w 15"/>
                  <a:gd name="T55" fmla="*/ 28 h 30"/>
                  <a:gd name="T56" fmla="*/ 1 w 15"/>
                  <a:gd name="T57" fmla="*/ 28 h 30"/>
                  <a:gd name="T58" fmla="*/ 1 w 15"/>
                  <a:gd name="T59" fmla="*/ 28 h 30"/>
                  <a:gd name="T60" fmla="*/ 1 w 15"/>
                  <a:gd name="T61" fmla="*/ 29 h 30"/>
                  <a:gd name="T62" fmla="*/ 0 w 15"/>
                  <a:gd name="T63" fmla="*/ 28 h 30"/>
                  <a:gd name="T64" fmla="*/ 0 w 15"/>
                  <a:gd name="T65" fmla="*/ 27 h 30"/>
                  <a:gd name="T66" fmla="*/ 15 w 15"/>
                  <a:gd name="T67" fmla="*/ 0 h 30"/>
                  <a:gd name="T68" fmla="*/ 6 w 15"/>
                  <a:gd name="T69" fmla="*/ 9 h 30"/>
                  <a:gd name="T70" fmla="*/ 12 w 15"/>
                  <a:gd name="T71" fmla="*/ 15 h 30"/>
                  <a:gd name="T72" fmla="*/ 15 w 15"/>
                  <a:gd name="T73" fmla="*/ 20 h 30"/>
                  <a:gd name="T74" fmla="*/ 15 w 15"/>
                  <a:gd name="T75" fmla="*/ 1 h 30"/>
                  <a:gd name="T76" fmla="*/ 15 w 15"/>
                  <a:gd name="T77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5" h="30">
                    <a:moveTo>
                      <a:pt x="7" y="30"/>
                    </a:moveTo>
                    <a:cubicBezTo>
                      <a:pt x="7" y="30"/>
                      <a:pt x="7" y="30"/>
                      <a:pt x="7" y="30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7" y="30"/>
                      <a:pt x="7" y="30"/>
                      <a:pt x="7" y="30"/>
                    </a:cubicBezTo>
                    <a:moveTo>
                      <a:pt x="3" y="30"/>
                    </a:moveTo>
                    <a:cubicBezTo>
                      <a:pt x="3" y="30"/>
                      <a:pt x="3" y="30"/>
                      <a:pt x="3" y="30"/>
                    </a:cubicBezTo>
                    <a:cubicBezTo>
                      <a:pt x="3" y="30"/>
                      <a:pt x="3" y="30"/>
                      <a:pt x="3" y="30"/>
                    </a:cubicBezTo>
                    <a:cubicBezTo>
                      <a:pt x="3" y="30"/>
                      <a:pt x="3" y="30"/>
                      <a:pt x="3" y="30"/>
                    </a:cubicBezTo>
                    <a:cubicBezTo>
                      <a:pt x="4" y="30"/>
                      <a:pt x="5" y="30"/>
                      <a:pt x="6" y="30"/>
                    </a:cubicBezTo>
                    <a:cubicBezTo>
                      <a:pt x="5" y="30"/>
                      <a:pt x="4" y="30"/>
                      <a:pt x="3" y="30"/>
                    </a:cubicBezTo>
                    <a:moveTo>
                      <a:pt x="3" y="30"/>
                    </a:moveTo>
                    <a:cubicBezTo>
                      <a:pt x="3" y="30"/>
                      <a:pt x="3" y="30"/>
                      <a:pt x="3" y="30"/>
                    </a:cubicBezTo>
                    <a:cubicBezTo>
                      <a:pt x="3" y="30"/>
                      <a:pt x="3" y="30"/>
                      <a:pt x="3" y="30"/>
                    </a:cubicBezTo>
                    <a:moveTo>
                      <a:pt x="3" y="30"/>
                    </a:moveTo>
                    <a:cubicBezTo>
                      <a:pt x="3" y="30"/>
                      <a:pt x="3" y="30"/>
                      <a:pt x="3" y="30"/>
                    </a:cubicBezTo>
                    <a:cubicBezTo>
                      <a:pt x="3" y="30"/>
                      <a:pt x="3" y="30"/>
                      <a:pt x="3" y="30"/>
                    </a:cubicBezTo>
                    <a:moveTo>
                      <a:pt x="3" y="29"/>
                    </a:moveTo>
                    <a:cubicBezTo>
                      <a:pt x="3" y="29"/>
                      <a:pt x="3" y="29"/>
                      <a:pt x="3" y="29"/>
                    </a:cubicBezTo>
                    <a:cubicBezTo>
                      <a:pt x="3" y="29"/>
                      <a:pt x="3" y="29"/>
                      <a:pt x="3" y="29"/>
                    </a:cubicBezTo>
                    <a:moveTo>
                      <a:pt x="1" y="29"/>
                    </a:moveTo>
                    <a:cubicBezTo>
                      <a:pt x="1" y="29"/>
                      <a:pt x="1" y="29"/>
                      <a:pt x="1" y="29"/>
                    </a:cubicBezTo>
                    <a:cubicBezTo>
                      <a:pt x="1" y="29"/>
                      <a:pt x="1" y="29"/>
                      <a:pt x="1" y="29"/>
                    </a:cubicBezTo>
                    <a:moveTo>
                      <a:pt x="1" y="29"/>
                    </a:moveTo>
                    <a:cubicBezTo>
                      <a:pt x="1" y="29"/>
                      <a:pt x="1" y="29"/>
                      <a:pt x="1" y="29"/>
                    </a:cubicBezTo>
                    <a:cubicBezTo>
                      <a:pt x="1" y="29"/>
                      <a:pt x="1" y="29"/>
                      <a:pt x="1" y="29"/>
                    </a:cubicBezTo>
                    <a:moveTo>
                      <a:pt x="0" y="27"/>
                    </a:moveTo>
                    <a:cubicBezTo>
                      <a:pt x="0" y="27"/>
                      <a:pt x="0" y="28"/>
                      <a:pt x="0" y="28"/>
                    </a:cubicBezTo>
                    <a:cubicBezTo>
                      <a:pt x="0" y="28"/>
                      <a:pt x="0" y="28"/>
                      <a:pt x="1" y="28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1" y="28"/>
                      <a:pt x="1" y="29"/>
                      <a:pt x="1" y="29"/>
                    </a:cubicBezTo>
                    <a:cubicBezTo>
                      <a:pt x="1" y="28"/>
                      <a:pt x="0" y="28"/>
                      <a:pt x="0" y="28"/>
                    </a:cubicBezTo>
                    <a:cubicBezTo>
                      <a:pt x="0" y="27"/>
                      <a:pt x="0" y="27"/>
                      <a:pt x="0" y="27"/>
                    </a:cubicBezTo>
                    <a:moveTo>
                      <a:pt x="15" y="0"/>
                    </a:moveTo>
                    <a:cubicBezTo>
                      <a:pt x="6" y="9"/>
                      <a:pt x="6" y="9"/>
                      <a:pt x="6" y="9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4" y="16"/>
                      <a:pt x="15" y="18"/>
                      <a:pt x="15" y="20"/>
                    </a:cubicBezTo>
                    <a:cubicBezTo>
                      <a:pt x="14" y="14"/>
                      <a:pt x="14" y="7"/>
                      <a:pt x="15" y="1"/>
                    </a:cubicBezTo>
                    <a:cubicBezTo>
                      <a:pt x="15" y="1"/>
                      <a:pt x="15" y="1"/>
                      <a:pt x="15" y="0"/>
                    </a:cubicBezTo>
                  </a:path>
                </a:pathLst>
              </a:custGeom>
              <a:solidFill>
                <a:srgbClr val="0089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69" name="Freeform 727"/>
              <p:cNvSpPr>
                <a:spLocks/>
              </p:cNvSpPr>
              <p:nvPr/>
            </p:nvSpPr>
            <p:spPr bwMode="auto">
              <a:xfrm>
                <a:off x="6077813" y="2416451"/>
                <a:ext cx="3000" cy="12000"/>
              </a:xfrm>
              <a:custGeom>
                <a:avLst/>
                <a:gdLst>
                  <a:gd name="T0" fmla="*/ 1 w 1"/>
                  <a:gd name="T1" fmla="*/ 0 h 5"/>
                  <a:gd name="T2" fmla="*/ 1 w 1"/>
                  <a:gd name="T3" fmla="*/ 0 h 5"/>
                  <a:gd name="T4" fmla="*/ 0 w 1"/>
                  <a:gd name="T5" fmla="*/ 5 h 5"/>
                  <a:gd name="T6" fmla="*/ 0 w 1"/>
                  <a:gd name="T7" fmla="*/ 5 h 5"/>
                  <a:gd name="T8" fmla="*/ 1 w 1"/>
                  <a:gd name="T9" fmla="*/ 1 h 5"/>
                  <a:gd name="T10" fmla="*/ 1 w 1"/>
                  <a:gd name="T11" fmla="*/ 1 h 5"/>
                  <a:gd name="T12" fmla="*/ 1 w 1"/>
                  <a:gd name="T13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" h="5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2"/>
                      <a:pt x="1" y="3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1" y="4"/>
                      <a:pt x="1" y="3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0089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70" name="Freeform 728"/>
              <p:cNvSpPr>
                <a:spLocks noEditPoints="1"/>
              </p:cNvSpPr>
              <p:nvPr/>
            </p:nvSpPr>
            <p:spPr bwMode="auto">
              <a:xfrm>
                <a:off x="6047814" y="2428451"/>
                <a:ext cx="29999" cy="12000"/>
              </a:xfrm>
              <a:custGeom>
                <a:avLst/>
                <a:gdLst>
                  <a:gd name="T0" fmla="*/ 5 w 13"/>
                  <a:gd name="T1" fmla="*/ 5 h 5"/>
                  <a:gd name="T2" fmla="*/ 5 w 13"/>
                  <a:gd name="T3" fmla="*/ 5 h 5"/>
                  <a:gd name="T4" fmla="*/ 5 w 13"/>
                  <a:gd name="T5" fmla="*/ 5 h 5"/>
                  <a:gd name="T6" fmla="*/ 5 w 13"/>
                  <a:gd name="T7" fmla="*/ 5 h 5"/>
                  <a:gd name="T8" fmla="*/ 6 w 13"/>
                  <a:gd name="T9" fmla="*/ 5 h 5"/>
                  <a:gd name="T10" fmla="*/ 5 w 13"/>
                  <a:gd name="T11" fmla="*/ 5 h 5"/>
                  <a:gd name="T12" fmla="*/ 5 w 13"/>
                  <a:gd name="T13" fmla="*/ 5 h 5"/>
                  <a:gd name="T14" fmla="*/ 6 w 13"/>
                  <a:gd name="T15" fmla="*/ 5 h 5"/>
                  <a:gd name="T16" fmla="*/ 2 w 13"/>
                  <a:gd name="T17" fmla="*/ 5 h 5"/>
                  <a:gd name="T18" fmla="*/ 2 w 13"/>
                  <a:gd name="T19" fmla="*/ 5 h 5"/>
                  <a:gd name="T20" fmla="*/ 2 w 13"/>
                  <a:gd name="T21" fmla="*/ 5 h 5"/>
                  <a:gd name="T22" fmla="*/ 2 w 13"/>
                  <a:gd name="T23" fmla="*/ 5 h 5"/>
                  <a:gd name="T24" fmla="*/ 2 w 13"/>
                  <a:gd name="T25" fmla="*/ 5 h 5"/>
                  <a:gd name="T26" fmla="*/ 2 w 13"/>
                  <a:gd name="T27" fmla="*/ 5 h 5"/>
                  <a:gd name="T28" fmla="*/ 2 w 13"/>
                  <a:gd name="T29" fmla="*/ 4 h 5"/>
                  <a:gd name="T30" fmla="*/ 2 w 13"/>
                  <a:gd name="T31" fmla="*/ 5 h 5"/>
                  <a:gd name="T32" fmla="*/ 2 w 13"/>
                  <a:gd name="T33" fmla="*/ 4 h 5"/>
                  <a:gd name="T34" fmla="*/ 0 w 13"/>
                  <a:gd name="T35" fmla="*/ 4 h 5"/>
                  <a:gd name="T36" fmla="*/ 2 w 13"/>
                  <a:gd name="T37" fmla="*/ 4 h 5"/>
                  <a:gd name="T38" fmla="*/ 0 w 13"/>
                  <a:gd name="T39" fmla="*/ 4 h 5"/>
                  <a:gd name="T40" fmla="*/ 0 w 13"/>
                  <a:gd name="T41" fmla="*/ 4 h 5"/>
                  <a:gd name="T42" fmla="*/ 0 w 13"/>
                  <a:gd name="T43" fmla="*/ 4 h 5"/>
                  <a:gd name="T44" fmla="*/ 0 w 13"/>
                  <a:gd name="T45" fmla="*/ 4 h 5"/>
                  <a:gd name="T46" fmla="*/ 0 w 13"/>
                  <a:gd name="T47" fmla="*/ 4 h 5"/>
                  <a:gd name="T48" fmla="*/ 0 w 13"/>
                  <a:gd name="T49" fmla="*/ 4 h 5"/>
                  <a:gd name="T50" fmla="*/ 0 w 13"/>
                  <a:gd name="T51" fmla="*/ 4 h 5"/>
                  <a:gd name="T52" fmla="*/ 13 w 13"/>
                  <a:gd name="T53" fmla="*/ 0 h 5"/>
                  <a:gd name="T54" fmla="*/ 13 w 13"/>
                  <a:gd name="T55" fmla="*/ 0 h 5"/>
                  <a:gd name="T56" fmla="*/ 6 w 13"/>
                  <a:gd name="T57" fmla="*/ 5 h 5"/>
                  <a:gd name="T58" fmla="*/ 11 w 13"/>
                  <a:gd name="T59" fmla="*/ 3 h 5"/>
                  <a:gd name="T60" fmla="*/ 13 w 13"/>
                  <a:gd name="T6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3" h="5">
                    <a:moveTo>
                      <a:pt x="5" y="5"/>
                    </a:move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5" y="5"/>
                      <a:pt x="5" y="5"/>
                    </a:cubicBezTo>
                    <a:moveTo>
                      <a:pt x="6" y="5"/>
                    </a:moveTo>
                    <a:cubicBezTo>
                      <a:pt x="6" y="5"/>
                      <a:pt x="6" y="5"/>
                      <a:pt x="5" y="5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6" y="5"/>
                      <a:pt x="6" y="5"/>
                    </a:cubicBezTo>
                    <a:moveTo>
                      <a:pt x="2" y="5"/>
                    </a:move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moveTo>
                      <a:pt x="2" y="5"/>
                    </a:move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moveTo>
                      <a:pt x="2" y="4"/>
                    </a:moveTo>
                    <a:cubicBezTo>
                      <a:pt x="2" y="4"/>
                      <a:pt x="2" y="4"/>
                      <a:pt x="2" y="5"/>
                    </a:cubicBezTo>
                    <a:cubicBezTo>
                      <a:pt x="2" y="4"/>
                      <a:pt x="2" y="4"/>
                      <a:pt x="2" y="4"/>
                    </a:cubicBezTo>
                    <a:moveTo>
                      <a:pt x="0" y="4"/>
                    </a:moveTo>
                    <a:cubicBezTo>
                      <a:pt x="1" y="4"/>
                      <a:pt x="1" y="4"/>
                      <a:pt x="2" y="4"/>
                    </a:cubicBezTo>
                    <a:cubicBezTo>
                      <a:pt x="1" y="4"/>
                      <a:pt x="1" y="4"/>
                      <a:pt x="0" y="4"/>
                    </a:cubicBezTo>
                    <a:moveTo>
                      <a:pt x="0" y="4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moveTo>
                      <a:pt x="0" y="4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moveTo>
                      <a:pt x="13" y="0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12" y="3"/>
                      <a:pt x="10" y="5"/>
                      <a:pt x="6" y="5"/>
                    </a:cubicBezTo>
                    <a:cubicBezTo>
                      <a:pt x="8" y="5"/>
                      <a:pt x="10" y="4"/>
                      <a:pt x="11" y="3"/>
                    </a:cubicBezTo>
                    <a:cubicBezTo>
                      <a:pt x="12" y="2"/>
                      <a:pt x="13" y="1"/>
                      <a:pt x="13" y="0"/>
                    </a:cubicBezTo>
                  </a:path>
                </a:pathLst>
              </a:custGeom>
              <a:solidFill>
                <a:srgbClr val="002B6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71" name="Freeform 729"/>
              <p:cNvSpPr>
                <a:spLocks/>
              </p:cNvSpPr>
              <p:nvPr/>
            </p:nvSpPr>
            <p:spPr bwMode="auto">
              <a:xfrm>
                <a:off x="6035815" y="2390452"/>
                <a:ext cx="44999" cy="49998"/>
              </a:xfrm>
              <a:custGeom>
                <a:avLst/>
                <a:gdLst>
                  <a:gd name="T0" fmla="*/ 10 w 19"/>
                  <a:gd name="T1" fmla="*/ 0 h 21"/>
                  <a:gd name="T2" fmla="*/ 4 w 19"/>
                  <a:gd name="T3" fmla="*/ 6 h 21"/>
                  <a:gd name="T4" fmla="*/ 4 w 19"/>
                  <a:gd name="T5" fmla="*/ 18 h 21"/>
                  <a:gd name="T6" fmla="*/ 4 w 19"/>
                  <a:gd name="T7" fmla="*/ 19 h 21"/>
                  <a:gd name="T8" fmla="*/ 5 w 19"/>
                  <a:gd name="T9" fmla="*/ 20 h 21"/>
                  <a:gd name="T10" fmla="*/ 5 w 19"/>
                  <a:gd name="T11" fmla="*/ 20 h 21"/>
                  <a:gd name="T12" fmla="*/ 5 w 19"/>
                  <a:gd name="T13" fmla="*/ 20 h 21"/>
                  <a:gd name="T14" fmla="*/ 5 w 19"/>
                  <a:gd name="T15" fmla="*/ 20 h 21"/>
                  <a:gd name="T16" fmla="*/ 5 w 19"/>
                  <a:gd name="T17" fmla="*/ 20 h 21"/>
                  <a:gd name="T18" fmla="*/ 7 w 19"/>
                  <a:gd name="T19" fmla="*/ 20 h 21"/>
                  <a:gd name="T20" fmla="*/ 7 w 19"/>
                  <a:gd name="T21" fmla="*/ 20 h 21"/>
                  <a:gd name="T22" fmla="*/ 7 w 19"/>
                  <a:gd name="T23" fmla="*/ 21 h 21"/>
                  <a:gd name="T24" fmla="*/ 7 w 19"/>
                  <a:gd name="T25" fmla="*/ 21 h 21"/>
                  <a:gd name="T26" fmla="*/ 7 w 19"/>
                  <a:gd name="T27" fmla="*/ 21 h 21"/>
                  <a:gd name="T28" fmla="*/ 7 w 19"/>
                  <a:gd name="T29" fmla="*/ 21 h 21"/>
                  <a:gd name="T30" fmla="*/ 7 w 19"/>
                  <a:gd name="T31" fmla="*/ 21 h 21"/>
                  <a:gd name="T32" fmla="*/ 10 w 19"/>
                  <a:gd name="T33" fmla="*/ 21 h 21"/>
                  <a:gd name="T34" fmla="*/ 10 w 19"/>
                  <a:gd name="T35" fmla="*/ 21 h 21"/>
                  <a:gd name="T36" fmla="*/ 10 w 19"/>
                  <a:gd name="T37" fmla="*/ 21 h 21"/>
                  <a:gd name="T38" fmla="*/ 10 w 19"/>
                  <a:gd name="T39" fmla="*/ 21 h 21"/>
                  <a:gd name="T40" fmla="*/ 11 w 19"/>
                  <a:gd name="T41" fmla="*/ 21 h 21"/>
                  <a:gd name="T42" fmla="*/ 11 w 19"/>
                  <a:gd name="T43" fmla="*/ 21 h 21"/>
                  <a:gd name="T44" fmla="*/ 18 w 19"/>
                  <a:gd name="T45" fmla="*/ 16 h 21"/>
                  <a:gd name="T46" fmla="*/ 19 w 19"/>
                  <a:gd name="T47" fmla="*/ 11 h 21"/>
                  <a:gd name="T48" fmla="*/ 19 w 19"/>
                  <a:gd name="T49" fmla="*/ 11 h 21"/>
                  <a:gd name="T50" fmla="*/ 16 w 19"/>
                  <a:gd name="T51" fmla="*/ 6 h 21"/>
                  <a:gd name="T52" fmla="*/ 10 w 19"/>
                  <a:gd name="T5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9" h="21">
                    <a:moveTo>
                      <a:pt x="10" y="0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0" y="9"/>
                      <a:pt x="0" y="15"/>
                      <a:pt x="4" y="18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4" y="19"/>
                      <a:pt x="5" y="19"/>
                      <a:pt x="5" y="20"/>
                    </a:cubicBezTo>
                    <a:cubicBezTo>
                      <a:pt x="5" y="20"/>
                      <a:pt x="5" y="20"/>
                      <a:pt x="5" y="20"/>
                    </a:cubicBezTo>
                    <a:cubicBezTo>
                      <a:pt x="5" y="20"/>
                      <a:pt x="5" y="20"/>
                      <a:pt x="5" y="20"/>
                    </a:cubicBezTo>
                    <a:cubicBezTo>
                      <a:pt x="5" y="20"/>
                      <a:pt x="5" y="20"/>
                      <a:pt x="5" y="20"/>
                    </a:cubicBezTo>
                    <a:cubicBezTo>
                      <a:pt x="5" y="20"/>
                      <a:pt x="5" y="20"/>
                      <a:pt x="5" y="20"/>
                    </a:cubicBezTo>
                    <a:cubicBezTo>
                      <a:pt x="6" y="20"/>
                      <a:pt x="6" y="20"/>
                      <a:pt x="7" y="20"/>
                    </a:cubicBezTo>
                    <a:cubicBezTo>
                      <a:pt x="7" y="20"/>
                      <a:pt x="7" y="20"/>
                      <a:pt x="7" y="20"/>
                    </a:cubicBezTo>
                    <a:cubicBezTo>
                      <a:pt x="7" y="20"/>
                      <a:pt x="7" y="20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8" y="21"/>
                      <a:pt x="9" y="21"/>
                      <a:pt x="10" y="21"/>
                    </a:cubicBezTo>
                    <a:cubicBezTo>
                      <a:pt x="10" y="21"/>
                      <a:pt x="10" y="21"/>
                      <a:pt x="10" y="21"/>
                    </a:cubicBezTo>
                    <a:cubicBezTo>
                      <a:pt x="10" y="21"/>
                      <a:pt x="10" y="21"/>
                      <a:pt x="10" y="21"/>
                    </a:cubicBezTo>
                    <a:cubicBezTo>
                      <a:pt x="10" y="21"/>
                      <a:pt x="10" y="21"/>
                      <a:pt x="10" y="21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5" y="21"/>
                      <a:pt x="17" y="19"/>
                      <a:pt x="18" y="16"/>
                    </a:cubicBezTo>
                    <a:cubicBezTo>
                      <a:pt x="19" y="14"/>
                      <a:pt x="19" y="13"/>
                      <a:pt x="19" y="11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19" y="9"/>
                      <a:pt x="18" y="7"/>
                      <a:pt x="16" y="6"/>
                    </a:cubicBezTo>
                    <a:cubicBezTo>
                      <a:pt x="10" y="0"/>
                      <a:pt x="10" y="0"/>
                      <a:pt x="10" y="0"/>
                    </a:cubicBezTo>
                  </a:path>
                </a:pathLst>
              </a:custGeom>
              <a:solidFill>
                <a:srgbClr val="0064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72" name="Freeform 730"/>
              <p:cNvSpPr>
                <a:spLocks/>
              </p:cNvSpPr>
              <p:nvPr/>
            </p:nvSpPr>
            <p:spPr bwMode="auto">
              <a:xfrm>
                <a:off x="6482801" y="2388452"/>
                <a:ext cx="48999" cy="72998"/>
              </a:xfrm>
              <a:custGeom>
                <a:avLst/>
                <a:gdLst>
                  <a:gd name="T0" fmla="*/ 0 w 21"/>
                  <a:gd name="T1" fmla="*/ 0 h 31"/>
                  <a:gd name="T2" fmla="*/ 0 w 21"/>
                  <a:gd name="T3" fmla="*/ 2 h 31"/>
                  <a:gd name="T4" fmla="*/ 1 w 21"/>
                  <a:gd name="T5" fmla="*/ 23 h 31"/>
                  <a:gd name="T6" fmla="*/ 7 w 21"/>
                  <a:gd name="T7" fmla="*/ 29 h 31"/>
                  <a:gd name="T8" fmla="*/ 13 w 21"/>
                  <a:gd name="T9" fmla="*/ 31 h 31"/>
                  <a:gd name="T10" fmla="*/ 19 w 21"/>
                  <a:gd name="T11" fmla="*/ 29 h 31"/>
                  <a:gd name="T12" fmla="*/ 21 w 21"/>
                  <a:gd name="T13" fmla="*/ 23 h 31"/>
                  <a:gd name="T14" fmla="*/ 18 w 21"/>
                  <a:gd name="T15" fmla="*/ 17 h 31"/>
                  <a:gd name="T16" fmla="*/ 0 w 21"/>
                  <a:gd name="T17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" h="31">
                    <a:moveTo>
                      <a:pt x="0" y="0"/>
                    </a:moveTo>
                    <a:cubicBezTo>
                      <a:pt x="0" y="1"/>
                      <a:pt x="0" y="1"/>
                      <a:pt x="0" y="2"/>
                    </a:cubicBezTo>
                    <a:cubicBezTo>
                      <a:pt x="1" y="9"/>
                      <a:pt x="1" y="16"/>
                      <a:pt x="1" y="23"/>
                    </a:cubicBezTo>
                    <a:cubicBezTo>
                      <a:pt x="7" y="29"/>
                      <a:pt x="7" y="29"/>
                      <a:pt x="7" y="29"/>
                    </a:cubicBezTo>
                    <a:cubicBezTo>
                      <a:pt x="9" y="31"/>
                      <a:pt x="11" y="31"/>
                      <a:pt x="13" y="31"/>
                    </a:cubicBezTo>
                    <a:cubicBezTo>
                      <a:pt x="15" y="31"/>
                      <a:pt x="17" y="30"/>
                      <a:pt x="19" y="29"/>
                    </a:cubicBezTo>
                    <a:cubicBezTo>
                      <a:pt x="20" y="27"/>
                      <a:pt x="21" y="25"/>
                      <a:pt x="21" y="23"/>
                    </a:cubicBezTo>
                    <a:cubicBezTo>
                      <a:pt x="21" y="20"/>
                      <a:pt x="20" y="18"/>
                      <a:pt x="18" y="17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00BB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73" name="Freeform 731"/>
              <p:cNvSpPr>
                <a:spLocks/>
              </p:cNvSpPr>
              <p:nvPr/>
            </p:nvSpPr>
            <p:spPr bwMode="auto">
              <a:xfrm>
                <a:off x="6477801" y="2383452"/>
                <a:ext cx="58998" cy="79998"/>
              </a:xfrm>
              <a:custGeom>
                <a:avLst/>
                <a:gdLst>
                  <a:gd name="T0" fmla="*/ 0 w 25"/>
                  <a:gd name="T1" fmla="*/ 0 h 34"/>
                  <a:gd name="T2" fmla="*/ 2 w 25"/>
                  <a:gd name="T3" fmla="*/ 2 h 34"/>
                  <a:gd name="T4" fmla="*/ 20 w 25"/>
                  <a:gd name="T5" fmla="*/ 19 h 34"/>
                  <a:gd name="T6" fmla="*/ 23 w 25"/>
                  <a:gd name="T7" fmla="*/ 25 h 34"/>
                  <a:gd name="T8" fmla="*/ 21 w 25"/>
                  <a:gd name="T9" fmla="*/ 31 h 34"/>
                  <a:gd name="T10" fmla="*/ 15 w 25"/>
                  <a:gd name="T11" fmla="*/ 33 h 34"/>
                  <a:gd name="T12" fmla="*/ 9 w 25"/>
                  <a:gd name="T13" fmla="*/ 31 h 34"/>
                  <a:gd name="T14" fmla="*/ 3 w 25"/>
                  <a:gd name="T15" fmla="*/ 25 h 34"/>
                  <a:gd name="T16" fmla="*/ 3 w 25"/>
                  <a:gd name="T17" fmla="*/ 26 h 34"/>
                  <a:gd name="T18" fmla="*/ 9 w 25"/>
                  <a:gd name="T19" fmla="*/ 32 h 34"/>
                  <a:gd name="T20" fmla="*/ 15 w 25"/>
                  <a:gd name="T21" fmla="*/ 34 h 34"/>
                  <a:gd name="T22" fmla="*/ 15 w 25"/>
                  <a:gd name="T23" fmla="*/ 34 h 34"/>
                  <a:gd name="T24" fmla="*/ 21 w 25"/>
                  <a:gd name="T25" fmla="*/ 31 h 34"/>
                  <a:gd name="T26" fmla="*/ 21 w 25"/>
                  <a:gd name="T27" fmla="*/ 18 h 34"/>
                  <a:gd name="T28" fmla="*/ 0 w 25"/>
                  <a:gd name="T29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5" h="34">
                    <a:moveTo>
                      <a:pt x="0" y="0"/>
                    </a:moveTo>
                    <a:cubicBezTo>
                      <a:pt x="1" y="1"/>
                      <a:pt x="1" y="1"/>
                      <a:pt x="2" y="2"/>
                    </a:cubicBezTo>
                    <a:cubicBezTo>
                      <a:pt x="20" y="19"/>
                      <a:pt x="20" y="19"/>
                      <a:pt x="20" y="19"/>
                    </a:cubicBezTo>
                    <a:cubicBezTo>
                      <a:pt x="22" y="20"/>
                      <a:pt x="23" y="22"/>
                      <a:pt x="23" y="25"/>
                    </a:cubicBezTo>
                    <a:cubicBezTo>
                      <a:pt x="23" y="27"/>
                      <a:pt x="22" y="29"/>
                      <a:pt x="21" y="31"/>
                    </a:cubicBezTo>
                    <a:cubicBezTo>
                      <a:pt x="19" y="32"/>
                      <a:pt x="17" y="33"/>
                      <a:pt x="15" y="33"/>
                    </a:cubicBezTo>
                    <a:cubicBezTo>
                      <a:pt x="13" y="33"/>
                      <a:pt x="11" y="33"/>
                      <a:pt x="9" y="31"/>
                    </a:cubicBezTo>
                    <a:cubicBezTo>
                      <a:pt x="3" y="25"/>
                      <a:pt x="3" y="25"/>
                      <a:pt x="3" y="25"/>
                    </a:cubicBezTo>
                    <a:cubicBezTo>
                      <a:pt x="3" y="26"/>
                      <a:pt x="3" y="26"/>
                      <a:pt x="3" y="26"/>
                    </a:cubicBezTo>
                    <a:cubicBezTo>
                      <a:pt x="9" y="32"/>
                      <a:pt x="9" y="32"/>
                      <a:pt x="9" y="32"/>
                    </a:cubicBezTo>
                    <a:cubicBezTo>
                      <a:pt x="11" y="33"/>
                      <a:pt x="13" y="34"/>
                      <a:pt x="15" y="34"/>
                    </a:cubicBezTo>
                    <a:cubicBezTo>
                      <a:pt x="15" y="34"/>
                      <a:pt x="15" y="34"/>
                      <a:pt x="15" y="34"/>
                    </a:cubicBezTo>
                    <a:cubicBezTo>
                      <a:pt x="17" y="34"/>
                      <a:pt x="20" y="33"/>
                      <a:pt x="21" y="31"/>
                    </a:cubicBezTo>
                    <a:cubicBezTo>
                      <a:pt x="25" y="27"/>
                      <a:pt x="24" y="22"/>
                      <a:pt x="21" y="18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003B6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74" name="Freeform 732"/>
              <p:cNvSpPr>
                <a:spLocks/>
              </p:cNvSpPr>
              <p:nvPr/>
            </p:nvSpPr>
            <p:spPr bwMode="auto">
              <a:xfrm>
                <a:off x="6463801" y="2381452"/>
                <a:ext cx="20999" cy="62998"/>
              </a:xfrm>
              <a:custGeom>
                <a:avLst/>
                <a:gdLst>
                  <a:gd name="T0" fmla="*/ 5 w 9"/>
                  <a:gd name="T1" fmla="*/ 0 h 27"/>
                  <a:gd name="T2" fmla="*/ 8 w 9"/>
                  <a:gd name="T3" fmla="*/ 6 h 27"/>
                  <a:gd name="T4" fmla="*/ 8 w 9"/>
                  <a:gd name="T5" fmla="*/ 7 h 27"/>
                  <a:gd name="T6" fmla="*/ 6 w 9"/>
                  <a:gd name="T7" fmla="*/ 12 h 27"/>
                  <a:gd name="T8" fmla="*/ 0 w 9"/>
                  <a:gd name="T9" fmla="*/ 19 h 27"/>
                  <a:gd name="T10" fmla="*/ 9 w 9"/>
                  <a:gd name="T11" fmla="*/ 27 h 27"/>
                  <a:gd name="T12" fmla="*/ 9 w 9"/>
                  <a:gd name="T13" fmla="*/ 26 h 27"/>
                  <a:gd name="T14" fmla="*/ 8 w 9"/>
                  <a:gd name="T15" fmla="*/ 5 h 27"/>
                  <a:gd name="T16" fmla="*/ 8 w 9"/>
                  <a:gd name="T17" fmla="*/ 3 h 27"/>
                  <a:gd name="T18" fmla="*/ 6 w 9"/>
                  <a:gd name="T19" fmla="*/ 1 h 27"/>
                  <a:gd name="T20" fmla="*/ 5 w 9"/>
                  <a:gd name="T2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" h="27">
                    <a:moveTo>
                      <a:pt x="5" y="0"/>
                    </a:moveTo>
                    <a:cubicBezTo>
                      <a:pt x="7" y="2"/>
                      <a:pt x="8" y="4"/>
                      <a:pt x="8" y="6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8" y="9"/>
                      <a:pt x="7" y="11"/>
                      <a:pt x="6" y="12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9" y="27"/>
                      <a:pt x="9" y="27"/>
                      <a:pt x="9" y="27"/>
                    </a:cubicBezTo>
                    <a:cubicBezTo>
                      <a:pt x="9" y="27"/>
                      <a:pt x="9" y="27"/>
                      <a:pt x="9" y="26"/>
                    </a:cubicBezTo>
                    <a:cubicBezTo>
                      <a:pt x="9" y="19"/>
                      <a:pt x="9" y="12"/>
                      <a:pt x="8" y="5"/>
                    </a:cubicBezTo>
                    <a:cubicBezTo>
                      <a:pt x="8" y="4"/>
                      <a:pt x="8" y="4"/>
                      <a:pt x="8" y="3"/>
                    </a:cubicBezTo>
                    <a:cubicBezTo>
                      <a:pt x="7" y="2"/>
                      <a:pt x="7" y="2"/>
                      <a:pt x="6" y="1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solidFill>
                <a:srgbClr val="0089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75" name="Freeform 733"/>
              <p:cNvSpPr>
                <a:spLocks/>
              </p:cNvSpPr>
              <p:nvPr/>
            </p:nvSpPr>
            <p:spPr bwMode="auto">
              <a:xfrm>
                <a:off x="6394804" y="2388452"/>
                <a:ext cx="49998" cy="77998"/>
              </a:xfrm>
              <a:custGeom>
                <a:avLst/>
                <a:gdLst>
                  <a:gd name="T0" fmla="*/ 20 w 21"/>
                  <a:gd name="T1" fmla="*/ 0 h 33"/>
                  <a:gd name="T2" fmla="*/ 3 w 21"/>
                  <a:gd name="T3" fmla="*/ 20 h 33"/>
                  <a:gd name="T4" fmla="*/ 0 w 21"/>
                  <a:gd name="T5" fmla="*/ 26 h 33"/>
                  <a:gd name="T6" fmla="*/ 3 w 21"/>
                  <a:gd name="T7" fmla="*/ 31 h 33"/>
                  <a:gd name="T8" fmla="*/ 9 w 21"/>
                  <a:gd name="T9" fmla="*/ 33 h 33"/>
                  <a:gd name="T10" fmla="*/ 15 w 21"/>
                  <a:gd name="T11" fmla="*/ 31 h 33"/>
                  <a:gd name="T12" fmla="*/ 20 w 21"/>
                  <a:gd name="T13" fmla="*/ 25 h 33"/>
                  <a:gd name="T14" fmla="*/ 20 w 21"/>
                  <a:gd name="T15" fmla="*/ 6 h 33"/>
                  <a:gd name="T16" fmla="*/ 19 w 21"/>
                  <a:gd name="T17" fmla="*/ 4 h 33"/>
                  <a:gd name="T18" fmla="*/ 19 w 21"/>
                  <a:gd name="T19" fmla="*/ 3 h 33"/>
                  <a:gd name="T20" fmla="*/ 20 w 21"/>
                  <a:gd name="T2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" h="33">
                    <a:moveTo>
                      <a:pt x="20" y="0"/>
                    </a:moveTo>
                    <a:cubicBezTo>
                      <a:pt x="3" y="20"/>
                      <a:pt x="3" y="20"/>
                      <a:pt x="3" y="20"/>
                    </a:cubicBezTo>
                    <a:cubicBezTo>
                      <a:pt x="1" y="21"/>
                      <a:pt x="0" y="23"/>
                      <a:pt x="0" y="26"/>
                    </a:cubicBezTo>
                    <a:cubicBezTo>
                      <a:pt x="1" y="28"/>
                      <a:pt x="2" y="30"/>
                      <a:pt x="3" y="31"/>
                    </a:cubicBezTo>
                    <a:cubicBezTo>
                      <a:pt x="5" y="33"/>
                      <a:pt x="7" y="33"/>
                      <a:pt x="9" y="33"/>
                    </a:cubicBezTo>
                    <a:cubicBezTo>
                      <a:pt x="11" y="33"/>
                      <a:pt x="13" y="32"/>
                      <a:pt x="15" y="31"/>
                    </a:cubicBezTo>
                    <a:cubicBezTo>
                      <a:pt x="20" y="25"/>
                      <a:pt x="20" y="25"/>
                      <a:pt x="20" y="25"/>
                    </a:cubicBezTo>
                    <a:cubicBezTo>
                      <a:pt x="21" y="19"/>
                      <a:pt x="21" y="13"/>
                      <a:pt x="20" y="6"/>
                    </a:cubicBezTo>
                    <a:cubicBezTo>
                      <a:pt x="20" y="6"/>
                      <a:pt x="19" y="5"/>
                      <a:pt x="19" y="4"/>
                    </a:cubicBezTo>
                    <a:cubicBezTo>
                      <a:pt x="19" y="3"/>
                      <a:pt x="19" y="3"/>
                      <a:pt x="19" y="3"/>
                    </a:cubicBezTo>
                    <a:cubicBezTo>
                      <a:pt x="19" y="2"/>
                      <a:pt x="20" y="1"/>
                      <a:pt x="20" y="0"/>
                    </a:cubicBezTo>
                  </a:path>
                </a:pathLst>
              </a:custGeom>
              <a:solidFill>
                <a:srgbClr val="00BB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76" name="Freeform 734"/>
              <p:cNvSpPr>
                <a:spLocks/>
              </p:cNvSpPr>
              <p:nvPr/>
            </p:nvSpPr>
            <p:spPr bwMode="auto">
              <a:xfrm>
                <a:off x="6392804" y="2376452"/>
                <a:ext cx="67998" cy="91997"/>
              </a:xfrm>
              <a:custGeom>
                <a:avLst/>
                <a:gdLst>
                  <a:gd name="T0" fmla="*/ 29 w 29"/>
                  <a:gd name="T1" fmla="*/ 0 h 39"/>
                  <a:gd name="T2" fmla="*/ 29 w 29"/>
                  <a:gd name="T3" fmla="*/ 0 h 39"/>
                  <a:gd name="T4" fmla="*/ 23 w 29"/>
                  <a:gd name="T5" fmla="*/ 3 h 39"/>
                  <a:gd name="T6" fmla="*/ 3 w 29"/>
                  <a:gd name="T7" fmla="*/ 24 h 39"/>
                  <a:gd name="T8" fmla="*/ 4 w 29"/>
                  <a:gd name="T9" fmla="*/ 37 h 39"/>
                  <a:gd name="T10" fmla="*/ 10 w 29"/>
                  <a:gd name="T11" fmla="*/ 39 h 39"/>
                  <a:gd name="T12" fmla="*/ 16 w 29"/>
                  <a:gd name="T13" fmla="*/ 36 h 39"/>
                  <a:gd name="T14" fmla="*/ 21 w 29"/>
                  <a:gd name="T15" fmla="*/ 31 h 39"/>
                  <a:gd name="T16" fmla="*/ 21 w 29"/>
                  <a:gd name="T17" fmla="*/ 30 h 39"/>
                  <a:gd name="T18" fmla="*/ 16 w 29"/>
                  <a:gd name="T19" fmla="*/ 36 h 39"/>
                  <a:gd name="T20" fmla="*/ 10 w 29"/>
                  <a:gd name="T21" fmla="*/ 38 h 39"/>
                  <a:gd name="T22" fmla="*/ 4 w 29"/>
                  <a:gd name="T23" fmla="*/ 36 h 39"/>
                  <a:gd name="T24" fmla="*/ 1 w 29"/>
                  <a:gd name="T25" fmla="*/ 31 h 39"/>
                  <a:gd name="T26" fmla="*/ 4 w 29"/>
                  <a:gd name="T27" fmla="*/ 25 h 39"/>
                  <a:gd name="T28" fmla="*/ 21 w 29"/>
                  <a:gd name="T29" fmla="*/ 5 h 39"/>
                  <a:gd name="T30" fmla="*/ 23 w 29"/>
                  <a:gd name="T31" fmla="*/ 3 h 39"/>
                  <a:gd name="T32" fmla="*/ 29 w 29"/>
                  <a:gd name="T33" fmla="*/ 0 h 39"/>
                  <a:gd name="T34" fmla="*/ 29 w 29"/>
                  <a:gd name="T35" fmla="*/ 0 h 39"/>
                  <a:gd name="T36" fmla="*/ 29 w 29"/>
                  <a:gd name="T37" fmla="*/ 0 h 39"/>
                  <a:gd name="T38" fmla="*/ 29 w 29"/>
                  <a:gd name="T39" fmla="*/ 0 h 39"/>
                  <a:gd name="T40" fmla="*/ 29 w 29"/>
                  <a:gd name="T41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9" h="39">
                    <a:moveTo>
                      <a:pt x="29" y="0"/>
                    </a:moveTo>
                    <a:cubicBezTo>
                      <a:pt x="29" y="0"/>
                      <a:pt x="29" y="0"/>
                      <a:pt x="29" y="0"/>
                    </a:cubicBezTo>
                    <a:cubicBezTo>
                      <a:pt x="27" y="0"/>
                      <a:pt x="24" y="1"/>
                      <a:pt x="23" y="3"/>
                    </a:cubicBezTo>
                    <a:cubicBezTo>
                      <a:pt x="3" y="24"/>
                      <a:pt x="3" y="24"/>
                      <a:pt x="3" y="24"/>
                    </a:cubicBezTo>
                    <a:cubicBezTo>
                      <a:pt x="0" y="28"/>
                      <a:pt x="0" y="33"/>
                      <a:pt x="4" y="37"/>
                    </a:cubicBezTo>
                    <a:cubicBezTo>
                      <a:pt x="5" y="38"/>
                      <a:pt x="8" y="39"/>
                      <a:pt x="10" y="39"/>
                    </a:cubicBezTo>
                    <a:cubicBezTo>
                      <a:pt x="12" y="39"/>
                      <a:pt x="15" y="38"/>
                      <a:pt x="16" y="36"/>
                    </a:cubicBezTo>
                    <a:cubicBezTo>
                      <a:pt x="21" y="31"/>
                      <a:pt x="21" y="31"/>
                      <a:pt x="21" y="31"/>
                    </a:cubicBezTo>
                    <a:cubicBezTo>
                      <a:pt x="21" y="31"/>
                      <a:pt x="21" y="31"/>
                      <a:pt x="21" y="30"/>
                    </a:cubicBezTo>
                    <a:cubicBezTo>
                      <a:pt x="16" y="36"/>
                      <a:pt x="16" y="36"/>
                      <a:pt x="16" y="36"/>
                    </a:cubicBezTo>
                    <a:cubicBezTo>
                      <a:pt x="14" y="37"/>
                      <a:pt x="12" y="38"/>
                      <a:pt x="10" y="38"/>
                    </a:cubicBezTo>
                    <a:cubicBezTo>
                      <a:pt x="8" y="38"/>
                      <a:pt x="6" y="38"/>
                      <a:pt x="4" y="36"/>
                    </a:cubicBezTo>
                    <a:cubicBezTo>
                      <a:pt x="3" y="35"/>
                      <a:pt x="2" y="33"/>
                      <a:pt x="1" y="31"/>
                    </a:cubicBezTo>
                    <a:cubicBezTo>
                      <a:pt x="1" y="28"/>
                      <a:pt x="2" y="26"/>
                      <a:pt x="4" y="25"/>
                    </a:cubicBezTo>
                    <a:cubicBezTo>
                      <a:pt x="21" y="5"/>
                      <a:pt x="21" y="5"/>
                      <a:pt x="21" y="5"/>
                    </a:cubicBezTo>
                    <a:cubicBezTo>
                      <a:pt x="21" y="4"/>
                      <a:pt x="22" y="3"/>
                      <a:pt x="23" y="3"/>
                    </a:cubicBezTo>
                    <a:cubicBezTo>
                      <a:pt x="24" y="1"/>
                      <a:pt x="27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</a:path>
                </a:pathLst>
              </a:custGeom>
              <a:solidFill>
                <a:srgbClr val="003B6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77" name="Freeform 735"/>
              <p:cNvSpPr>
                <a:spLocks noEditPoints="1"/>
              </p:cNvSpPr>
              <p:nvPr/>
            </p:nvSpPr>
            <p:spPr bwMode="auto">
              <a:xfrm>
                <a:off x="6441802" y="2376452"/>
                <a:ext cx="32999" cy="72998"/>
              </a:xfrm>
              <a:custGeom>
                <a:avLst/>
                <a:gdLst>
                  <a:gd name="T0" fmla="*/ 0 w 14"/>
                  <a:gd name="T1" fmla="*/ 11 h 31"/>
                  <a:gd name="T2" fmla="*/ 0 w 14"/>
                  <a:gd name="T3" fmla="*/ 30 h 31"/>
                  <a:gd name="T4" fmla="*/ 0 w 14"/>
                  <a:gd name="T5" fmla="*/ 31 h 31"/>
                  <a:gd name="T6" fmla="*/ 9 w 14"/>
                  <a:gd name="T7" fmla="*/ 21 h 31"/>
                  <a:gd name="T8" fmla="*/ 2 w 14"/>
                  <a:gd name="T9" fmla="*/ 15 h 31"/>
                  <a:gd name="T10" fmla="*/ 0 w 14"/>
                  <a:gd name="T11" fmla="*/ 11 h 31"/>
                  <a:gd name="T12" fmla="*/ 8 w 14"/>
                  <a:gd name="T13" fmla="*/ 0 h 31"/>
                  <a:gd name="T14" fmla="*/ 8 w 14"/>
                  <a:gd name="T15" fmla="*/ 0 h 31"/>
                  <a:gd name="T16" fmla="*/ 14 w 14"/>
                  <a:gd name="T17" fmla="*/ 2 h 31"/>
                  <a:gd name="T18" fmla="*/ 14 w 14"/>
                  <a:gd name="T19" fmla="*/ 2 h 31"/>
                  <a:gd name="T20" fmla="*/ 14 w 14"/>
                  <a:gd name="T21" fmla="*/ 2 h 31"/>
                  <a:gd name="T22" fmla="*/ 8 w 14"/>
                  <a:gd name="T23" fmla="*/ 0 h 31"/>
                  <a:gd name="T24" fmla="*/ 8 w 14"/>
                  <a:gd name="T2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" h="31">
                    <a:moveTo>
                      <a:pt x="0" y="11"/>
                    </a:moveTo>
                    <a:cubicBezTo>
                      <a:pt x="1" y="18"/>
                      <a:pt x="1" y="24"/>
                      <a:pt x="0" y="3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9" y="21"/>
                      <a:pt x="9" y="21"/>
                      <a:pt x="9" y="21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1" y="14"/>
                      <a:pt x="0" y="13"/>
                      <a:pt x="0" y="11"/>
                    </a:cubicBezTo>
                    <a:moveTo>
                      <a:pt x="8" y="0"/>
                    </a:moveTo>
                    <a:cubicBezTo>
                      <a:pt x="8" y="0"/>
                      <a:pt x="8" y="0"/>
                      <a:pt x="8" y="0"/>
                    </a:cubicBezTo>
                    <a:cubicBezTo>
                      <a:pt x="10" y="0"/>
                      <a:pt x="13" y="0"/>
                      <a:pt x="14" y="2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13" y="0"/>
                      <a:pt x="11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</a:path>
                </a:pathLst>
              </a:custGeom>
              <a:solidFill>
                <a:srgbClr val="0089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78" name="Freeform 736"/>
              <p:cNvSpPr>
                <a:spLocks/>
              </p:cNvSpPr>
              <p:nvPr/>
            </p:nvSpPr>
            <p:spPr bwMode="auto">
              <a:xfrm>
                <a:off x="6439802" y="2388452"/>
                <a:ext cx="2000" cy="14000"/>
              </a:xfrm>
              <a:custGeom>
                <a:avLst/>
                <a:gdLst>
                  <a:gd name="T0" fmla="*/ 1 w 1"/>
                  <a:gd name="T1" fmla="*/ 0 h 6"/>
                  <a:gd name="T2" fmla="*/ 1 w 1"/>
                  <a:gd name="T3" fmla="*/ 0 h 6"/>
                  <a:gd name="T4" fmla="*/ 0 w 1"/>
                  <a:gd name="T5" fmla="*/ 3 h 6"/>
                  <a:gd name="T6" fmla="*/ 0 w 1"/>
                  <a:gd name="T7" fmla="*/ 4 h 6"/>
                  <a:gd name="T8" fmla="*/ 1 w 1"/>
                  <a:gd name="T9" fmla="*/ 6 h 6"/>
                  <a:gd name="T10" fmla="*/ 1 w 1"/>
                  <a:gd name="T11" fmla="*/ 5 h 6"/>
                  <a:gd name="T12" fmla="*/ 1 w 1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" h="6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0" y="2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5"/>
                      <a:pt x="1" y="6"/>
                      <a:pt x="1" y="6"/>
                    </a:cubicBezTo>
                    <a:cubicBezTo>
                      <a:pt x="1" y="6"/>
                      <a:pt x="1" y="5"/>
                      <a:pt x="1" y="5"/>
                    </a:cubicBezTo>
                    <a:cubicBezTo>
                      <a:pt x="0" y="3"/>
                      <a:pt x="1" y="1"/>
                      <a:pt x="1" y="0"/>
                    </a:cubicBezTo>
                  </a:path>
                </a:pathLst>
              </a:custGeom>
              <a:solidFill>
                <a:srgbClr val="0089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79" name="Freeform 737"/>
              <p:cNvSpPr>
                <a:spLocks/>
              </p:cNvSpPr>
              <p:nvPr/>
            </p:nvSpPr>
            <p:spPr bwMode="auto">
              <a:xfrm>
                <a:off x="6441802" y="2376452"/>
                <a:ext cx="18999" cy="12000"/>
              </a:xfrm>
              <a:custGeom>
                <a:avLst/>
                <a:gdLst>
                  <a:gd name="T0" fmla="*/ 8 w 8"/>
                  <a:gd name="T1" fmla="*/ 0 h 5"/>
                  <a:gd name="T2" fmla="*/ 2 w 8"/>
                  <a:gd name="T3" fmla="*/ 3 h 5"/>
                  <a:gd name="T4" fmla="*/ 0 w 8"/>
                  <a:gd name="T5" fmla="*/ 5 h 5"/>
                  <a:gd name="T6" fmla="*/ 0 w 8"/>
                  <a:gd name="T7" fmla="*/ 5 h 5"/>
                  <a:gd name="T8" fmla="*/ 7 w 8"/>
                  <a:gd name="T9" fmla="*/ 0 h 5"/>
                  <a:gd name="T10" fmla="*/ 8 w 8"/>
                  <a:gd name="T11" fmla="*/ 0 h 5"/>
                  <a:gd name="T12" fmla="*/ 8 w 8"/>
                  <a:gd name="T13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5">
                    <a:moveTo>
                      <a:pt x="8" y="0"/>
                    </a:moveTo>
                    <a:cubicBezTo>
                      <a:pt x="6" y="0"/>
                      <a:pt x="3" y="1"/>
                      <a:pt x="2" y="3"/>
                    </a:cubicBezTo>
                    <a:cubicBezTo>
                      <a:pt x="1" y="3"/>
                      <a:pt x="0" y="4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1" y="2"/>
                      <a:pt x="4" y="0"/>
                      <a:pt x="7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</a:path>
                </a:pathLst>
              </a:custGeom>
              <a:solidFill>
                <a:srgbClr val="002B6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80" name="Freeform 738"/>
              <p:cNvSpPr>
                <a:spLocks/>
              </p:cNvSpPr>
              <p:nvPr/>
            </p:nvSpPr>
            <p:spPr bwMode="auto">
              <a:xfrm>
                <a:off x="6439802" y="2376452"/>
                <a:ext cx="42999" cy="49998"/>
              </a:xfrm>
              <a:custGeom>
                <a:avLst/>
                <a:gdLst>
                  <a:gd name="T0" fmla="*/ 9 w 18"/>
                  <a:gd name="T1" fmla="*/ 0 h 21"/>
                  <a:gd name="T2" fmla="*/ 8 w 18"/>
                  <a:gd name="T3" fmla="*/ 0 h 21"/>
                  <a:gd name="T4" fmla="*/ 1 w 18"/>
                  <a:gd name="T5" fmla="*/ 5 h 21"/>
                  <a:gd name="T6" fmla="*/ 1 w 18"/>
                  <a:gd name="T7" fmla="*/ 10 h 21"/>
                  <a:gd name="T8" fmla="*/ 1 w 18"/>
                  <a:gd name="T9" fmla="*/ 11 h 21"/>
                  <a:gd name="T10" fmla="*/ 3 w 18"/>
                  <a:gd name="T11" fmla="*/ 15 h 21"/>
                  <a:gd name="T12" fmla="*/ 10 w 18"/>
                  <a:gd name="T13" fmla="*/ 21 h 21"/>
                  <a:gd name="T14" fmla="*/ 16 w 18"/>
                  <a:gd name="T15" fmla="*/ 14 h 21"/>
                  <a:gd name="T16" fmla="*/ 18 w 18"/>
                  <a:gd name="T17" fmla="*/ 9 h 21"/>
                  <a:gd name="T18" fmla="*/ 18 w 18"/>
                  <a:gd name="T19" fmla="*/ 8 h 21"/>
                  <a:gd name="T20" fmla="*/ 15 w 18"/>
                  <a:gd name="T21" fmla="*/ 2 h 21"/>
                  <a:gd name="T22" fmla="*/ 15 w 18"/>
                  <a:gd name="T23" fmla="*/ 2 h 21"/>
                  <a:gd name="T24" fmla="*/ 9 w 18"/>
                  <a:gd name="T2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" h="21">
                    <a:moveTo>
                      <a:pt x="9" y="0"/>
                    </a:moveTo>
                    <a:cubicBezTo>
                      <a:pt x="9" y="0"/>
                      <a:pt x="9" y="0"/>
                      <a:pt x="8" y="0"/>
                    </a:cubicBezTo>
                    <a:cubicBezTo>
                      <a:pt x="5" y="0"/>
                      <a:pt x="2" y="2"/>
                      <a:pt x="1" y="5"/>
                    </a:cubicBezTo>
                    <a:cubicBezTo>
                      <a:pt x="1" y="6"/>
                      <a:pt x="0" y="8"/>
                      <a:pt x="1" y="10"/>
                    </a:cubicBezTo>
                    <a:cubicBezTo>
                      <a:pt x="1" y="10"/>
                      <a:pt x="1" y="11"/>
                      <a:pt x="1" y="11"/>
                    </a:cubicBezTo>
                    <a:cubicBezTo>
                      <a:pt x="1" y="13"/>
                      <a:pt x="2" y="14"/>
                      <a:pt x="3" y="15"/>
                    </a:cubicBezTo>
                    <a:cubicBezTo>
                      <a:pt x="10" y="21"/>
                      <a:pt x="10" y="21"/>
                      <a:pt x="10" y="21"/>
                    </a:cubicBezTo>
                    <a:cubicBezTo>
                      <a:pt x="16" y="14"/>
                      <a:pt x="16" y="14"/>
                      <a:pt x="16" y="14"/>
                    </a:cubicBezTo>
                    <a:cubicBezTo>
                      <a:pt x="17" y="13"/>
                      <a:pt x="18" y="11"/>
                      <a:pt x="18" y="9"/>
                    </a:cubicBezTo>
                    <a:cubicBezTo>
                      <a:pt x="18" y="8"/>
                      <a:pt x="18" y="8"/>
                      <a:pt x="18" y="8"/>
                    </a:cubicBezTo>
                    <a:cubicBezTo>
                      <a:pt x="18" y="6"/>
                      <a:pt x="17" y="4"/>
                      <a:pt x="15" y="2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14" y="0"/>
                      <a:pt x="11" y="0"/>
                      <a:pt x="9" y="0"/>
                    </a:cubicBezTo>
                  </a:path>
                </a:pathLst>
              </a:custGeom>
              <a:solidFill>
                <a:srgbClr val="0064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</p:grpSp>
        <p:grpSp>
          <p:nvGrpSpPr>
            <p:cNvPr id="81" name="Group 80"/>
            <p:cNvGrpSpPr>
              <a:grpSpLocks noChangeAspect="1"/>
            </p:cNvGrpSpPr>
            <p:nvPr/>
          </p:nvGrpSpPr>
          <p:grpSpPr>
            <a:xfrm>
              <a:off x="7350266" y="1528975"/>
              <a:ext cx="733669" cy="750419"/>
              <a:chOff x="4170535" y="2985391"/>
              <a:chExt cx="656981" cy="671980"/>
            </a:xfrm>
          </p:grpSpPr>
          <p:sp>
            <p:nvSpPr>
              <p:cNvPr id="82" name="Oval 245"/>
              <p:cNvSpPr>
                <a:spLocks noChangeArrowheads="1"/>
              </p:cNvSpPr>
              <p:nvPr/>
            </p:nvSpPr>
            <p:spPr bwMode="auto">
              <a:xfrm>
                <a:off x="4170535" y="3006391"/>
                <a:ext cx="647980" cy="650980"/>
              </a:xfrm>
              <a:prstGeom prst="ellipse">
                <a:avLst/>
              </a:prstGeom>
              <a:solidFill>
                <a:srgbClr val="005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83" name="Freeform 246"/>
              <p:cNvSpPr>
                <a:spLocks/>
              </p:cNvSpPr>
              <p:nvPr/>
            </p:nvSpPr>
            <p:spPr bwMode="auto">
              <a:xfrm>
                <a:off x="4640521" y="3165386"/>
                <a:ext cx="179995" cy="455986"/>
              </a:xfrm>
              <a:custGeom>
                <a:avLst/>
                <a:gdLst>
                  <a:gd name="T0" fmla="*/ 56 w 76"/>
                  <a:gd name="T1" fmla="*/ 0 h 193"/>
                  <a:gd name="T2" fmla="*/ 56 w 76"/>
                  <a:gd name="T3" fmla="*/ 0 h 193"/>
                  <a:gd name="T4" fmla="*/ 75 w 76"/>
                  <a:gd name="T5" fmla="*/ 71 h 193"/>
                  <a:gd name="T6" fmla="*/ 0 w 76"/>
                  <a:gd name="T7" fmla="*/ 193 h 193"/>
                  <a:gd name="T8" fmla="*/ 76 w 76"/>
                  <a:gd name="T9" fmla="*/ 70 h 193"/>
                  <a:gd name="T10" fmla="*/ 56 w 76"/>
                  <a:gd name="T11" fmla="*/ 0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6" h="193">
                    <a:moveTo>
                      <a:pt x="56" y="0"/>
                    </a:moveTo>
                    <a:cubicBezTo>
                      <a:pt x="56" y="0"/>
                      <a:pt x="56" y="0"/>
                      <a:pt x="56" y="0"/>
                    </a:cubicBezTo>
                    <a:cubicBezTo>
                      <a:pt x="68" y="21"/>
                      <a:pt x="75" y="45"/>
                      <a:pt x="75" y="71"/>
                    </a:cubicBezTo>
                    <a:cubicBezTo>
                      <a:pt x="75" y="124"/>
                      <a:pt x="45" y="170"/>
                      <a:pt x="0" y="193"/>
                    </a:cubicBezTo>
                    <a:cubicBezTo>
                      <a:pt x="45" y="170"/>
                      <a:pt x="76" y="124"/>
                      <a:pt x="76" y="70"/>
                    </a:cubicBezTo>
                    <a:cubicBezTo>
                      <a:pt x="76" y="44"/>
                      <a:pt x="69" y="20"/>
                      <a:pt x="56" y="0"/>
                    </a:cubicBezTo>
                  </a:path>
                </a:pathLst>
              </a:custGeom>
              <a:solidFill>
                <a:srgbClr val="A7A5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84" name="Freeform 247"/>
              <p:cNvSpPr>
                <a:spLocks/>
              </p:cNvSpPr>
              <p:nvPr/>
            </p:nvSpPr>
            <p:spPr bwMode="auto">
              <a:xfrm>
                <a:off x="4440527" y="3165386"/>
                <a:ext cx="377988" cy="488985"/>
              </a:xfrm>
              <a:custGeom>
                <a:avLst/>
                <a:gdLst>
                  <a:gd name="T0" fmla="*/ 141 w 160"/>
                  <a:gd name="T1" fmla="*/ 0 h 207"/>
                  <a:gd name="T2" fmla="*/ 47 w 160"/>
                  <a:gd name="T3" fmla="*/ 141 h 207"/>
                  <a:gd name="T4" fmla="*/ 47 w 160"/>
                  <a:gd name="T5" fmla="*/ 141 h 207"/>
                  <a:gd name="T6" fmla="*/ 47 w 160"/>
                  <a:gd name="T7" fmla="*/ 141 h 207"/>
                  <a:gd name="T8" fmla="*/ 47 w 160"/>
                  <a:gd name="T9" fmla="*/ 141 h 207"/>
                  <a:gd name="T10" fmla="*/ 47 w 160"/>
                  <a:gd name="T11" fmla="*/ 141 h 207"/>
                  <a:gd name="T12" fmla="*/ 47 w 160"/>
                  <a:gd name="T13" fmla="*/ 141 h 207"/>
                  <a:gd name="T14" fmla="*/ 47 w 160"/>
                  <a:gd name="T15" fmla="*/ 142 h 207"/>
                  <a:gd name="T16" fmla="*/ 47 w 160"/>
                  <a:gd name="T17" fmla="*/ 142 h 207"/>
                  <a:gd name="T18" fmla="*/ 47 w 160"/>
                  <a:gd name="T19" fmla="*/ 142 h 207"/>
                  <a:gd name="T20" fmla="*/ 47 w 160"/>
                  <a:gd name="T21" fmla="*/ 142 h 207"/>
                  <a:gd name="T22" fmla="*/ 47 w 160"/>
                  <a:gd name="T23" fmla="*/ 142 h 207"/>
                  <a:gd name="T24" fmla="*/ 46 w 160"/>
                  <a:gd name="T25" fmla="*/ 142 h 207"/>
                  <a:gd name="T26" fmla="*/ 46 w 160"/>
                  <a:gd name="T27" fmla="*/ 142 h 207"/>
                  <a:gd name="T28" fmla="*/ 46 w 160"/>
                  <a:gd name="T29" fmla="*/ 142 h 207"/>
                  <a:gd name="T30" fmla="*/ 46 w 160"/>
                  <a:gd name="T31" fmla="*/ 142 h 207"/>
                  <a:gd name="T32" fmla="*/ 46 w 160"/>
                  <a:gd name="T33" fmla="*/ 142 h 207"/>
                  <a:gd name="T34" fmla="*/ 46 w 160"/>
                  <a:gd name="T35" fmla="*/ 143 h 207"/>
                  <a:gd name="T36" fmla="*/ 46 w 160"/>
                  <a:gd name="T37" fmla="*/ 143 h 207"/>
                  <a:gd name="T38" fmla="*/ 34 w 160"/>
                  <a:gd name="T39" fmla="*/ 152 h 207"/>
                  <a:gd name="T40" fmla="*/ 20 w 160"/>
                  <a:gd name="T41" fmla="*/ 156 h 207"/>
                  <a:gd name="T42" fmla="*/ 20 w 160"/>
                  <a:gd name="T43" fmla="*/ 156 h 207"/>
                  <a:gd name="T44" fmla="*/ 20 w 160"/>
                  <a:gd name="T45" fmla="*/ 156 h 207"/>
                  <a:gd name="T46" fmla="*/ 5 w 160"/>
                  <a:gd name="T47" fmla="*/ 152 h 207"/>
                  <a:gd name="T48" fmla="*/ 0 w 160"/>
                  <a:gd name="T49" fmla="*/ 149 h 207"/>
                  <a:gd name="T50" fmla="*/ 38 w 160"/>
                  <a:gd name="T51" fmla="*/ 207 h 207"/>
                  <a:gd name="T52" fmla="*/ 85 w 160"/>
                  <a:gd name="T53" fmla="*/ 193 h 207"/>
                  <a:gd name="T54" fmla="*/ 160 w 160"/>
                  <a:gd name="T55" fmla="*/ 71 h 207"/>
                  <a:gd name="T56" fmla="*/ 141 w 160"/>
                  <a:gd name="T57" fmla="*/ 0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60" h="207">
                    <a:moveTo>
                      <a:pt x="141" y="0"/>
                    </a:moveTo>
                    <a:cubicBezTo>
                      <a:pt x="47" y="141"/>
                      <a:pt x="47" y="141"/>
                      <a:pt x="47" y="141"/>
                    </a:cubicBezTo>
                    <a:cubicBezTo>
                      <a:pt x="47" y="141"/>
                      <a:pt x="47" y="141"/>
                      <a:pt x="47" y="141"/>
                    </a:cubicBezTo>
                    <a:cubicBezTo>
                      <a:pt x="47" y="141"/>
                      <a:pt x="47" y="141"/>
                      <a:pt x="47" y="141"/>
                    </a:cubicBezTo>
                    <a:cubicBezTo>
                      <a:pt x="47" y="141"/>
                      <a:pt x="47" y="141"/>
                      <a:pt x="47" y="141"/>
                    </a:cubicBezTo>
                    <a:cubicBezTo>
                      <a:pt x="47" y="141"/>
                      <a:pt x="47" y="141"/>
                      <a:pt x="47" y="141"/>
                    </a:cubicBezTo>
                    <a:cubicBezTo>
                      <a:pt x="47" y="141"/>
                      <a:pt x="47" y="141"/>
                      <a:pt x="47" y="141"/>
                    </a:cubicBezTo>
                    <a:cubicBezTo>
                      <a:pt x="47" y="141"/>
                      <a:pt x="47" y="141"/>
                      <a:pt x="47" y="142"/>
                    </a:cubicBezTo>
                    <a:cubicBezTo>
                      <a:pt x="47" y="142"/>
                      <a:pt x="47" y="142"/>
                      <a:pt x="47" y="142"/>
                    </a:cubicBezTo>
                    <a:cubicBezTo>
                      <a:pt x="47" y="142"/>
                      <a:pt x="47" y="142"/>
                      <a:pt x="47" y="142"/>
                    </a:cubicBezTo>
                    <a:cubicBezTo>
                      <a:pt x="47" y="142"/>
                      <a:pt x="47" y="142"/>
                      <a:pt x="47" y="142"/>
                    </a:cubicBezTo>
                    <a:cubicBezTo>
                      <a:pt x="47" y="142"/>
                      <a:pt x="47" y="142"/>
                      <a:pt x="47" y="142"/>
                    </a:cubicBezTo>
                    <a:cubicBezTo>
                      <a:pt x="47" y="142"/>
                      <a:pt x="46" y="142"/>
                      <a:pt x="46" y="142"/>
                    </a:cubicBezTo>
                    <a:cubicBezTo>
                      <a:pt x="46" y="142"/>
                      <a:pt x="46" y="142"/>
                      <a:pt x="46" y="142"/>
                    </a:cubicBezTo>
                    <a:cubicBezTo>
                      <a:pt x="46" y="142"/>
                      <a:pt x="46" y="142"/>
                      <a:pt x="46" y="142"/>
                    </a:cubicBezTo>
                    <a:cubicBezTo>
                      <a:pt x="46" y="142"/>
                      <a:pt x="46" y="142"/>
                      <a:pt x="46" y="142"/>
                    </a:cubicBezTo>
                    <a:cubicBezTo>
                      <a:pt x="46" y="142"/>
                      <a:pt x="46" y="142"/>
                      <a:pt x="46" y="142"/>
                    </a:cubicBezTo>
                    <a:cubicBezTo>
                      <a:pt x="46" y="143"/>
                      <a:pt x="46" y="143"/>
                      <a:pt x="46" y="143"/>
                    </a:cubicBezTo>
                    <a:cubicBezTo>
                      <a:pt x="46" y="143"/>
                      <a:pt x="46" y="143"/>
                      <a:pt x="46" y="143"/>
                    </a:cubicBezTo>
                    <a:cubicBezTo>
                      <a:pt x="43" y="147"/>
                      <a:pt x="39" y="150"/>
                      <a:pt x="34" y="152"/>
                    </a:cubicBezTo>
                    <a:cubicBezTo>
                      <a:pt x="30" y="154"/>
                      <a:pt x="25" y="156"/>
                      <a:pt x="20" y="156"/>
                    </a:cubicBezTo>
                    <a:cubicBezTo>
                      <a:pt x="20" y="156"/>
                      <a:pt x="20" y="156"/>
                      <a:pt x="20" y="156"/>
                    </a:cubicBezTo>
                    <a:cubicBezTo>
                      <a:pt x="20" y="156"/>
                      <a:pt x="20" y="156"/>
                      <a:pt x="20" y="156"/>
                    </a:cubicBezTo>
                    <a:cubicBezTo>
                      <a:pt x="15" y="156"/>
                      <a:pt x="10" y="154"/>
                      <a:pt x="5" y="152"/>
                    </a:cubicBezTo>
                    <a:cubicBezTo>
                      <a:pt x="4" y="151"/>
                      <a:pt x="2" y="150"/>
                      <a:pt x="0" y="149"/>
                    </a:cubicBezTo>
                    <a:cubicBezTo>
                      <a:pt x="38" y="207"/>
                      <a:pt x="38" y="207"/>
                      <a:pt x="38" y="207"/>
                    </a:cubicBezTo>
                    <a:cubicBezTo>
                      <a:pt x="55" y="205"/>
                      <a:pt x="71" y="200"/>
                      <a:pt x="85" y="193"/>
                    </a:cubicBezTo>
                    <a:cubicBezTo>
                      <a:pt x="130" y="170"/>
                      <a:pt x="160" y="124"/>
                      <a:pt x="160" y="71"/>
                    </a:cubicBezTo>
                    <a:cubicBezTo>
                      <a:pt x="160" y="45"/>
                      <a:pt x="153" y="21"/>
                      <a:pt x="141" y="0"/>
                    </a:cubicBezTo>
                  </a:path>
                </a:pathLst>
              </a:custGeom>
              <a:solidFill>
                <a:srgbClr val="0034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85" name="Freeform 248"/>
              <p:cNvSpPr>
                <a:spLocks/>
              </p:cNvSpPr>
              <p:nvPr/>
            </p:nvSpPr>
            <p:spPr bwMode="auto">
              <a:xfrm>
                <a:off x="4257533" y="2985391"/>
                <a:ext cx="569983" cy="548983"/>
              </a:xfrm>
              <a:custGeom>
                <a:avLst/>
                <a:gdLst>
                  <a:gd name="T0" fmla="*/ 222 w 241"/>
                  <a:gd name="T1" fmla="*/ 11 h 232"/>
                  <a:gd name="T2" fmla="*/ 175 w 241"/>
                  <a:gd name="T3" fmla="*/ 20 h 232"/>
                  <a:gd name="T4" fmla="*/ 97 w 241"/>
                  <a:gd name="T5" fmla="*/ 138 h 232"/>
                  <a:gd name="T6" fmla="*/ 65 w 241"/>
                  <a:gd name="T7" fmla="*/ 91 h 232"/>
                  <a:gd name="T8" fmla="*/ 19 w 241"/>
                  <a:gd name="T9" fmla="*/ 82 h 232"/>
                  <a:gd name="T10" fmla="*/ 10 w 241"/>
                  <a:gd name="T11" fmla="*/ 128 h 232"/>
                  <a:gd name="T12" fmla="*/ 69 w 241"/>
                  <a:gd name="T13" fmla="*/ 217 h 232"/>
                  <a:gd name="T14" fmla="*/ 83 w 241"/>
                  <a:gd name="T15" fmla="*/ 228 h 232"/>
                  <a:gd name="T16" fmla="*/ 95 w 241"/>
                  <a:gd name="T17" fmla="*/ 231 h 232"/>
                  <a:gd name="T18" fmla="*/ 95 w 241"/>
                  <a:gd name="T19" fmla="*/ 231 h 232"/>
                  <a:gd name="T20" fmla="*/ 96 w 241"/>
                  <a:gd name="T21" fmla="*/ 232 h 232"/>
                  <a:gd name="T22" fmla="*/ 97 w 241"/>
                  <a:gd name="T23" fmla="*/ 232 h 232"/>
                  <a:gd name="T24" fmla="*/ 97 w 241"/>
                  <a:gd name="T25" fmla="*/ 232 h 232"/>
                  <a:gd name="T26" fmla="*/ 98 w 241"/>
                  <a:gd name="T27" fmla="*/ 231 h 232"/>
                  <a:gd name="T28" fmla="*/ 99 w 241"/>
                  <a:gd name="T29" fmla="*/ 231 h 232"/>
                  <a:gd name="T30" fmla="*/ 111 w 241"/>
                  <a:gd name="T31" fmla="*/ 228 h 232"/>
                  <a:gd name="T32" fmla="*/ 124 w 241"/>
                  <a:gd name="T33" fmla="*/ 217 h 232"/>
                  <a:gd name="T34" fmla="*/ 231 w 241"/>
                  <a:gd name="T35" fmla="*/ 57 h 232"/>
                  <a:gd name="T36" fmla="*/ 222 w 241"/>
                  <a:gd name="T37" fmla="*/ 11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1" h="232">
                    <a:moveTo>
                      <a:pt x="222" y="11"/>
                    </a:moveTo>
                    <a:cubicBezTo>
                      <a:pt x="206" y="0"/>
                      <a:pt x="186" y="5"/>
                      <a:pt x="175" y="20"/>
                    </a:cubicBezTo>
                    <a:cubicBezTo>
                      <a:pt x="97" y="138"/>
                      <a:pt x="97" y="138"/>
                      <a:pt x="97" y="138"/>
                    </a:cubicBezTo>
                    <a:cubicBezTo>
                      <a:pt x="65" y="91"/>
                      <a:pt x="65" y="91"/>
                      <a:pt x="65" y="91"/>
                    </a:cubicBezTo>
                    <a:cubicBezTo>
                      <a:pt x="55" y="76"/>
                      <a:pt x="35" y="72"/>
                      <a:pt x="19" y="82"/>
                    </a:cubicBezTo>
                    <a:cubicBezTo>
                      <a:pt x="4" y="92"/>
                      <a:pt x="0" y="113"/>
                      <a:pt x="10" y="128"/>
                    </a:cubicBezTo>
                    <a:cubicBezTo>
                      <a:pt x="69" y="217"/>
                      <a:pt x="69" y="217"/>
                      <a:pt x="69" y="217"/>
                    </a:cubicBezTo>
                    <a:cubicBezTo>
                      <a:pt x="73" y="222"/>
                      <a:pt x="77" y="226"/>
                      <a:pt x="83" y="228"/>
                    </a:cubicBezTo>
                    <a:cubicBezTo>
                      <a:pt x="87" y="230"/>
                      <a:pt x="91" y="231"/>
                      <a:pt x="95" y="231"/>
                    </a:cubicBezTo>
                    <a:cubicBezTo>
                      <a:pt x="95" y="231"/>
                      <a:pt x="95" y="231"/>
                      <a:pt x="95" y="231"/>
                    </a:cubicBezTo>
                    <a:cubicBezTo>
                      <a:pt x="95" y="231"/>
                      <a:pt x="96" y="232"/>
                      <a:pt x="96" y="232"/>
                    </a:cubicBezTo>
                    <a:cubicBezTo>
                      <a:pt x="97" y="232"/>
                      <a:pt x="97" y="232"/>
                      <a:pt x="97" y="232"/>
                    </a:cubicBezTo>
                    <a:cubicBezTo>
                      <a:pt x="97" y="232"/>
                      <a:pt x="97" y="232"/>
                      <a:pt x="97" y="232"/>
                    </a:cubicBezTo>
                    <a:cubicBezTo>
                      <a:pt x="98" y="232"/>
                      <a:pt x="98" y="231"/>
                      <a:pt x="98" y="231"/>
                    </a:cubicBezTo>
                    <a:cubicBezTo>
                      <a:pt x="99" y="231"/>
                      <a:pt x="99" y="231"/>
                      <a:pt x="99" y="231"/>
                    </a:cubicBezTo>
                    <a:cubicBezTo>
                      <a:pt x="103" y="231"/>
                      <a:pt x="107" y="230"/>
                      <a:pt x="111" y="228"/>
                    </a:cubicBezTo>
                    <a:cubicBezTo>
                      <a:pt x="116" y="226"/>
                      <a:pt x="121" y="222"/>
                      <a:pt x="124" y="217"/>
                    </a:cubicBezTo>
                    <a:cubicBezTo>
                      <a:pt x="231" y="57"/>
                      <a:pt x="231" y="57"/>
                      <a:pt x="231" y="57"/>
                    </a:cubicBezTo>
                    <a:cubicBezTo>
                      <a:pt x="241" y="41"/>
                      <a:pt x="237" y="21"/>
                      <a:pt x="222" y="1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86" name="Freeform 249"/>
              <p:cNvSpPr>
                <a:spLocks noEditPoints="1"/>
              </p:cNvSpPr>
              <p:nvPr/>
            </p:nvSpPr>
            <p:spPr bwMode="auto">
              <a:xfrm>
                <a:off x="4671520" y="2997391"/>
                <a:ext cx="143996" cy="77998"/>
              </a:xfrm>
              <a:custGeom>
                <a:avLst/>
                <a:gdLst>
                  <a:gd name="T0" fmla="*/ 1 w 61"/>
                  <a:gd name="T1" fmla="*/ 14 h 33"/>
                  <a:gd name="T2" fmla="*/ 0 w 61"/>
                  <a:gd name="T3" fmla="*/ 15 h 33"/>
                  <a:gd name="T4" fmla="*/ 0 w 61"/>
                  <a:gd name="T5" fmla="*/ 15 h 33"/>
                  <a:gd name="T6" fmla="*/ 1 w 61"/>
                  <a:gd name="T7" fmla="*/ 14 h 33"/>
                  <a:gd name="T8" fmla="*/ 1 w 61"/>
                  <a:gd name="T9" fmla="*/ 14 h 33"/>
                  <a:gd name="T10" fmla="*/ 1 w 61"/>
                  <a:gd name="T11" fmla="*/ 14 h 33"/>
                  <a:gd name="T12" fmla="*/ 1 w 61"/>
                  <a:gd name="T13" fmla="*/ 14 h 33"/>
                  <a:gd name="T14" fmla="*/ 28 w 61"/>
                  <a:gd name="T15" fmla="*/ 0 h 33"/>
                  <a:gd name="T16" fmla="*/ 47 w 61"/>
                  <a:gd name="T17" fmla="*/ 6 h 33"/>
                  <a:gd name="T18" fmla="*/ 61 w 61"/>
                  <a:gd name="T19" fmla="*/ 33 h 33"/>
                  <a:gd name="T20" fmla="*/ 47 w 61"/>
                  <a:gd name="T21" fmla="*/ 6 h 33"/>
                  <a:gd name="T22" fmla="*/ 28 w 61"/>
                  <a:gd name="T23" fmla="*/ 0 h 33"/>
                  <a:gd name="T24" fmla="*/ 28 w 61"/>
                  <a:gd name="T25" fmla="*/ 0 h 33"/>
                  <a:gd name="T26" fmla="*/ 28 w 61"/>
                  <a:gd name="T27" fmla="*/ 0 h 33"/>
                  <a:gd name="T28" fmla="*/ 28 w 61"/>
                  <a:gd name="T29" fmla="*/ 0 h 33"/>
                  <a:gd name="T30" fmla="*/ 28 w 61"/>
                  <a:gd name="T3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1" h="33">
                    <a:moveTo>
                      <a:pt x="1" y="14"/>
                    </a:moveTo>
                    <a:cubicBezTo>
                      <a:pt x="1" y="14"/>
                      <a:pt x="1" y="14"/>
                      <a:pt x="0" y="15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" y="14"/>
                      <a:pt x="1" y="14"/>
                      <a:pt x="1" y="14"/>
                    </a:cubicBezTo>
                    <a:moveTo>
                      <a:pt x="1" y="14"/>
                    </a:moveTo>
                    <a:cubicBezTo>
                      <a:pt x="1" y="14"/>
                      <a:pt x="1" y="14"/>
                      <a:pt x="1" y="14"/>
                    </a:cubicBezTo>
                    <a:cubicBezTo>
                      <a:pt x="1" y="14"/>
                      <a:pt x="1" y="14"/>
                      <a:pt x="1" y="14"/>
                    </a:cubicBezTo>
                    <a:moveTo>
                      <a:pt x="28" y="0"/>
                    </a:moveTo>
                    <a:cubicBezTo>
                      <a:pt x="35" y="0"/>
                      <a:pt x="41" y="2"/>
                      <a:pt x="47" y="6"/>
                    </a:cubicBezTo>
                    <a:cubicBezTo>
                      <a:pt x="56" y="12"/>
                      <a:pt x="61" y="23"/>
                      <a:pt x="61" y="33"/>
                    </a:cubicBezTo>
                    <a:cubicBezTo>
                      <a:pt x="61" y="23"/>
                      <a:pt x="56" y="12"/>
                      <a:pt x="47" y="6"/>
                    </a:cubicBezTo>
                    <a:cubicBezTo>
                      <a:pt x="41" y="2"/>
                      <a:pt x="35" y="0"/>
                      <a:pt x="28" y="0"/>
                    </a:cubicBezTo>
                    <a:moveTo>
                      <a:pt x="28" y="0"/>
                    </a:moveTo>
                    <a:cubicBezTo>
                      <a:pt x="28" y="0"/>
                      <a:pt x="28" y="0"/>
                      <a:pt x="28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8" y="0"/>
                      <a:pt x="28" y="0"/>
                      <a:pt x="28" y="0"/>
                    </a:cubicBezTo>
                  </a:path>
                </a:pathLst>
              </a:custGeom>
              <a:solidFill>
                <a:srgbClr val="FAAB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87" name="Freeform 250"/>
              <p:cNvSpPr>
                <a:spLocks noEditPoints="1"/>
              </p:cNvSpPr>
              <p:nvPr/>
            </p:nvSpPr>
            <p:spPr bwMode="auto">
              <a:xfrm>
                <a:off x="4520525" y="3498376"/>
                <a:ext cx="30999" cy="25999"/>
              </a:xfrm>
              <a:custGeom>
                <a:avLst/>
                <a:gdLst>
                  <a:gd name="T0" fmla="*/ 12 w 13"/>
                  <a:gd name="T1" fmla="*/ 2 h 11"/>
                  <a:gd name="T2" fmla="*/ 1 w 13"/>
                  <a:gd name="T3" fmla="*/ 11 h 11"/>
                  <a:gd name="T4" fmla="*/ 0 w 13"/>
                  <a:gd name="T5" fmla="*/ 11 h 11"/>
                  <a:gd name="T6" fmla="*/ 12 w 13"/>
                  <a:gd name="T7" fmla="*/ 2 h 11"/>
                  <a:gd name="T8" fmla="*/ 12 w 13"/>
                  <a:gd name="T9" fmla="*/ 1 h 11"/>
                  <a:gd name="T10" fmla="*/ 12 w 13"/>
                  <a:gd name="T11" fmla="*/ 2 h 11"/>
                  <a:gd name="T12" fmla="*/ 12 w 13"/>
                  <a:gd name="T13" fmla="*/ 1 h 11"/>
                  <a:gd name="T14" fmla="*/ 12 w 13"/>
                  <a:gd name="T15" fmla="*/ 1 h 11"/>
                  <a:gd name="T16" fmla="*/ 12 w 13"/>
                  <a:gd name="T17" fmla="*/ 1 h 11"/>
                  <a:gd name="T18" fmla="*/ 12 w 13"/>
                  <a:gd name="T19" fmla="*/ 1 h 11"/>
                  <a:gd name="T20" fmla="*/ 12 w 13"/>
                  <a:gd name="T21" fmla="*/ 1 h 11"/>
                  <a:gd name="T22" fmla="*/ 12 w 13"/>
                  <a:gd name="T23" fmla="*/ 1 h 11"/>
                  <a:gd name="T24" fmla="*/ 12 w 13"/>
                  <a:gd name="T25" fmla="*/ 1 h 11"/>
                  <a:gd name="T26" fmla="*/ 13 w 13"/>
                  <a:gd name="T27" fmla="*/ 1 h 11"/>
                  <a:gd name="T28" fmla="*/ 13 w 13"/>
                  <a:gd name="T29" fmla="*/ 1 h 11"/>
                  <a:gd name="T30" fmla="*/ 13 w 13"/>
                  <a:gd name="T31" fmla="*/ 1 h 11"/>
                  <a:gd name="T32" fmla="*/ 13 w 13"/>
                  <a:gd name="T33" fmla="*/ 1 h 11"/>
                  <a:gd name="T34" fmla="*/ 13 w 13"/>
                  <a:gd name="T35" fmla="*/ 1 h 11"/>
                  <a:gd name="T36" fmla="*/ 13 w 13"/>
                  <a:gd name="T37" fmla="*/ 1 h 11"/>
                  <a:gd name="T38" fmla="*/ 13 w 13"/>
                  <a:gd name="T39" fmla="*/ 0 h 11"/>
                  <a:gd name="T40" fmla="*/ 13 w 13"/>
                  <a:gd name="T41" fmla="*/ 1 h 11"/>
                  <a:gd name="T42" fmla="*/ 13 w 13"/>
                  <a:gd name="T43" fmla="*/ 0 h 11"/>
                  <a:gd name="T44" fmla="*/ 13 w 13"/>
                  <a:gd name="T45" fmla="*/ 0 h 11"/>
                  <a:gd name="T46" fmla="*/ 13 w 13"/>
                  <a:gd name="T47" fmla="*/ 0 h 11"/>
                  <a:gd name="T48" fmla="*/ 13 w 13"/>
                  <a:gd name="T49" fmla="*/ 0 h 11"/>
                  <a:gd name="T50" fmla="*/ 13 w 13"/>
                  <a:gd name="T51" fmla="*/ 0 h 11"/>
                  <a:gd name="T52" fmla="*/ 13 w 13"/>
                  <a:gd name="T53" fmla="*/ 0 h 11"/>
                  <a:gd name="T54" fmla="*/ 13 w 13"/>
                  <a:gd name="T5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" h="11">
                    <a:moveTo>
                      <a:pt x="12" y="2"/>
                    </a:moveTo>
                    <a:cubicBezTo>
                      <a:pt x="9" y="6"/>
                      <a:pt x="5" y="9"/>
                      <a:pt x="1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5" y="9"/>
                      <a:pt x="9" y="6"/>
                      <a:pt x="12" y="2"/>
                    </a:cubicBezTo>
                    <a:moveTo>
                      <a:pt x="12" y="1"/>
                    </a:moveTo>
                    <a:cubicBezTo>
                      <a:pt x="12" y="2"/>
                      <a:pt x="12" y="2"/>
                      <a:pt x="12" y="2"/>
                    </a:cubicBezTo>
                    <a:cubicBezTo>
                      <a:pt x="12" y="2"/>
                      <a:pt x="12" y="2"/>
                      <a:pt x="12" y="1"/>
                    </a:cubicBezTo>
                    <a:moveTo>
                      <a:pt x="12" y="1"/>
                    </a:moveTo>
                    <a:cubicBezTo>
                      <a:pt x="12" y="1"/>
                      <a:pt x="12" y="1"/>
                      <a:pt x="12" y="1"/>
                    </a:cubicBezTo>
                    <a:cubicBezTo>
                      <a:pt x="12" y="1"/>
                      <a:pt x="12" y="1"/>
                      <a:pt x="12" y="1"/>
                    </a:cubicBezTo>
                    <a:moveTo>
                      <a:pt x="12" y="1"/>
                    </a:moveTo>
                    <a:cubicBezTo>
                      <a:pt x="12" y="1"/>
                      <a:pt x="12" y="1"/>
                      <a:pt x="12" y="1"/>
                    </a:cubicBezTo>
                    <a:cubicBezTo>
                      <a:pt x="12" y="1"/>
                      <a:pt x="12" y="1"/>
                      <a:pt x="12" y="1"/>
                    </a:cubicBezTo>
                    <a:moveTo>
                      <a:pt x="13" y="1"/>
                    </a:move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moveTo>
                      <a:pt x="13" y="1"/>
                    </a:move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moveTo>
                      <a:pt x="13" y="0"/>
                    </a:moveTo>
                    <a:cubicBezTo>
                      <a:pt x="13" y="0"/>
                      <a:pt x="13" y="0"/>
                      <a:pt x="13" y="1"/>
                    </a:cubicBezTo>
                    <a:cubicBezTo>
                      <a:pt x="13" y="0"/>
                      <a:pt x="13" y="0"/>
                      <a:pt x="13" y="0"/>
                    </a:cubicBezTo>
                    <a:moveTo>
                      <a:pt x="13" y="0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13" y="0"/>
                      <a:pt x="13" y="0"/>
                      <a:pt x="13" y="0"/>
                    </a:cubicBezTo>
                    <a:moveTo>
                      <a:pt x="13" y="0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13" y="0"/>
                      <a:pt x="13" y="0"/>
                      <a:pt x="13" y="0"/>
                    </a:cubicBezTo>
                  </a:path>
                </a:pathLst>
              </a:custGeom>
              <a:solidFill>
                <a:srgbClr val="00230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88" name="Freeform 251"/>
              <p:cNvSpPr>
                <a:spLocks/>
              </p:cNvSpPr>
              <p:nvPr/>
            </p:nvSpPr>
            <p:spPr bwMode="auto">
              <a:xfrm>
                <a:off x="4487526" y="2997391"/>
                <a:ext cx="327990" cy="526984"/>
              </a:xfrm>
              <a:custGeom>
                <a:avLst/>
                <a:gdLst>
                  <a:gd name="T0" fmla="*/ 106 w 139"/>
                  <a:gd name="T1" fmla="*/ 0 h 223"/>
                  <a:gd name="T2" fmla="*/ 106 w 139"/>
                  <a:gd name="T3" fmla="*/ 0 h 223"/>
                  <a:gd name="T4" fmla="*/ 79 w 139"/>
                  <a:gd name="T5" fmla="*/ 14 h 223"/>
                  <a:gd name="T6" fmla="*/ 79 w 139"/>
                  <a:gd name="T7" fmla="*/ 14 h 223"/>
                  <a:gd name="T8" fmla="*/ 79 w 139"/>
                  <a:gd name="T9" fmla="*/ 14 h 223"/>
                  <a:gd name="T10" fmla="*/ 78 w 139"/>
                  <a:gd name="T11" fmla="*/ 15 h 223"/>
                  <a:gd name="T12" fmla="*/ 78 w 139"/>
                  <a:gd name="T13" fmla="*/ 15 h 223"/>
                  <a:gd name="T14" fmla="*/ 0 w 139"/>
                  <a:gd name="T15" fmla="*/ 133 h 223"/>
                  <a:gd name="T16" fmla="*/ 27 w 139"/>
                  <a:gd name="T17" fmla="*/ 175 h 223"/>
                  <a:gd name="T18" fmla="*/ 18 w 139"/>
                  <a:gd name="T19" fmla="*/ 221 h 223"/>
                  <a:gd name="T20" fmla="*/ 15 w 139"/>
                  <a:gd name="T21" fmla="*/ 223 h 223"/>
                  <a:gd name="T22" fmla="*/ 26 w 139"/>
                  <a:gd name="T23" fmla="*/ 214 h 223"/>
                  <a:gd name="T24" fmla="*/ 26 w 139"/>
                  <a:gd name="T25" fmla="*/ 214 h 223"/>
                  <a:gd name="T26" fmla="*/ 26 w 139"/>
                  <a:gd name="T27" fmla="*/ 213 h 223"/>
                  <a:gd name="T28" fmla="*/ 26 w 139"/>
                  <a:gd name="T29" fmla="*/ 213 h 223"/>
                  <a:gd name="T30" fmla="*/ 26 w 139"/>
                  <a:gd name="T31" fmla="*/ 213 h 223"/>
                  <a:gd name="T32" fmla="*/ 26 w 139"/>
                  <a:gd name="T33" fmla="*/ 213 h 223"/>
                  <a:gd name="T34" fmla="*/ 26 w 139"/>
                  <a:gd name="T35" fmla="*/ 213 h 223"/>
                  <a:gd name="T36" fmla="*/ 27 w 139"/>
                  <a:gd name="T37" fmla="*/ 213 h 223"/>
                  <a:gd name="T38" fmla="*/ 27 w 139"/>
                  <a:gd name="T39" fmla="*/ 213 h 223"/>
                  <a:gd name="T40" fmla="*/ 27 w 139"/>
                  <a:gd name="T41" fmla="*/ 213 h 223"/>
                  <a:gd name="T42" fmla="*/ 27 w 139"/>
                  <a:gd name="T43" fmla="*/ 213 h 223"/>
                  <a:gd name="T44" fmla="*/ 27 w 139"/>
                  <a:gd name="T45" fmla="*/ 213 h 223"/>
                  <a:gd name="T46" fmla="*/ 27 w 139"/>
                  <a:gd name="T47" fmla="*/ 212 h 223"/>
                  <a:gd name="T48" fmla="*/ 27 w 139"/>
                  <a:gd name="T49" fmla="*/ 212 h 223"/>
                  <a:gd name="T50" fmla="*/ 27 w 139"/>
                  <a:gd name="T51" fmla="*/ 212 h 223"/>
                  <a:gd name="T52" fmla="*/ 27 w 139"/>
                  <a:gd name="T53" fmla="*/ 212 h 223"/>
                  <a:gd name="T54" fmla="*/ 27 w 139"/>
                  <a:gd name="T55" fmla="*/ 212 h 223"/>
                  <a:gd name="T56" fmla="*/ 27 w 139"/>
                  <a:gd name="T57" fmla="*/ 212 h 223"/>
                  <a:gd name="T58" fmla="*/ 134 w 139"/>
                  <a:gd name="T59" fmla="*/ 52 h 223"/>
                  <a:gd name="T60" fmla="*/ 139 w 139"/>
                  <a:gd name="T61" fmla="*/ 33 h 223"/>
                  <a:gd name="T62" fmla="*/ 125 w 139"/>
                  <a:gd name="T63" fmla="*/ 6 h 223"/>
                  <a:gd name="T64" fmla="*/ 106 w 139"/>
                  <a:gd name="T65" fmla="*/ 0 h 223"/>
                  <a:gd name="T66" fmla="*/ 106 w 139"/>
                  <a:gd name="T67" fmla="*/ 0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39" h="223">
                    <a:moveTo>
                      <a:pt x="106" y="0"/>
                    </a:moveTo>
                    <a:cubicBezTo>
                      <a:pt x="106" y="0"/>
                      <a:pt x="106" y="0"/>
                      <a:pt x="106" y="0"/>
                    </a:cubicBezTo>
                    <a:cubicBezTo>
                      <a:pt x="96" y="0"/>
                      <a:pt x="86" y="5"/>
                      <a:pt x="79" y="14"/>
                    </a:cubicBezTo>
                    <a:cubicBezTo>
                      <a:pt x="79" y="14"/>
                      <a:pt x="79" y="14"/>
                      <a:pt x="79" y="14"/>
                    </a:cubicBezTo>
                    <a:cubicBezTo>
                      <a:pt x="79" y="14"/>
                      <a:pt x="79" y="14"/>
                      <a:pt x="79" y="14"/>
                    </a:cubicBezTo>
                    <a:cubicBezTo>
                      <a:pt x="79" y="14"/>
                      <a:pt x="79" y="14"/>
                      <a:pt x="78" y="15"/>
                    </a:cubicBezTo>
                    <a:cubicBezTo>
                      <a:pt x="78" y="15"/>
                      <a:pt x="78" y="15"/>
                      <a:pt x="78" y="15"/>
                    </a:cubicBezTo>
                    <a:cubicBezTo>
                      <a:pt x="0" y="133"/>
                      <a:pt x="0" y="133"/>
                      <a:pt x="0" y="133"/>
                    </a:cubicBezTo>
                    <a:cubicBezTo>
                      <a:pt x="27" y="175"/>
                      <a:pt x="27" y="175"/>
                      <a:pt x="27" y="175"/>
                    </a:cubicBezTo>
                    <a:cubicBezTo>
                      <a:pt x="37" y="190"/>
                      <a:pt x="33" y="211"/>
                      <a:pt x="18" y="221"/>
                    </a:cubicBezTo>
                    <a:cubicBezTo>
                      <a:pt x="17" y="222"/>
                      <a:pt x="16" y="222"/>
                      <a:pt x="15" y="223"/>
                    </a:cubicBezTo>
                    <a:cubicBezTo>
                      <a:pt x="19" y="221"/>
                      <a:pt x="23" y="218"/>
                      <a:pt x="26" y="214"/>
                    </a:cubicBezTo>
                    <a:cubicBezTo>
                      <a:pt x="26" y="214"/>
                      <a:pt x="26" y="214"/>
                      <a:pt x="26" y="214"/>
                    </a:cubicBezTo>
                    <a:cubicBezTo>
                      <a:pt x="26" y="214"/>
                      <a:pt x="26" y="214"/>
                      <a:pt x="26" y="213"/>
                    </a:cubicBezTo>
                    <a:cubicBezTo>
                      <a:pt x="26" y="213"/>
                      <a:pt x="26" y="213"/>
                      <a:pt x="26" y="213"/>
                    </a:cubicBezTo>
                    <a:cubicBezTo>
                      <a:pt x="26" y="213"/>
                      <a:pt x="26" y="213"/>
                      <a:pt x="26" y="213"/>
                    </a:cubicBezTo>
                    <a:cubicBezTo>
                      <a:pt x="26" y="213"/>
                      <a:pt x="26" y="213"/>
                      <a:pt x="26" y="213"/>
                    </a:cubicBezTo>
                    <a:cubicBezTo>
                      <a:pt x="26" y="213"/>
                      <a:pt x="26" y="213"/>
                      <a:pt x="26" y="213"/>
                    </a:cubicBezTo>
                    <a:cubicBezTo>
                      <a:pt x="26" y="213"/>
                      <a:pt x="27" y="213"/>
                      <a:pt x="27" y="213"/>
                    </a:cubicBezTo>
                    <a:cubicBezTo>
                      <a:pt x="27" y="213"/>
                      <a:pt x="27" y="213"/>
                      <a:pt x="27" y="213"/>
                    </a:cubicBezTo>
                    <a:cubicBezTo>
                      <a:pt x="27" y="213"/>
                      <a:pt x="27" y="213"/>
                      <a:pt x="27" y="213"/>
                    </a:cubicBezTo>
                    <a:cubicBezTo>
                      <a:pt x="27" y="213"/>
                      <a:pt x="27" y="213"/>
                      <a:pt x="27" y="213"/>
                    </a:cubicBezTo>
                    <a:cubicBezTo>
                      <a:pt x="27" y="213"/>
                      <a:pt x="27" y="213"/>
                      <a:pt x="27" y="213"/>
                    </a:cubicBezTo>
                    <a:cubicBezTo>
                      <a:pt x="27" y="212"/>
                      <a:pt x="27" y="212"/>
                      <a:pt x="27" y="212"/>
                    </a:cubicBezTo>
                    <a:cubicBezTo>
                      <a:pt x="27" y="212"/>
                      <a:pt x="27" y="212"/>
                      <a:pt x="27" y="212"/>
                    </a:cubicBezTo>
                    <a:cubicBezTo>
                      <a:pt x="27" y="212"/>
                      <a:pt x="27" y="212"/>
                      <a:pt x="27" y="212"/>
                    </a:cubicBezTo>
                    <a:cubicBezTo>
                      <a:pt x="27" y="212"/>
                      <a:pt x="27" y="212"/>
                      <a:pt x="27" y="212"/>
                    </a:cubicBezTo>
                    <a:cubicBezTo>
                      <a:pt x="27" y="212"/>
                      <a:pt x="27" y="212"/>
                      <a:pt x="27" y="212"/>
                    </a:cubicBezTo>
                    <a:cubicBezTo>
                      <a:pt x="27" y="212"/>
                      <a:pt x="27" y="212"/>
                      <a:pt x="27" y="212"/>
                    </a:cubicBezTo>
                    <a:cubicBezTo>
                      <a:pt x="134" y="52"/>
                      <a:pt x="134" y="52"/>
                      <a:pt x="134" y="52"/>
                    </a:cubicBezTo>
                    <a:cubicBezTo>
                      <a:pt x="137" y="46"/>
                      <a:pt x="139" y="40"/>
                      <a:pt x="139" y="33"/>
                    </a:cubicBezTo>
                    <a:cubicBezTo>
                      <a:pt x="139" y="23"/>
                      <a:pt x="134" y="12"/>
                      <a:pt x="125" y="6"/>
                    </a:cubicBezTo>
                    <a:cubicBezTo>
                      <a:pt x="119" y="2"/>
                      <a:pt x="113" y="0"/>
                      <a:pt x="106" y="0"/>
                    </a:cubicBezTo>
                    <a:cubicBezTo>
                      <a:pt x="106" y="0"/>
                      <a:pt x="106" y="0"/>
                      <a:pt x="106" y="0"/>
                    </a:cubicBezTo>
                  </a:path>
                </a:pathLst>
              </a:custGeom>
              <a:solidFill>
                <a:srgbClr val="FAAB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89" name="Freeform 252"/>
              <p:cNvSpPr>
                <a:spLocks/>
              </p:cNvSpPr>
              <p:nvPr/>
            </p:nvSpPr>
            <p:spPr bwMode="auto">
              <a:xfrm>
                <a:off x="4451527" y="3524375"/>
                <a:ext cx="35999" cy="10000"/>
              </a:xfrm>
              <a:custGeom>
                <a:avLst/>
                <a:gdLst>
                  <a:gd name="T0" fmla="*/ 0 w 15"/>
                  <a:gd name="T1" fmla="*/ 0 h 4"/>
                  <a:gd name="T2" fmla="*/ 15 w 15"/>
                  <a:gd name="T3" fmla="*/ 4 h 4"/>
                  <a:gd name="T4" fmla="*/ 15 w 15"/>
                  <a:gd name="T5" fmla="*/ 4 h 4"/>
                  <a:gd name="T6" fmla="*/ 13 w 15"/>
                  <a:gd name="T7" fmla="*/ 3 h 4"/>
                  <a:gd name="T8" fmla="*/ 13 w 15"/>
                  <a:gd name="T9" fmla="*/ 3 h 4"/>
                  <a:gd name="T10" fmla="*/ 13 w 15"/>
                  <a:gd name="T11" fmla="*/ 3 h 4"/>
                  <a:gd name="T12" fmla="*/ 12 w 15"/>
                  <a:gd name="T13" fmla="*/ 3 h 4"/>
                  <a:gd name="T14" fmla="*/ 1 w 15"/>
                  <a:gd name="T15" fmla="*/ 1 h 4"/>
                  <a:gd name="T16" fmla="*/ 0 w 15"/>
                  <a:gd name="T1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4">
                    <a:moveTo>
                      <a:pt x="0" y="0"/>
                    </a:moveTo>
                    <a:cubicBezTo>
                      <a:pt x="5" y="2"/>
                      <a:pt x="10" y="4"/>
                      <a:pt x="15" y="4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14" y="4"/>
                      <a:pt x="14" y="4"/>
                      <a:pt x="13" y="3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3" y="3"/>
                      <a:pt x="13" y="3"/>
                      <a:pt x="12" y="3"/>
                    </a:cubicBezTo>
                    <a:cubicBezTo>
                      <a:pt x="9" y="3"/>
                      <a:pt x="5" y="2"/>
                      <a:pt x="1" y="1"/>
                    </a:cubicBezTo>
                    <a:cubicBezTo>
                      <a:pt x="1" y="0"/>
                      <a:pt x="1" y="0"/>
                      <a:pt x="0" y="0"/>
                    </a:cubicBezTo>
                  </a:path>
                </a:pathLst>
              </a:custGeom>
              <a:solidFill>
                <a:srgbClr val="00230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90" name="Freeform 253"/>
              <p:cNvSpPr>
                <a:spLocks noEditPoints="1"/>
              </p:cNvSpPr>
              <p:nvPr/>
            </p:nvSpPr>
            <p:spPr bwMode="auto">
              <a:xfrm>
                <a:off x="4454527" y="3527375"/>
                <a:ext cx="27999" cy="4000"/>
              </a:xfrm>
              <a:custGeom>
                <a:avLst/>
                <a:gdLst>
                  <a:gd name="T0" fmla="*/ 12 w 12"/>
                  <a:gd name="T1" fmla="*/ 2 h 2"/>
                  <a:gd name="T2" fmla="*/ 12 w 12"/>
                  <a:gd name="T3" fmla="*/ 2 h 2"/>
                  <a:gd name="T4" fmla="*/ 12 w 12"/>
                  <a:gd name="T5" fmla="*/ 2 h 2"/>
                  <a:gd name="T6" fmla="*/ 12 w 12"/>
                  <a:gd name="T7" fmla="*/ 2 h 2"/>
                  <a:gd name="T8" fmla="*/ 0 w 12"/>
                  <a:gd name="T9" fmla="*/ 0 h 2"/>
                  <a:gd name="T10" fmla="*/ 11 w 12"/>
                  <a:gd name="T11" fmla="*/ 2 h 2"/>
                  <a:gd name="T12" fmla="*/ 0 w 1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2">
                    <a:moveTo>
                      <a:pt x="12" y="2"/>
                    </a:moveTo>
                    <a:cubicBezTo>
                      <a:pt x="12" y="2"/>
                      <a:pt x="12" y="2"/>
                      <a:pt x="12" y="2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2" y="2"/>
                      <a:pt x="12" y="2"/>
                      <a:pt x="12" y="2"/>
                    </a:cubicBezTo>
                    <a:moveTo>
                      <a:pt x="0" y="0"/>
                    </a:moveTo>
                    <a:cubicBezTo>
                      <a:pt x="4" y="1"/>
                      <a:pt x="8" y="2"/>
                      <a:pt x="11" y="2"/>
                    </a:cubicBezTo>
                    <a:cubicBezTo>
                      <a:pt x="7" y="2"/>
                      <a:pt x="4" y="1"/>
                      <a:pt x="0" y="0"/>
                    </a:cubicBezTo>
                  </a:path>
                </a:pathLst>
              </a:custGeom>
              <a:solidFill>
                <a:srgbClr val="FAAB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91" name="Freeform 254"/>
              <p:cNvSpPr>
                <a:spLocks noEditPoints="1"/>
              </p:cNvSpPr>
              <p:nvPr/>
            </p:nvSpPr>
            <p:spPr bwMode="auto">
              <a:xfrm>
                <a:off x="4421528" y="3262383"/>
                <a:ext cx="65998" cy="254992"/>
              </a:xfrm>
              <a:custGeom>
                <a:avLst/>
                <a:gdLst>
                  <a:gd name="T0" fmla="*/ 4 w 28"/>
                  <a:gd name="T1" fmla="*/ 104 h 108"/>
                  <a:gd name="T2" fmla="*/ 8 w 28"/>
                  <a:gd name="T3" fmla="*/ 108 h 108"/>
                  <a:gd name="T4" fmla="*/ 8 w 28"/>
                  <a:gd name="T5" fmla="*/ 108 h 108"/>
                  <a:gd name="T6" fmla="*/ 4 w 28"/>
                  <a:gd name="T7" fmla="*/ 104 h 108"/>
                  <a:gd name="T8" fmla="*/ 3 w 28"/>
                  <a:gd name="T9" fmla="*/ 104 h 108"/>
                  <a:gd name="T10" fmla="*/ 3 w 28"/>
                  <a:gd name="T11" fmla="*/ 104 h 108"/>
                  <a:gd name="T12" fmla="*/ 3 w 28"/>
                  <a:gd name="T13" fmla="*/ 104 h 108"/>
                  <a:gd name="T14" fmla="*/ 3 w 28"/>
                  <a:gd name="T15" fmla="*/ 104 h 108"/>
                  <a:gd name="T16" fmla="*/ 3 w 28"/>
                  <a:gd name="T17" fmla="*/ 104 h 108"/>
                  <a:gd name="T18" fmla="*/ 3 w 28"/>
                  <a:gd name="T19" fmla="*/ 104 h 108"/>
                  <a:gd name="T20" fmla="*/ 3 w 28"/>
                  <a:gd name="T21" fmla="*/ 104 h 108"/>
                  <a:gd name="T22" fmla="*/ 3 w 28"/>
                  <a:gd name="T23" fmla="*/ 104 h 108"/>
                  <a:gd name="T24" fmla="*/ 3 w 28"/>
                  <a:gd name="T25" fmla="*/ 104 h 108"/>
                  <a:gd name="T26" fmla="*/ 3 w 28"/>
                  <a:gd name="T27" fmla="*/ 103 h 108"/>
                  <a:gd name="T28" fmla="*/ 3 w 28"/>
                  <a:gd name="T29" fmla="*/ 103 h 108"/>
                  <a:gd name="T30" fmla="*/ 3 w 28"/>
                  <a:gd name="T31" fmla="*/ 103 h 108"/>
                  <a:gd name="T32" fmla="*/ 3 w 28"/>
                  <a:gd name="T33" fmla="*/ 103 h 108"/>
                  <a:gd name="T34" fmla="*/ 3 w 28"/>
                  <a:gd name="T35" fmla="*/ 103 h 108"/>
                  <a:gd name="T36" fmla="*/ 3 w 28"/>
                  <a:gd name="T37" fmla="*/ 103 h 108"/>
                  <a:gd name="T38" fmla="*/ 3 w 28"/>
                  <a:gd name="T39" fmla="*/ 103 h 108"/>
                  <a:gd name="T40" fmla="*/ 3 w 28"/>
                  <a:gd name="T41" fmla="*/ 103 h 108"/>
                  <a:gd name="T42" fmla="*/ 3 w 28"/>
                  <a:gd name="T43" fmla="*/ 103 h 108"/>
                  <a:gd name="T44" fmla="*/ 2 w 28"/>
                  <a:gd name="T45" fmla="*/ 103 h 108"/>
                  <a:gd name="T46" fmla="*/ 2 w 28"/>
                  <a:gd name="T47" fmla="*/ 103 h 108"/>
                  <a:gd name="T48" fmla="*/ 2 w 28"/>
                  <a:gd name="T49" fmla="*/ 103 h 108"/>
                  <a:gd name="T50" fmla="*/ 1 w 28"/>
                  <a:gd name="T51" fmla="*/ 100 h 108"/>
                  <a:gd name="T52" fmla="*/ 1 w 28"/>
                  <a:gd name="T53" fmla="*/ 100 h 108"/>
                  <a:gd name="T54" fmla="*/ 1 w 28"/>
                  <a:gd name="T55" fmla="*/ 100 h 108"/>
                  <a:gd name="T56" fmla="*/ 0 w 28"/>
                  <a:gd name="T57" fmla="*/ 100 h 108"/>
                  <a:gd name="T58" fmla="*/ 0 w 28"/>
                  <a:gd name="T59" fmla="*/ 100 h 108"/>
                  <a:gd name="T60" fmla="*/ 0 w 28"/>
                  <a:gd name="T61" fmla="*/ 100 h 108"/>
                  <a:gd name="T62" fmla="*/ 0 w 28"/>
                  <a:gd name="T63" fmla="*/ 100 h 108"/>
                  <a:gd name="T64" fmla="*/ 0 w 28"/>
                  <a:gd name="T65" fmla="*/ 100 h 108"/>
                  <a:gd name="T66" fmla="*/ 0 w 28"/>
                  <a:gd name="T67" fmla="*/ 100 h 108"/>
                  <a:gd name="T68" fmla="*/ 13 w 28"/>
                  <a:gd name="T69" fmla="*/ 0 h 108"/>
                  <a:gd name="T70" fmla="*/ 28 w 28"/>
                  <a:gd name="T71" fmla="*/ 21 h 108"/>
                  <a:gd name="T72" fmla="*/ 13 w 28"/>
                  <a:gd name="T73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8" h="108">
                    <a:moveTo>
                      <a:pt x="4" y="104"/>
                    </a:moveTo>
                    <a:cubicBezTo>
                      <a:pt x="5" y="106"/>
                      <a:pt x="7" y="107"/>
                      <a:pt x="8" y="108"/>
                    </a:cubicBezTo>
                    <a:cubicBezTo>
                      <a:pt x="8" y="108"/>
                      <a:pt x="8" y="108"/>
                      <a:pt x="8" y="108"/>
                    </a:cubicBezTo>
                    <a:cubicBezTo>
                      <a:pt x="7" y="107"/>
                      <a:pt x="5" y="106"/>
                      <a:pt x="4" y="104"/>
                    </a:cubicBezTo>
                    <a:moveTo>
                      <a:pt x="3" y="104"/>
                    </a:moveTo>
                    <a:cubicBezTo>
                      <a:pt x="3" y="104"/>
                      <a:pt x="3" y="104"/>
                      <a:pt x="3" y="104"/>
                    </a:cubicBezTo>
                    <a:cubicBezTo>
                      <a:pt x="3" y="104"/>
                      <a:pt x="3" y="104"/>
                      <a:pt x="3" y="104"/>
                    </a:cubicBezTo>
                    <a:moveTo>
                      <a:pt x="3" y="104"/>
                    </a:moveTo>
                    <a:cubicBezTo>
                      <a:pt x="3" y="104"/>
                      <a:pt x="3" y="104"/>
                      <a:pt x="3" y="104"/>
                    </a:cubicBezTo>
                    <a:cubicBezTo>
                      <a:pt x="3" y="104"/>
                      <a:pt x="3" y="104"/>
                      <a:pt x="3" y="104"/>
                    </a:cubicBezTo>
                    <a:moveTo>
                      <a:pt x="3" y="104"/>
                    </a:moveTo>
                    <a:cubicBezTo>
                      <a:pt x="3" y="104"/>
                      <a:pt x="3" y="104"/>
                      <a:pt x="3" y="104"/>
                    </a:cubicBezTo>
                    <a:cubicBezTo>
                      <a:pt x="3" y="104"/>
                      <a:pt x="3" y="104"/>
                      <a:pt x="3" y="104"/>
                    </a:cubicBezTo>
                    <a:moveTo>
                      <a:pt x="3" y="103"/>
                    </a:moveTo>
                    <a:cubicBezTo>
                      <a:pt x="3" y="103"/>
                      <a:pt x="3" y="103"/>
                      <a:pt x="3" y="103"/>
                    </a:cubicBezTo>
                    <a:cubicBezTo>
                      <a:pt x="3" y="103"/>
                      <a:pt x="3" y="103"/>
                      <a:pt x="3" y="103"/>
                    </a:cubicBezTo>
                    <a:moveTo>
                      <a:pt x="3" y="103"/>
                    </a:moveTo>
                    <a:cubicBezTo>
                      <a:pt x="3" y="103"/>
                      <a:pt x="3" y="103"/>
                      <a:pt x="3" y="103"/>
                    </a:cubicBezTo>
                    <a:cubicBezTo>
                      <a:pt x="3" y="103"/>
                      <a:pt x="3" y="103"/>
                      <a:pt x="3" y="103"/>
                    </a:cubicBezTo>
                    <a:moveTo>
                      <a:pt x="3" y="103"/>
                    </a:moveTo>
                    <a:cubicBezTo>
                      <a:pt x="3" y="103"/>
                      <a:pt x="3" y="103"/>
                      <a:pt x="3" y="103"/>
                    </a:cubicBezTo>
                    <a:cubicBezTo>
                      <a:pt x="3" y="103"/>
                      <a:pt x="3" y="103"/>
                      <a:pt x="3" y="103"/>
                    </a:cubicBezTo>
                    <a:moveTo>
                      <a:pt x="2" y="103"/>
                    </a:moveTo>
                    <a:cubicBezTo>
                      <a:pt x="2" y="103"/>
                      <a:pt x="2" y="103"/>
                      <a:pt x="2" y="103"/>
                    </a:cubicBezTo>
                    <a:cubicBezTo>
                      <a:pt x="2" y="103"/>
                      <a:pt x="2" y="103"/>
                      <a:pt x="2" y="103"/>
                    </a:cubicBezTo>
                    <a:moveTo>
                      <a:pt x="1" y="100"/>
                    </a:moveTo>
                    <a:cubicBezTo>
                      <a:pt x="1" y="100"/>
                      <a:pt x="1" y="100"/>
                      <a:pt x="1" y="100"/>
                    </a:cubicBezTo>
                    <a:cubicBezTo>
                      <a:pt x="1" y="100"/>
                      <a:pt x="1" y="100"/>
                      <a:pt x="1" y="100"/>
                    </a:cubicBezTo>
                    <a:moveTo>
                      <a:pt x="0" y="100"/>
                    </a:moveTo>
                    <a:cubicBezTo>
                      <a:pt x="0" y="100"/>
                      <a:pt x="0" y="100"/>
                      <a:pt x="0" y="100"/>
                    </a:cubicBezTo>
                    <a:cubicBezTo>
                      <a:pt x="0" y="100"/>
                      <a:pt x="0" y="100"/>
                      <a:pt x="0" y="100"/>
                    </a:cubicBezTo>
                    <a:moveTo>
                      <a:pt x="0" y="100"/>
                    </a:moveTo>
                    <a:cubicBezTo>
                      <a:pt x="0" y="100"/>
                      <a:pt x="0" y="100"/>
                      <a:pt x="0" y="100"/>
                    </a:cubicBezTo>
                    <a:cubicBezTo>
                      <a:pt x="0" y="100"/>
                      <a:pt x="0" y="100"/>
                      <a:pt x="0" y="100"/>
                    </a:cubicBezTo>
                    <a:moveTo>
                      <a:pt x="13" y="0"/>
                    </a:moveTo>
                    <a:cubicBezTo>
                      <a:pt x="28" y="21"/>
                      <a:pt x="28" y="21"/>
                      <a:pt x="28" y="21"/>
                    </a:cubicBezTo>
                    <a:cubicBezTo>
                      <a:pt x="13" y="0"/>
                      <a:pt x="13" y="0"/>
                      <a:pt x="13" y="0"/>
                    </a:cubicBezTo>
                  </a:path>
                </a:pathLst>
              </a:custGeom>
              <a:solidFill>
                <a:srgbClr val="00360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92" name="Freeform 255"/>
              <p:cNvSpPr>
                <a:spLocks/>
              </p:cNvSpPr>
              <p:nvPr/>
            </p:nvSpPr>
            <p:spPr bwMode="auto">
              <a:xfrm>
                <a:off x="4440527" y="3517375"/>
                <a:ext cx="11000" cy="7000"/>
              </a:xfrm>
              <a:custGeom>
                <a:avLst/>
                <a:gdLst>
                  <a:gd name="T0" fmla="*/ 0 w 5"/>
                  <a:gd name="T1" fmla="*/ 0 h 3"/>
                  <a:gd name="T2" fmla="*/ 0 w 5"/>
                  <a:gd name="T3" fmla="*/ 0 h 3"/>
                  <a:gd name="T4" fmla="*/ 5 w 5"/>
                  <a:gd name="T5" fmla="*/ 3 h 3"/>
                  <a:gd name="T6" fmla="*/ 5 w 5"/>
                  <a:gd name="T7" fmla="*/ 3 h 3"/>
                  <a:gd name="T8" fmla="*/ 0 w 5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3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" y="1"/>
                      <a:pt x="4" y="2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3" y="2"/>
                      <a:pt x="2" y="1"/>
                      <a:pt x="0" y="0"/>
                    </a:cubicBezTo>
                  </a:path>
                </a:pathLst>
              </a:custGeom>
              <a:solidFill>
                <a:srgbClr val="00230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93" name="Freeform 256"/>
              <p:cNvSpPr>
                <a:spLocks/>
              </p:cNvSpPr>
              <p:nvPr/>
            </p:nvSpPr>
            <p:spPr bwMode="auto">
              <a:xfrm>
                <a:off x="4269532" y="3165386"/>
                <a:ext cx="217993" cy="358989"/>
              </a:xfrm>
              <a:custGeom>
                <a:avLst/>
                <a:gdLst>
                  <a:gd name="T0" fmla="*/ 33 w 92"/>
                  <a:gd name="T1" fmla="*/ 0 h 152"/>
                  <a:gd name="T2" fmla="*/ 14 w 92"/>
                  <a:gd name="T3" fmla="*/ 6 h 152"/>
                  <a:gd name="T4" fmla="*/ 14 w 92"/>
                  <a:gd name="T5" fmla="*/ 6 h 152"/>
                  <a:gd name="T6" fmla="*/ 0 w 92"/>
                  <a:gd name="T7" fmla="*/ 33 h 152"/>
                  <a:gd name="T8" fmla="*/ 5 w 92"/>
                  <a:gd name="T9" fmla="*/ 52 h 152"/>
                  <a:gd name="T10" fmla="*/ 64 w 92"/>
                  <a:gd name="T11" fmla="*/ 141 h 152"/>
                  <a:gd name="T12" fmla="*/ 64 w 92"/>
                  <a:gd name="T13" fmla="*/ 141 h 152"/>
                  <a:gd name="T14" fmla="*/ 64 w 92"/>
                  <a:gd name="T15" fmla="*/ 141 h 152"/>
                  <a:gd name="T16" fmla="*/ 64 w 92"/>
                  <a:gd name="T17" fmla="*/ 141 h 152"/>
                  <a:gd name="T18" fmla="*/ 64 w 92"/>
                  <a:gd name="T19" fmla="*/ 141 h 152"/>
                  <a:gd name="T20" fmla="*/ 65 w 92"/>
                  <a:gd name="T21" fmla="*/ 141 h 152"/>
                  <a:gd name="T22" fmla="*/ 65 w 92"/>
                  <a:gd name="T23" fmla="*/ 141 h 152"/>
                  <a:gd name="T24" fmla="*/ 66 w 92"/>
                  <a:gd name="T25" fmla="*/ 144 h 152"/>
                  <a:gd name="T26" fmla="*/ 66 w 92"/>
                  <a:gd name="T27" fmla="*/ 144 h 152"/>
                  <a:gd name="T28" fmla="*/ 67 w 92"/>
                  <a:gd name="T29" fmla="*/ 144 h 152"/>
                  <a:gd name="T30" fmla="*/ 67 w 92"/>
                  <a:gd name="T31" fmla="*/ 144 h 152"/>
                  <a:gd name="T32" fmla="*/ 67 w 92"/>
                  <a:gd name="T33" fmla="*/ 144 h 152"/>
                  <a:gd name="T34" fmla="*/ 67 w 92"/>
                  <a:gd name="T35" fmla="*/ 144 h 152"/>
                  <a:gd name="T36" fmla="*/ 67 w 92"/>
                  <a:gd name="T37" fmla="*/ 144 h 152"/>
                  <a:gd name="T38" fmla="*/ 67 w 92"/>
                  <a:gd name="T39" fmla="*/ 144 h 152"/>
                  <a:gd name="T40" fmla="*/ 67 w 92"/>
                  <a:gd name="T41" fmla="*/ 145 h 152"/>
                  <a:gd name="T42" fmla="*/ 67 w 92"/>
                  <a:gd name="T43" fmla="*/ 145 h 152"/>
                  <a:gd name="T44" fmla="*/ 67 w 92"/>
                  <a:gd name="T45" fmla="*/ 145 h 152"/>
                  <a:gd name="T46" fmla="*/ 67 w 92"/>
                  <a:gd name="T47" fmla="*/ 145 h 152"/>
                  <a:gd name="T48" fmla="*/ 67 w 92"/>
                  <a:gd name="T49" fmla="*/ 145 h 152"/>
                  <a:gd name="T50" fmla="*/ 67 w 92"/>
                  <a:gd name="T51" fmla="*/ 145 h 152"/>
                  <a:gd name="T52" fmla="*/ 68 w 92"/>
                  <a:gd name="T53" fmla="*/ 145 h 152"/>
                  <a:gd name="T54" fmla="*/ 72 w 92"/>
                  <a:gd name="T55" fmla="*/ 149 h 152"/>
                  <a:gd name="T56" fmla="*/ 77 w 92"/>
                  <a:gd name="T57" fmla="*/ 152 h 152"/>
                  <a:gd name="T58" fmla="*/ 73 w 92"/>
                  <a:gd name="T59" fmla="*/ 150 h 152"/>
                  <a:gd name="T60" fmla="*/ 64 w 92"/>
                  <a:gd name="T61" fmla="*/ 104 h 152"/>
                  <a:gd name="T62" fmla="*/ 92 w 92"/>
                  <a:gd name="T63" fmla="*/ 62 h 152"/>
                  <a:gd name="T64" fmla="*/ 92 w 92"/>
                  <a:gd name="T65" fmla="*/ 62 h 152"/>
                  <a:gd name="T66" fmla="*/ 92 w 92"/>
                  <a:gd name="T67" fmla="*/ 62 h 152"/>
                  <a:gd name="T68" fmla="*/ 77 w 92"/>
                  <a:gd name="T69" fmla="*/ 41 h 152"/>
                  <a:gd name="T70" fmla="*/ 60 w 92"/>
                  <a:gd name="T71" fmla="*/ 15 h 152"/>
                  <a:gd name="T72" fmla="*/ 33 w 92"/>
                  <a:gd name="T73" fmla="*/ 0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92" h="152">
                    <a:moveTo>
                      <a:pt x="33" y="0"/>
                    </a:moveTo>
                    <a:cubicBezTo>
                      <a:pt x="26" y="0"/>
                      <a:pt x="20" y="2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5" y="12"/>
                      <a:pt x="0" y="23"/>
                      <a:pt x="0" y="33"/>
                    </a:cubicBezTo>
                    <a:cubicBezTo>
                      <a:pt x="0" y="40"/>
                      <a:pt x="2" y="46"/>
                      <a:pt x="5" y="52"/>
                    </a:cubicBezTo>
                    <a:cubicBezTo>
                      <a:pt x="64" y="141"/>
                      <a:pt x="64" y="141"/>
                      <a:pt x="64" y="141"/>
                    </a:cubicBezTo>
                    <a:cubicBezTo>
                      <a:pt x="64" y="141"/>
                      <a:pt x="64" y="141"/>
                      <a:pt x="64" y="141"/>
                    </a:cubicBezTo>
                    <a:cubicBezTo>
                      <a:pt x="64" y="141"/>
                      <a:pt x="64" y="141"/>
                      <a:pt x="64" y="141"/>
                    </a:cubicBezTo>
                    <a:cubicBezTo>
                      <a:pt x="64" y="141"/>
                      <a:pt x="64" y="141"/>
                      <a:pt x="64" y="141"/>
                    </a:cubicBezTo>
                    <a:cubicBezTo>
                      <a:pt x="64" y="141"/>
                      <a:pt x="64" y="141"/>
                      <a:pt x="64" y="141"/>
                    </a:cubicBezTo>
                    <a:cubicBezTo>
                      <a:pt x="64" y="141"/>
                      <a:pt x="65" y="141"/>
                      <a:pt x="65" y="141"/>
                    </a:cubicBezTo>
                    <a:cubicBezTo>
                      <a:pt x="65" y="141"/>
                      <a:pt x="65" y="141"/>
                      <a:pt x="65" y="141"/>
                    </a:cubicBezTo>
                    <a:cubicBezTo>
                      <a:pt x="65" y="142"/>
                      <a:pt x="66" y="143"/>
                      <a:pt x="66" y="144"/>
                    </a:cubicBezTo>
                    <a:cubicBezTo>
                      <a:pt x="66" y="144"/>
                      <a:pt x="66" y="144"/>
                      <a:pt x="66" y="144"/>
                    </a:cubicBezTo>
                    <a:cubicBezTo>
                      <a:pt x="66" y="144"/>
                      <a:pt x="66" y="144"/>
                      <a:pt x="67" y="144"/>
                    </a:cubicBezTo>
                    <a:cubicBezTo>
                      <a:pt x="67" y="144"/>
                      <a:pt x="67" y="144"/>
                      <a:pt x="67" y="144"/>
                    </a:cubicBezTo>
                    <a:cubicBezTo>
                      <a:pt x="67" y="144"/>
                      <a:pt x="67" y="144"/>
                      <a:pt x="67" y="144"/>
                    </a:cubicBezTo>
                    <a:cubicBezTo>
                      <a:pt x="67" y="144"/>
                      <a:pt x="67" y="144"/>
                      <a:pt x="67" y="144"/>
                    </a:cubicBezTo>
                    <a:cubicBezTo>
                      <a:pt x="67" y="144"/>
                      <a:pt x="67" y="144"/>
                      <a:pt x="67" y="144"/>
                    </a:cubicBezTo>
                    <a:cubicBezTo>
                      <a:pt x="67" y="144"/>
                      <a:pt x="67" y="144"/>
                      <a:pt x="67" y="144"/>
                    </a:cubicBezTo>
                    <a:cubicBezTo>
                      <a:pt x="67" y="144"/>
                      <a:pt x="67" y="145"/>
                      <a:pt x="67" y="145"/>
                    </a:cubicBezTo>
                    <a:cubicBezTo>
                      <a:pt x="67" y="145"/>
                      <a:pt x="67" y="145"/>
                      <a:pt x="67" y="145"/>
                    </a:cubicBezTo>
                    <a:cubicBezTo>
                      <a:pt x="67" y="145"/>
                      <a:pt x="67" y="145"/>
                      <a:pt x="67" y="145"/>
                    </a:cubicBezTo>
                    <a:cubicBezTo>
                      <a:pt x="67" y="145"/>
                      <a:pt x="67" y="145"/>
                      <a:pt x="67" y="145"/>
                    </a:cubicBezTo>
                    <a:cubicBezTo>
                      <a:pt x="67" y="145"/>
                      <a:pt x="67" y="145"/>
                      <a:pt x="67" y="145"/>
                    </a:cubicBezTo>
                    <a:cubicBezTo>
                      <a:pt x="67" y="145"/>
                      <a:pt x="67" y="145"/>
                      <a:pt x="67" y="145"/>
                    </a:cubicBezTo>
                    <a:cubicBezTo>
                      <a:pt x="68" y="145"/>
                      <a:pt x="68" y="145"/>
                      <a:pt x="68" y="145"/>
                    </a:cubicBezTo>
                    <a:cubicBezTo>
                      <a:pt x="69" y="147"/>
                      <a:pt x="71" y="148"/>
                      <a:pt x="72" y="149"/>
                    </a:cubicBezTo>
                    <a:cubicBezTo>
                      <a:pt x="74" y="150"/>
                      <a:pt x="75" y="151"/>
                      <a:pt x="77" y="152"/>
                    </a:cubicBezTo>
                    <a:cubicBezTo>
                      <a:pt x="76" y="151"/>
                      <a:pt x="75" y="151"/>
                      <a:pt x="73" y="150"/>
                    </a:cubicBezTo>
                    <a:cubicBezTo>
                      <a:pt x="58" y="140"/>
                      <a:pt x="54" y="119"/>
                      <a:pt x="64" y="104"/>
                    </a:cubicBezTo>
                    <a:cubicBezTo>
                      <a:pt x="92" y="62"/>
                      <a:pt x="92" y="62"/>
                      <a:pt x="92" y="62"/>
                    </a:cubicBezTo>
                    <a:cubicBezTo>
                      <a:pt x="92" y="62"/>
                      <a:pt x="92" y="62"/>
                      <a:pt x="92" y="62"/>
                    </a:cubicBezTo>
                    <a:cubicBezTo>
                      <a:pt x="92" y="62"/>
                      <a:pt x="92" y="62"/>
                      <a:pt x="92" y="62"/>
                    </a:cubicBezTo>
                    <a:cubicBezTo>
                      <a:pt x="77" y="41"/>
                      <a:pt x="77" y="41"/>
                      <a:pt x="77" y="41"/>
                    </a:cubicBezTo>
                    <a:cubicBezTo>
                      <a:pt x="60" y="15"/>
                      <a:pt x="60" y="15"/>
                      <a:pt x="60" y="15"/>
                    </a:cubicBezTo>
                    <a:cubicBezTo>
                      <a:pt x="54" y="5"/>
                      <a:pt x="44" y="0"/>
                      <a:pt x="33" y="0"/>
                    </a:cubicBezTo>
                  </a:path>
                </a:pathLst>
              </a:custGeom>
              <a:solidFill>
                <a:srgbClr val="FAAB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94" name="Freeform 257"/>
              <p:cNvSpPr>
                <a:spLocks/>
              </p:cNvSpPr>
              <p:nvPr/>
            </p:nvSpPr>
            <p:spPr bwMode="auto">
              <a:xfrm>
                <a:off x="4487526" y="3524375"/>
                <a:ext cx="32999" cy="10000"/>
              </a:xfrm>
              <a:custGeom>
                <a:avLst/>
                <a:gdLst>
                  <a:gd name="T0" fmla="*/ 14 w 14"/>
                  <a:gd name="T1" fmla="*/ 0 h 4"/>
                  <a:gd name="T2" fmla="*/ 14 w 14"/>
                  <a:gd name="T3" fmla="*/ 1 h 4"/>
                  <a:gd name="T4" fmla="*/ 2 w 14"/>
                  <a:gd name="T5" fmla="*/ 3 h 4"/>
                  <a:gd name="T6" fmla="*/ 2 w 14"/>
                  <a:gd name="T7" fmla="*/ 3 h 4"/>
                  <a:gd name="T8" fmla="*/ 1 w 14"/>
                  <a:gd name="T9" fmla="*/ 3 h 4"/>
                  <a:gd name="T10" fmla="*/ 1 w 14"/>
                  <a:gd name="T11" fmla="*/ 3 h 4"/>
                  <a:gd name="T12" fmla="*/ 0 w 14"/>
                  <a:gd name="T13" fmla="*/ 4 h 4"/>
                  <a:gd name="T14" fmla="*/ 0 w 14"/>
                  <a:gd name="T15" fmla="*/ 4 h 4"/>
                  <a:gd name="T16" fmla="*/ 14 w 14"/>
                  <a:gd name="T1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" h="4">
                    <a:moveTo>
                      <a:pt x="14" y="0"/>
                    </a:moveTo>
                    <a:cubicBezTo>
                      <a:pt x="14" y="0"/>
                      <a:pt x="14" y="0"/>
                      <a:pt x="14" y="1"/>
                    </a:cubicBezTo>
                    <a:cubicBezTo>
                      <a:pt x="10" y="2"/>
                      <a:pt x="6" y="3"/>
                      <a:pt x="2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5" y="4"/>
                      <a:pt x="10" y="2"/>
                      <a:pt x="14" y="0"/>
                    </a:cubicBezTo>
                  </a:path>
                </a:pathLst>
              </a:custGeom>
              <a:solidFill>
                <a:srgbClr val="00230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95" name="Freeform 258"/>
              <p:cNvSpPr>
                <a:spLocks noEditPoints="1"/>
              </p:cNvSpPr>
              <p:nvPr/>
            </p:nvSpPr>
            <p:spPr bwMode="auto">
              <a:xfrm>
                <a:off x="4489526" y="3527375"/>
                <a:ext cx="30999" cy="4000"/>
              </a:xfrm>
              <a:custGeom>
                <a:avLst/>
                <a:gdLst>
                  <a:gd name="T0" fmla="*/ 1 w 13"/>
                  <a:gd name="T1" fmla="*/ 2 h 2"/>
                  <a:gd name="T2" fmla="*/ 0 w 13"/>
                  <a:gd name="T3" fmla="*/ 2 h 2"/>
                  <a:gd name="T4" fmla="*/ 0 w 13"/>
                  <a:gd name="T5" fmla="*/ 2 h 2"/>
                  <a:gd name="T6" fmla="*/ 1 w 13"/>
                  <a:gd name="T7" fmla="*/ 2 h 2"/>
                  <a:gd name="T8" fmla="*/ 13 w 13"/>
                  <a:gd name="T9" fmla="*/ 0 h 2"/>
                  <a:gd name="T10" fmla="*/ 1 w 13"/>
                  <a:gd name="T11" fmla="*/ 2 h 2"/>
                  <a:gd name="T12" fmla="*/ 13 w 13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2">
                    <a:moveTo>
                      <a:pt x="1" y="2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2"/>
                      <a:pt x="1" y="2"/>
                      <a:pt x="1" y="2"/>
                    </a:cubicBezTo>
                    <a:moveTo>
                      <a:pt x="13" y="0"/>
                    </a:moveTo>
                    <a:cubicBezTo>
                      <a:pt x="9" y="1"/>
                      <a:pt x="5" y="2"/>
                      <a:pt x="1" y="2"/>
                    </a:cubicBezTo>
                    <a:cubicBezTo>
                      <a:pt x="5" y="2"/>
                      <a:pt x="9" y="1"/>
                      <a:pt x="13" y="0"/>
                    </a:cubicBezTo>
                  </a:path>
                </a:pathLst>
              </a:custGeom>
              <a:solidFill>
                <a:srgbClr val="FAAB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96" name="Freeform 259"/>
              <p:cNvSpPr>
                <a:spLocks noEditPoints="1"/>
              </p:cNvSpPr>
              <p:nvPr/>
            </p:nvSpPr>
            <p:spPr bwMode="auto">
              <a:xfrm>
                <a:off x="4451527" y="3524375"/>
                <a:ext cx="70998" cy="10000"/>
              </a:xfrm>
              <a:custGeom>
                <a:avLst/>
                <a:gdLst>
                  <a:gd name="T0" fmla="*/ 16 w 30"/>
                  <a:gd name="T1" fmla="*/ 3 h 4"/>
                  <a:gd name="T2" fmla="*/ 15 w 30"/>
                  <a:gd name="T3" fmla="*/ 4 h 4"/>
                  <a:gd name="T4" fmla="*/ 15 w 30"/>
                  <a:gd name="T5" fmla="*/ 4 h 4"/>
                  <a:gd name="T6" fmla="*/ 14 w 30"/>
                  <a:gd name="T7" fmla="*/ 4 h 4"/>
                  <a:gd name="T8" fmla="*/ 13 w 30"/>
                  <a:gd name="T9" fmla="*/ 3 h 4"/>
                  <a:gd name="T10" fmla="*/ 15 w 30"/>
                  <a:gd name="T11" fmla="*/ 4 h 4"/>
                  <a:gd name="T12" fmla="*/ 16 w 30"/>
                  <a:gd name="T13" fmla="*/ 3 h 4"/>
                  <a:gd name="T14" fmla="*/ 17 w 30"/>
                  <a:gd name="T15" fmla="*/ 3 h 4"/>
                  <a:gd name="T16" fmla="*/ 17 w 30"/>
                  <a:gd name="T17" fmla="*/ 3 h 4"/>
                  <a:gd name="T18" fmla="*/ 17 w 30"/>
                  <a:gd name="T19" fmla="*/ 3 h 4"/>
                  <a:gd name="T20" fmla="*/ 17 w 30"/>
                  <a:gd name="T21" fmla="*/ 3 h 4"/>
                  <a:gd name="T22" fmla="*/ 12 w 30"/>
                  <a:gd name="T23" fmla="*/ 3 h 4"/>
                  <a:gd name="T24" fmla="*/ 13 w 30"/>
                  <a:gd name="T25" fmla="*/ 3 h 4"/>
                  <a:gd name="T26" fmla="*/ 13 w 30"/>
                  <a:gd name="T27" fmla="*/ 3 h 4"/>
                  <a:gd name="T28" fmla="*/ 12 w 30"/>
                  <a:gd name="T29" fmla="*/ 3 h 4"/>
                  <a:gd name="T30" fmla="*/ 0 w 30"/>
                  <a:gd name="T31" fmla="*/ 0 h 4"/>
                  <a:gd name="T32" fmla="*/ 0 w 30"/>
                  <a:gd name="T33" fmla="*/ 0 h 4"/>
                  <a:gd name="T34" fmla="*/ 1 w 30"/>
                  <a:gd name="T35" fmla="*/ 1 h 4"/>
                  <a:gd name="T36" fmla="*/ 1 w 30"/>
                  <a:gd name="T37" fmla="*/ 0 h 4"/>
                  <a:gd name="T38" fmla="*/ 0 w 30"/>
                  <a:gd name="T39" fmla="*/ 0 h 4"/>
                  <a:gd name="T40" fmla="*/ 30 w 30"/>
                  <a:gd name="T41" fmla="*/ 0 h 4"/>
                  <a:gd name="T42" fmla="*/ 29 w 30"/>
                  <a:gd name="T43" fmla="*/ 0 h 4"/>
                  <a:gd name="T44" fmla="*/ 29 w 30"/>
                  <a:gd name="T45" fmla="*/ 1 h 4"/>
                  <a:gd name="T46" fmla="*/ 29 w 30"/>
                  <a:gd name="T47" fmla="*/ 0 h 4"/>
                  <a:gd name="T48" fmla="*/ 30 w 30"/>
                  <a:gd name="T4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0" h="4">
                    <a:moveTo>
                      <a:pt x="16" y="3"/>
                    </a:moveTo>
                    <a:cubicBezTo>
                      <a:pt x="16" y="3"/>
                      <a:pt x="16" y="4"/>
                      <a:pt x="15" y="4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4" y="4"/>
                      <a:pt x="13" y="3"/>
                      <a:pt x="13" y="3"/>
                    </a:cubicBezTo>
                    <a:cubicBezTo>
                      <a:pt x="14" y="4"/>
                      <a:pt x="14" y="4"/>
                      <a:pt x="15" y="4"/>
                    </a:cubicBezTo>
                    <a:cubicBezTo>
                      <a:pt x="15" y="4"/>
                      <a:pt x="16" y="4"/>
                      <a:pt x="16" y="3"/>
                    </a:cubicBezTo>
                    <a:moveTo>
                      <a:pt x="17" y="3"/>
                    </a:moveTo>
                    <a:cubicBezTo>
                      <a:pt x="17" y="3"/>
                      <a:pt x="17" y="3"/>
                      <a:pt x="17" y="3"/>
                    </a:cubicBezTo>
                    <a:cubicBezTo>
                      <a:pt x="17" y="3"/>
                      <a:pt x="17" y="3"/>
                      <a:pt x="17" y="3"/>
                    </a:cubicBezTo>
                    <a:cubicBezTo>
                      <a:pt x="17" y="3"/>
                      <a:pt x="17" y="3"/>
                      <a:pt x="17" y="3"/>
                    </a:cubicBezTo>
                    <a:moveTo>
                      <a:pt x="12" y="3"/>
                    </a:moveTo>
                    <a:cubicBezTo>
                      <a:pt x="13" y="3"/>
                      <a:pt x="13" y="3"/>
                      <a:pt x="13" y="3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3" y="3"/>
                      <a:pt x="13" y="3"/>
                      <a:pt x="12" y="3"/>
                    </a:cubicBezTo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30" y="0"/>
                    </a:moveTo>
                    <a:cubicBezTo>
                      <a:pt x="29" y="0"/>
                      <a:pt x="29" y="0"/>
                      <a:pt x="29" y="0"/>
                    </a:cubicBezTo>
                    <a:cubicBezTo>
                      <a:pt x="29" y="0"/>
                      <a:pt x="29" y="0"/>
                      <a:pt x="29" y="1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29" y="0"/>
                      <a:pt x="29" y="0"/>
                      <a:pt x="30" y="0"/>
                    </a:cubicBezTo>
                  </a:path>
                </a:pathLst>
              </a:custGeom>
              <a:solidFill>
                <a:srgbClr val="00170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  <p:sp>
            <p:nvSpPr>
              <p:cNvPr id="97" name="Freeform 260"/>
              <p:cNvSpPr>
                <a:spLocks/>
              </p:cNvSpPr>
              <p:nvPr/>
            </p:nvSpPr>
            <p:spPr bwMode="auto">
              <a:xfrm>
                <a:off x="4397528" y="3311381"/>
                <a:ext cx="176995" cy="222993"/>
              </a:xfrm>
              <a:custGeom>
                <a:avLst/>
                <a:gdLst>
                  <a:gd name="T0" fmla="*/ 38 w 75"/>
                  <a:gd name="T1" fmla="*/ 0 h 94"/>
                  <a:gd name="T2" fmla="*/ 10 w 75"/>
                  <a:gd name="T3" fmla="*/ 42 h 94"/>
                  <a:gd name="T4" fmla="*/ 19 w 75"/>
                  <a:gd name="T5" fmla="*/ 88 h 94"/>
                  <a:gd name="T6" fmla="*/ 23 w 75"/>
                  <a:gd name="T7" fmla="*/ 90 h 94"/>
                  <a:gd name="T8" fmla="*/ 24 w 75"/>
                  <a:gd name="T9" fmla="*/ 90 h 94"/>
                  <a:gd name="T10" fmla="*/ 24 w 75"/>
                  <a:gd name="T11" fmla="*/ 91 h 94"/>
                  <a:gd name="T12" fmla="*/ 35 w 75"/>
                  <a:gd name="T13" fmla="*/ 93 h 94"/>
                  <a:gd name="T14" fmla="*/ 36 w 75"/>
                  <a:gd name="T15" fmla="*/ 93 h 94"/>
                  <a:gd name="T16" fmla="*/ 36 w 75"/>
                  <a:gd name="T17" fmla="*/ 93 h 94"/>
                  <a:gd name="T18" fmla="*/ 36 w 75"/>
                  <a:gd name="T19" fmla="*/ 93 h 94"/>
                  <a:gd name="T20" fmla="*/ 37 w 75"/>
                  <a:gd name="T21" fmla="*/ 94 h 94"/>
                  <a:gd name="T22" fmla="*/ 38 w 75"/>
                  <a:gd name="T23" fmla="*/ 94 h 94"/>
                  <a:gd name="T24" fmla="*/ 38 w 75"/>
                  <a:gd name="T25" fmla="*/ 94 h 94"/>
                  <a:gd name="T26" fmla="*/ 39 w 75"/>
                  <a:gd name="T27" fmla="*/ 93 h 94"/>
                  <a:gd name="T28" fmla="*/ 40 w 75"/>
                  <a:gd name="T29" fmla="*/ 93 h 94"/>
                  <a:gd name="T30" fmla="*/ 40 w 75"/>
                  <a:gd name="T31" fmla="*/ 93 h 94"/>
                  <a:gd name="T32" fmla="*/ 40 w 75"/>
                  <a:gd name="T33" fmla="*/ 93 h 94"/>
                  <a:gd name="T34" fmla="*/ 52 w 75"/>
                  <a:gd name="T35" fmla="*/ 91 h 94"/>
                  <a:gd name="T36" fmla="*/ 52 w 75"/>
                  <a:gd name="T37" fmla="*/ 90 h 94"/>
                  <a:gd name="T38" fmla="*/ 53 w 75"/>
                  <a:gd name="T39" fmla="*/ 90 h 94"/>
                  <a:gd name="T40" fmla="*/ 56 w 75"/>
                  <a:gd name="T41" fmla="*/ 88 h 94"/>
                  <a:gd name="T42" fmla="*/ 65 w 75"/>
                  <a:gd name="T43" fmla="*/ 42 h 94"/>
                  <a:gd name="T44" fmla="*/ 38 w 75"/>
                  <a:gd name="T45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5" h="94">
                    <a:moveTo>
                      <a:pt x="38" y="0"/>
                    </a:moveTo>
                    <a:cubicBezTo>
                      <a:pt x="10" y="42"/>
                      <a:pt x="10" y="42"/>
                      <a:pt x="10" y="42"/>
                    </a:cubicBezTo>
                    <a:cubicBezTo>
                      <a:pt x="0" y="57"/>
                      <a:pt x="4" y="78"/>
                      <a:pt x="19" y="88"/>
                    </a:cubicBezTo>
                    <a:cubicBezTo>
                      <a:pt x="21" y="89"/>
                      <a:pt x="22" y="89"/>
                      <a:pt x="23" y="90"/>
                    </a:cubicBezTo>
                    <a:cubicBezTo>
                      <a:pt x="23" y="90"/>
                      <a:pt x="23" y="90"/>
                      <a:pt x="24" y="90"/>
                    </a:cubicBezTo>
                    <a:cubicBezTo>
                      <a:pt x="24" y="90"/>
                      <a:pt x="24" y="90"/>
                      <a:pt x="24" y="91"/>
                    </a:cubicBezTo>
                    <a:cubicBezTo>
                      <a:pt x="28" y="92"/>
                      <a:pt x="31" y="93"/>
                      <a:pt x="35" y="93"/>
                    </a:cubicBezTo>
                    <a:cubicBezTo>
                      <a:pt x="36" y="93"/>
                      <a:pt x="36" y="93"/>
                      <a:pt x="36" y="93"/>
                    </a:cubicBezTo>
                    <a:cubicBezTo>
                      <a:pt x="36" y="93"/>
                      <a:pt x="36" y="93"/>
                      <a:pt x="36" y="93"/>
                    </a:cubicBezTo>
                    <a:cubicBezTo>
                      <a:pt x="36" y="93"/>
                      <a:pt x="36" y="93"/>
                      <a:pt x="36" y="93"/>
                    </a:cubicBezTo>
                    <a:cubicBezTo>
                      <a:pt x="36" y="93"/>
                      <a:pt x="37" y="94"/>
                      <a:pt x="37" y="94"/>
                    </a:cubicBezTo>
                    <a:cubicBezTo>
                      <a:pt x="38" y="94"/>
                      <a:pt x="38" y="94"/>
                      <a:pt x="38" y="94"/>
                    </a:cubicBezTo>
                    <a:cubicBezTo>
                      <a:pt x="38" y="94"/>
                      <a:pt x="38" y="94"/>
                      <a:pt x="38" y="94"/>
                    </a:cubicBezTo>
                    <a:cubicBezTo>
                      <a:pt x="39" y="94"/>
                      <a:pt x="39" y="93"/>
                      <a:pt x="39" y="93"/>
                    </a:cubicBezTo>
                    <a:cubicBezTo>
                      <a:pt x="39" y="93"/>
                      <a:pt x="39" y="93"/>
                      <a:pt x="40" y="93"/>
                    </a:cubicBezTo>
                    <a:cubicBezTo>
                      <a:pt x="40" y="93"/>
                      <a:pt x="40" y="93"/>
                      <a:pt x="40" y="93"/>
                    </a:cubicBezTo>
                    <a:cubicBezTo>
                      <a:pt x="40" y="93"/>
                      <a:pt x="40" y="93"/>
                      <a:pt x="40" y="93"/>
                    </a:cubicBezTo>
                    <a:cubicBezTo>
                      <a:pt x="44" y="93"/>
                      <a:pt x="48" y="92"/>
                      <a:pt x="52" y="91"/>
                    </a:cubicBezTo>
                    <a:cubicBezTo>
                      <a:pt x="52" y="90"/>
                      <a:pt x="52" y="90"/>
                      <a:pt x="52" y="90"/>
                    </a:cubicBezTo>
                    <a:cubicBezTo>
                      <a:pt x="52" y="90"/>
                      <a:pt x="52" y="90"/>
                      <a:pt x="53" y="90"/>
                    </a:cubicBezTo>
                    <a:cubicBezTo>
                      <a:pt x="54" y="89"/>
                      <a:pt x="55" y="89"/>
                      <a:pt x="56" y="88"/>
                    </a:cubicBezTo>
                    <a:cubicBezTo>
                      <a:pt x="71" y="78"/>
                      <a:pt x="75" y="57"/>
                      <a:pt x="65" y="42"/>
                    </a:cubicBezTo>
                    <a:cubicBezTo>
                      <a:pt x="38" y="0"/>
                      <a:pt x="38" y="0"/>
                      <a:pt x="38" y="0"/>
                    </a:cubicBezTo>
                  </a:path>
                </a:pathLst>
              </a:custGeom>
              <a:solidFill>
                <a:srgbClr val="F573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CiscoSans" pitchFamily="34" charset="0"/>
                </a:endParaRPr>
              </a:p>
            </p:txBody>
          </p:sp>
        </p:grpSp>
      </p:grpSp>
      <p:sp>
        <p:nvSpPr>
          <p:cNvPr id="3" name="Rectangle 2"/>
          <p:cNvSpPr/>
          <p:nvPr/>
        </p:nvSpPr>
        <p:spPr>
          <a:xfrm>
            <a:off x="894097" y="2284466"/>
            <a:ext cx="1783117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BCEB">
                    <a:lumMod val="50000"/>
                  </a:srgbClr>
                </a:solidFill>
                <a:latin typeface="CiscoSans" pitchFamily="34" charset="0"/>
                <a:ea typeface="Helvetica Neue Medium" charset="0"/>
                <a:cs typeface="Arial" panose="020B0604020202020204" pitchFamily="34" charset="0"/>
              </a:rPr>
              <a:t>Always Updating</a:t>
            </a:r>
          </a:p>
        </p:txBody>
      </p:sp>
      <p:sp>
        <p:nvSpPr>
          <p:cNvPr id="8" name="Rectangle 7"/>
          <p:cNvSpPr/>
          <p:nvPr/>
        </p:nvSpPr>
        <p:spPr>
          <a:xfrm>
            <a:off x="3437570" y="2284466"/>
            <a:ext cx="2100961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BCEB">
                    <a:lumMod val="50000"/>
                  </a:srgbClr>
                </a:solidFill>
                <a:latin typeface="CiscoSans" pitchFamily="34" charset="0"/>
                <a:ea typeface="Helvetica Neue Medium" charset="0"/>
                <a:cs typeface="Arial" panose="020B0604020202020204" pitchFamily="34" charset="0"/>
              </a:rPr>
              <a:t>Operations Focused</a:t>
            </a:r>
          </a:p>
        </p:txBody>
      </p:sp>
      <p:sp>
        <p:nvSpPr>
          <p:cNvPr id="9" name="Rectangle 8"/>
          <p:cNvSpPr/>
          <p:nvPr/>
        </p:nvSpPr>
        <p:spPr>
          <a:xfrm>
            <a:off x="5942704" y="2173667"/>
            <a:ext cx="2955374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BCEB">
                    <a:lumMod val="50000"/>
                  </a:srgbClr>
                </a:solidFill>
                <a:latin typeface="CiscoSans" pitchFamily="34" charset="0"/>
                <a:ea typeface="Helvetica Neue Medium" charset="0"/>
                <a:cs typeface="Arial" panose="020B0604020202020204" pitchFamily="34" charset="0"/>
              </a:rPr>
              <a:t>Improved Performance and Customer Experience</a:t>
            </a:r>
          </a:p>
        </p:txBody>
      </p:sp>
    </p:spTree>
    <p:extLst>
      <p:ext uri="{BB962C8B-B14F-4D97-AF65-F5344CB8AC3E}">
        <p14:creationId xmlns:p14="http://schemas.microsoft.com/office/powerpoint/2010/main" val="293615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Table 64"/>
          <p:cNvGraphicFramePr>
            <a:graphicFrameLocks noGrp="1"/>
          </p:cNvGraphicFramePr>
          <p:nvPr>
            <p:extLst/>
          </p:nvPr>
        </p:nvGraphicFramePr>
        <p:xfrm>
          <a:off x="320712" y="1264008"/>
          <a:ext cx="8506806" cy="3291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35602"/>
                <a:gridCol w="2835602"/>
                <a:gridCol w="2835602"/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 smtClean="0">
                          <a:solidFill>
                            <a:schemeClr val="bg2"/>
                          </a:solidFill>
                          <a:latin typeface="CiscoSans" charset="0"/>
                          <a:ea typeface="CiscoSans" charset="0"/>
                          <a:cs typeface="CiscoSans" charset="0"/>
                        </a:rPr>
                        <a:t>Infrastructure</a:t>
                      </a:r>
                      <a:endParaRPr lang="en-US" sz="1200" b="0" dirty="0">
                        <a:solidFill>
                          <a:schemeClr val="bg2"/>
                        </a:solidFill>
                        <a:latin typeface="CiscoSans" charset="0"/>
                        <a:ea typeface="CiscoSans" charset="0"/>
                        <a:cs typeface="CiscoSans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6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bg2"/>
                          </a:solidFill>
                          <a:latin typeface="CiscoSans" charset="0"/>
                          <a:ea typeface="CiscoSans" charset="0"/>
                          <a:cs typeface="CiscoSans" charset="0"/>
                        </a:rPr>
                        <a:t>Dat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6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bg2"/>
                          </a:solidFill>
                          <a:latin typeface="CiscoSans" charset="0"/>
                          <a:ea typeface="CiscoSans" charset="0"/>
                          <a:cs typeface="CiscoSans" charset="0"/>
                        </a:rPr>
                        <a:t>Applicatio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6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 smtClean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6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 smtClean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18" name="Group 17"/>
          <p:cNvGrpSpPr/>
          <p:nvPr/>
        </p:nvGrpSpPr>
        <p:grpSpPr>
          <a:xfrm>
            <a:off x="1055821" y="3031426"/>
            <a:ext cx="1407459" cy="1082569"/>
            <a:chOff x="860612" y="1517380"/>
            <a:chExt cx="3749898" cy="2884292"/>
          </a:xfrm>
        </p:grpSpPr>
        <p:sp>
          <p:nvSpPr>
            <p:cNvPr id="19" name="Oval 18"/>
            <p:cNvSpPr/>
            <p:nvPr/>
          </p:nvSpPr>
          <p:spPr>
            <a:xfrm>
              <a:off x="860612" y="3361766"/>
              <a:ext cx="1039906" cy="1039906"/>
            </a:xfrm>
            <a:prstGeom prst="ellipse">
              <a:avLst/>
            </a:pr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2132415" y="3361766"/>
              <a:ext cx="1039906" cy="1039906"/>
            </a:xfrm>
            <a:prstGeom prst="rect">
              <a:avLst/>
            </a:pr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21" name="Triangle 20"/>
            <p:cNvSpPr/>
            <p:nvPr/>
          </p:nvSpPr>
          <p:spPr>
            <a:xfrm>
              <a:off x="3404219" y="3361766"/>
              <a:ext cx="1206291" cy="1039906"/>
            </a:xfrm>
            <a:prstGeom prst="triangle">
              <a:avLst/>
            </a:pr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22" name="Regular Pentagon 21"/>
            <p:cNvSpPr/>
            <p:nvPr/>
          </p:nvSpPr>
          <p:spPr>
            <a:xfrm>
              <a:off x="2132414" y="1517380"/>
              <a:ext cx="1039907" cy="990388"/>
            </a:xfrm>
            <a:prstGeom prst="pentagon">
              <a:avLst/>
            </a:prstGeom>
            <a:solidFill>
              <a:srgbClr val="00B05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23" name="Right Brace 22"/>
            <p:cNvSpPr/>
            <p:nvPr/>
          </p:nvSpPr>
          <p:spPr>
            <a:xfrm rot="16200000" flipV="1">
              <a:off x="2383424" y="1616955"/>
              <a:ext cx="537885" cy="2635623"/>
            </a:xfrm>
            <a:prstGeom prst="rightBrace">
              <a:avLst>
                <a:gd name="adj1" fmla="val 22474"/>
                <a:gd name="adj2" fmla="val 50000"/>
              </a:avLst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3700038" y="3031426"/>
            <a:ext cx="1817185" cy="1096821"/>
            <a:chOff x="1300686" y="1222516"/>
            <a:chExt cx="5384129" cy="3249765"/>
          </a:xfrm>
        </p:grpSpPr>
        <p:sp>
          <p:nvSpPr>
            <p:cNvPr id="25" name="Oval 24"/>
            <p:cNvSpPr/>
            <p:nvPr/>
          </p:nvSpPr>
          <p:spPr>
            <a:xfrm>
              <a:off x="1909279" y="1222516"/>
              <a:ext cx="608593" cy="608593"/>
            </a:xfrm>
            <a:prstGeom prst="ellipse">
              <a:avLst/>
            </a:pr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26" name="Oval 25"/>
            <p:cNvSpPr/>
            <p:nvPr/>
          </p:nvSpPr>
          <p:spPr>
            <a:xfrm>
              <a:off x="1300688" y="1744795"/>
              <a:ext cx="608593" cy="608593"/>
            </a:xfrm>
            <a:prstGeom prst="ellipse">
              <a:avLst/>
            </a:pr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27" name="Oval 26"/>
            <p:cNvSpPr/>
            <p:nvPr/>
          </p:nvSpPr>
          <p:spPr>
            <a:xfrm>
              <a:off x="1300687" y="2552525"/>
              <a:ext cx="608593" cy="608593"/>
            </a:xfrm>
            <a:prstGeom prst="ellipse">
              <a:avLst/>
            </a:pr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28" name="Oval 27"/>
            <p:cNvSpPr/>
            <p:nvPr/>
          </p:nvSpPr>
          <p:spPr>
            <a:xfrm>
              <a:off x="1300686" y="3360255"/>
              <a:ext cx="608593" cy="608593"/>
            </a:xfrm>
            <a:prstGeom prst="ellipse">
              <a:avLst/>
            </a:pr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29" name="Oval 28"/>
            <p:cNvSpPr/>
            <p:nvPr/>
          </p:nvSpPr>
          <p:spPr>
            <a:xfrm>
              <a:off x="1909279" y="3863688"/>
              <a:ext cx="608593" cy="608593"/>
            </a:xfrm>
            <a:prstGeom prst="ellipse">
              <a:avLst/>
            </a:pr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30" name="Oval 29"/>
            <p:cNvSpPr/>
            <p:nvPr/>
          </p:nvSpPr>
          <p:spPr>
            <a:xfrm>
              <a:off x="2517872" y="1744795"/>
              <a:ext cx="608593" cy="608593"/>
            </a:xfrm>
            <a:prstGeom prst="ellipse">
              <a:avLst/>
            </a:pr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31" name="Oval 30"/>
            <p:cNvSpPr/>
            <p:nvPr/>
          </p:nvSpPr>
          <p:spPr>
            <a:xfrm>
              <a:off x="2517872" y="3360255"/>
              <a:ext cx="608593" cy="608593"/>
            </a:xfrm>
            <a:prstGeom prst="ellipse">
              <a:avLst/>
            </a:pr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32" name="Oval 31"/>
            <p:cNvSpPr/>
            <p:nvPr/>
          </p:nvSpPr>
          <p:spPr>
            <a:xfrm>
              <a:off x="1909279" y="2049091"/>
              <a:ext cx="608593" cy="608593"/>
            </a:xfrm>
            <a:prstGeom prst="ellipse">
              <a:avLst/>
            </a:pr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33" name="Oval 32"/>
            <p:cNvSpPr/>
            <p:nvPr/>
          </p:nvSpPr>
          <p:spPr>
            <a:xfrm>
              <a:off x="1909279" y="3055958"/>
              <a:ext cx="608593" cy="608593"/>
            </a:xfrm>
            <a:prstGeom prst="ellipse">
              <a:avLst/>
            </a:pr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34" name="Right Arrow 33"/>
            <p:cNvSpPr/>
            <p:nvPr/>
          </p:nvSpPr>
          <p:spPr>
            <a:xfrm>
              <a:off x="2822168" y="2353387"/>
              <a:ext cx="1613042" cy="1119041"/>
            </a:xfrm>
            <a:prstGeom prst="rightArrow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35" name="Oval 34"/>
            <p:cNvSpPr/>
            <p:nvPr/>
          </p:nvSpPr>
          <p:spPr>
            <a:xfrm>
              <a:off x="4619976" y="3318250"/>
              <a:ext cx="608593" cy="608593"/>
            </a:xfrm>
            <a:prstGeom prst="ellipse">
              <a:avLst/>
            </a:pr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36" name="Oval 35"/>
            <p:cNvSpPr/>
            <p:nvPr/>
          </p:nvSpPr>
          <p:spPr>
            <a:xfrm>
              <a:off x="5348099" y="3318250"/>
              <a:ext cx="608593" cy="608593"/>
            </a:xfrm>
            <a:prstGeom prst="ellipse">
              <a:avLst/>
            </a:pr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37" name="Oval 36"/>
            <p:cNvSpPr/>
            <p:nvPr/>
          </p:nvSpPr>
          <p:spPr>
            <a:xfrm>
              <a:off x="6076222" y="3318250"/>
              <a:ext cx="608593" cy="608593"/>
            </a:xfrm>
            <a:prstGeom prst="ellipse">
              <a:avLst/>
            </a:pr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38" name="Oval 37"/>
            <p:cNvSpPr/>
            <p:nvPr/>
          </p:nvSpPr>
          <p:spPr>
            <a:xfrm>
              <a:off x="4619975" y="2615680"/>
              <a:ext cx="608593" cy="608593"/>
            </a:xfrm>
            <a:prstGeom prst="ellipse">
              <a:avLst/>
            </a:pr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39" name="Oval 38"/>
            <p:cNvSpPr/>
            <p:nvPr/>
          </p:nvSpPr>
          <p:spPr>
            <a:xfrm>
              <a:off x="5348098" y="2615680"/>
              <a:ext cx="608593" cy="608593"/>
            </a:xfrm>
            <a:prstGeom prst="ellipse">
              <a:avLst/>
            </a:pr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40" name="Oval 39"/>
            <p:cNvSpPr/>
            <p:nvPr/>
          </p:nvSpPr>
          <p:spPr>
            <a:xfrm>
              <a:off x="6076221" y="2615680"/>
              <a:ext cx="608593" cy="608593"/>
            </a:xfrm>
            <a:prstGeom prst="ellipse">
              <a:avLst/>
            </a:pr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41" name="Oval 40"/>
            <p:cNvSpPr/>
            <p:nvPr/>
          </p:nvSpPr>
          <p:spPr>
            <a:xfrm>
              <a:off x="4619974" y="1913110"/>
              <a:ext cx="608593" cy="608593"/>
            </a:xfrm>
            <a:prstGeom prst="ellipse">
              <a:avLst/>
            </a:pr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42" name="Oval 41"/>
            <p:cNvSpPr/>
            <p:nvPr/>
          </p:nvSpPr>
          <p:spPr>
            <a:xfrm>
              <a:off x="5348097" y="1913110"/>
              <a:ext cx="608593" cy="608593"/>
            </a:xfrm>
            <a:prstGeom prst="ellipse">
              <a:avLst/>
            </a:pr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43" name="Oval 42"/>
            <p:cNvSpPr/>
            <p:nvPr/>
          </p:nvSpPr>
          <p:spPr>
            <a:xfrm>
              <a:off x="6076220" y="1913110"/>
              <a:ext cx="608593" cy="608593"/>
            </a:xfrm>
            <a:prstGeom prst="ellipse">
              <a:avLst/>
            </a:pr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</p:grpSp>
      <p:sp>
        <p:nvSpPr>
          <p:cNvPr id="57" name="Rounded Rectangle 56"/>
          <p:cNvSpPr/>
          <p:nvPr/>
        </p:nvSpPr>
        <p:spPr>
          <a:xfrm>
            <a:off x="702068" y="1918296"/>
            <a:ext cx="2270588" cy="904126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bg2"/>
                </a:solidFill>
                <a:latin typeface="CiscoSans" charset="0"/>
                <a:ea typeface="CiscoSans" charset="0"/>
                <a:cs typeface="CiscoSans" charset="0"/>
              </a:rPr>
              <a:t>Provide WAN backhaul and secure sensors</a:t>
            </a:r>
            <a:endParaRPr lang="en-US" sz="1400" dirty="0">
              <a:solidFill>
                <a:schemeClr val="bg2"/>
              </a:solidFill>
              <a:latin typeface="CiscoSans" charset="0"/>
              <a:ea typeface="CiscoSans" charset="0"/>
              <a:cs typeface="CiscoSans" charset="0"/>
            </a:endParaRPr>
          </a:p>
        </p:txBody>
      </p:sp>
      <p:sp>
        <p:nvSpPr>
          <p:cNvPr id="58" name="Rounded Rectangle 57"/>
          <p:cNvSpPr/>
          <p:nvPr/>
        </p:nvSpPr>
        <p:spPr>
          <a:xfrm>
            <a:off x="3504779" y="1918296"/>
            <a:ext cx="2270588" cy="904126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bg2"/>
                </a:solidFill>
                <a:latin typeface="CiscoSans" charset="0"/>
                <a:ea typeface="CiscoSans" charset="0"/>
                <a:cs typeface="CiscoSans" charset="0"/>
              </a:rPr>
              <a:t>Collect and normalize sensor data</a:t>
            </a:r>
            <a:endParaRPr lang="en-US" sz="1400" dirty="0">
              <a:solidFill>
                <a:schemeClr val="bg2"/>
              </a:solidFill>
              <a:latin typeface="CiscoSans" charset="0"/>
              <a:ea typeface="CiscoSans" charset="0"/>
              <a:cs typeface="CiscoSans" charset="0"/>
            </a:endParaRPr>
          </a:p>
        </p:txBody>
      </p:sp>
      <p:sp>
        <p:nvSpPr>
          <p:cNvPr id="59" name="Rounded Rectangle 58"/>
          <p:cNvSpPr/>
          <p:nvPr/>
        </p:nvSpPr>
        <p:spPr>
          <a:xfrm>
            <a:off x="6307490" y="1918296"/>
            <a:ext cx="2270588" cy="904126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>
                <a:solidFill>
                  <a:schemeClr val="bg2"/>
                </a:solidFill>
                <a:latin typeface="CiscoSans" charset="0"/>
                <a:ea typeface="CiscoSans" charset="0"/>
                <a:cs typeface="CiscoSans" charset="0"/>
              </a:rPr>
              <a:t>Improve safety, mobility, and environmental performance</a:t>
            </a:r>
            <a:endParaRPr lang="en-US" sz="1400" dirty="0">
              <a:solidFill>
                <a:schemeClr val="bg2"/>
              </a:solidFill>
              <a:latin typeface="CiscoSans" charset="0"/>
              <a:ea typeface="CiscoSans" charset="0"/>
              <a:cs typeface="CiscoSans" charset="0"/>
            </a:endParaRPr>
          </a:p>
        </p:txBody>
      </p:sp>
      <p:sp>
        <p:nvSpPr>
          <p:cNvPr id="60" name="Triangle 59"/>
          <p:cNvSpPr/>
          <p:nvPr/>
        </p:nvSpPr>
        <p:spPr>
          <a:xfrm rot="5400000" flipH="1">
            <a:off x="2832051" y="2273675"/>
            <a:ext cx="792781" cy="205483"/>
          </a:xfrm>
          <a:prstGeom prst="triangle">
            <a:avLst/>
          </a:prstGeom>
          <a:solidFill>
            <a:srgbClr val="36A4D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61" name="Triangle 60"/>
          <p:cNvSpPr/>
          <p:nvPr/>
        </p:nvSpPr>
        <p:spPr>
          <a:xfrm rot="5400000" flipH="1">
            <a:off x="5634763" y="2267617"/>
            <a:ext cx="792781" cy="205483"/>
          </a:xfrm>
          <a:prstGeom prst="triangle">
            <a:avLst/>
          </a:prstGeom>
          <a:solidFill>
            <a:srgbClr val="36A4D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63" name="Text Placeholder 6"/>
          <p:cNvSpPr txBox="1">
            <a:spLocks/>
          </p:cNvSpPr>
          <p:nvPr/>
        </p:nvSpPr>
        <p:spPr>
          <a:xfrm>
            <a:off x="4792935" y="3135964"/>
            <a:ext cx="3872386" cy="981906"/>
          </a:xfrm>
          <a:prstGeom prst="rect">
            <a:avLst/>
          </a:prstGeom>
        </p:spPr>
        <p:txBody>
          <a:bodyPr/>
          <a:lstStyle>
            <a:lvl1pPr marL="169863" indent="-169863" algn="l" defTabSz="684213" rtl="0" eaLnBrk="1" fontAlgn="base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charset="0"/>
              <a:buChar char="•"/>
              <a:defRPr lang="en-US" sz="15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1pPr>
            <a:lvl2pPr marL="358775" indent="-215900" algn="l" defTabSz="684213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2pPr>
            <a:lvl3pPr marL="431800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3pPr>
            <a:lvl4pPr marL="503238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4pPr>
            <a:lvl5pPr marL="574675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en-US" sz="1050" dirty="0">
              <a:solidFill>
                <a:srgbClr val="004BA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6" name="Picture 5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7607" y="2983979"/>
            <a:ext cx="1285875" cy="1285875"/>
          </a:xfrm>
          <a:prstGeom prst="rect">
            <a:avLst/>
          </a:prstGeom>
        </p:spPr>
      </p:pic>
      <p:sp>
        <p:nvSpPr>
          <p:cNvPr id="45" name="Title 6"/>
          <p:cNvSpPr>
            <a:spLocks noGrp="1"/>
          </p:cNvSpPr>
          <p:nvPr>
            <p:ph type="title"/>
          </p:nvPr>
        </p:nvSpPr>
        <p:spPr>
          <a:xfrm>
            <a:off x="437766" y="407059"/>
            <a:ext cx="8345488" cy="41592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pc="-67" dirty="0" smtClean="0"/>
              <a:t>Steps to Success</a:t>
            </a:r>
            <a:endParaRPr lang="en-US" spc="-67" dirty="0"/>
          </a:p>
        </p:txBody>
      </p:sp>
    </p:spTree>
    <p:extLst>
      <p:ext uri="{BB962C8B-B14F-4D97-AF65-F5344CB8AC3E}">
        <p14:creationId xmlns:p14="http://schemas.microsoft.com/office/powerpoint/2010/main" val="1131071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Table 64"/>
          <p:cNvGraphicFramePr>
            <a:graphicFrameLocks noGrp="1"/>
          </p:cNvGraphicFramePr>
          <p:nvPr>
            <p:extLst/>
          </p:nvPr>
        </p:nvGraphicFramePr>
        <p:xfrm>
          <a:off x="320712" y="1264008"/>
          <a:ext cx="8506806" cy="3291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35602"/>
                <a:gridCol w="2835602"/>
                <a:gridCol w="2835602"/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 smtClean="0">
                          <a:solidFill>
                            <a:schemeClr val="bg2"/>
                          </a:solidFill>
                          <a:latin typeface="CiscoSans" charset="0"/>
                          <a:ea typeface="CiscoSans" charset="0"/>
                          <a:cs typeface="CiscoSans" charset="0"/>
                        </a:rPr>
                        <a:t>Infrastructure</a:t>
                      </a:r>
                      <a:endParaRPr lang="en-US" sz="1200" b="0" dirty="0">
                        <a:solidFill>
                          <a:schemeClr val="bg2"/>
                        </a:solidFill>
                        <a:latin typeface="CiscoSans" charset="0"/>
                        <a:ea typeface="CiscoSans" charset="0"/>
                        <a:cs typeface="CiscoSans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6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 smtClean="0">
                        <a:solidFill>
                          <a:schemeClr val="bg2"/>
                        </a:solidFill>
                        <a:latin typeface="CiscoSans" charset="0"/>
                        <a:ea typeface="CiscoSans" charset="0"/>
                        <a:cs typeface="CiscoSans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6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 smtClean="0">
                        <a:solidFill>
                          <a:schemeClr val="bg2"/>
                        </a:solidFill>
                        <a:latin typeface="CiscoSans" charset="0"/>
                        <a:ea typeface="CiscoSans" charset="0"/>
                        <a:cs typeface="CiscoSans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8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6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 smtClean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6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 smtClean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37766" y="407059"/>
            <a:ext cx="8345488" cy="41592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pc="-67" dirty="0" smtClean="0"/>
              <a:t>Connected Roadways Foundation</a:t>
            </a:r>
            <a:endParaRPr lang="en-US" spc="-67" dirty="0"/>
          </a:p>
        </p:txBody>
      </p:sp>
      <p:grpSp>
        <p:nvGrpSpPr>
          <p:cNvPr id="18" name="Group 17"/>
          <p:cNvGrpSpPr/>
          <p:nvPr/>
        </p:nvGrpSpPr>
        <p:grpSpPr>
          <a:xfrm>
            <a:off x="1055821" y="3031426"/>
            <a:ext cx="1407459" cy="1082569"/>
            <a:chOff x="860612" y="1517380"/>
            <a:chExt cx="3749898" cy="2884292"/>
          </a:xfrm>
        </p:grpSpPr>
        <p:sp>
          <p:nvSpPr>
            <p:cNvPr id="19" name="Oval 18"/>
            <p:cNvSpPr/>
            <p:nvPr/>
          </p:nvSpPr>
          <p:spPr>
            <a:xfrm>
              <a:off x="860612" y="3361766"/>
              <a:ext cx="1039906" cy="1039906"/>
            </a:xfrm>
            <a:prstGeom prst="ellipse">
              <a:avLst/>
            </a:pr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2132415" y="3361766"/>
              <a:ext cx="1039906" cy="1039906"/>
            </a:xfrm>
            <a:prstGeom prst="rect">
              <a:avLst/>
            </a:pr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21" name="Triangle 20"/>
            <p:cNvSpPr/>
            <p:nvPr/>
          </p:nvSpPr>
          <p:spPr>
            <a:xfrm>
              <a:off x="3404219" y="3361766"/>
              <a:ext cx="1206291" cy="1039906"/>
            </a:xfrm>
            <a:prstGeom prst="triangle">
              <a:avLst/>
            </a:pr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22" name="Regular Pentagon 21"/>
            <p:cNvSpPr/>
            <p:nvPr/>
          </p:nvSpPr>
          <p:spPr>
            <a:xfrm>
              <a:off x="2132414" y="1517380"/>
              <a:ext cx="1039907" cy="990388"/>
            </a:xfrm>
            <a:prstGeom prst="pentagon">
              <a:avLst/>
            </a:prstGeom>
            <a:solidFill>
              <a:srgbClr val="00B05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23" name="Right Brace 22"/>
            <p:cNvSpPr/>
            <p:nvPr/>
          </p:nvSpPr>
          <p:spPr>
            <a:xfrm rot="16200000" flipV="1">
              <a:off x="2383424" y="1616955"/>
              <a:ext cx="537885" cy="2635623"/>
            </a:xfrm>
            <a:prstGeom prst="rightBrace">
              <a:avLst>
                <a:gd name="adj1" fmla="val 22474"/>
                <a:gd name="adj2" fmla="val 50000"/>
              </a:avLst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57" name="Rounded Rectangle 56"/>
          <p:cNvSpPr/>
          <p:nvPr/>
        </p:nvSpPr>
        <p:spPr>
          <a:xfrm>
            <a:off x="702068" y="1918296"/>
            <a:ext cx="2270588" cy="904126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bg2"/>
                </a:solidFill>
                <a:latin typeface="CiscoSans" charset="0"/>
                <a:ea typeface="CiscoSans" charset="0"/>
                <a:cs typeface="CiscoSans" charset="0"/>
              </a:rPr>
              <a:t>Provide WAN backhaul and secure sensors</a:t>
            </a:r>
            <a:endParaRPr lang="en-US" sz="1400" dirty="0">
              <a:solidFill>
                <a:schemeClr val="bg2"/>
              </a:solidFill>
              <a:latin typeface="CiscoSans" charset="0"/>
              <a:ea typeface="CiscoSans" charset="0"/>
              <a:cs typeface="CiscoSans" charset="0"/>
            </a:endParaRPr>
          </a:p>
        </p:txBody>
      </p:sp>
      <p:sp>
        <p:nvSpPr>
          <p:cNvPr id="63" name="Text Placeholder 6"/>
          <p:cNvSpPr txBox="1">
            <a:spLocks/>
          </p:cNvSpPr>
          <p:nvPr/>
        </p:nvSpPr>
        <p:spPr>
          <a:xfrm>
            <a:off x="4792935" y="3135964"/>
            <a:ext cx="3872386" cy="981906"/>
          </a:xfrm>
          <a:prstGeom prst="rect">
            <a:avLst/>
          </a:prstGeom>
        </p:spPr>
        <p:txBody>
          <a:bodyPr/>
          <a:lstStyle>
            <a:lvl1pPr marL="169863" indent="-169863" algn="l" defTabSz="684213" rtl="0" eaLnBrk="1" fontAlgn="base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charset="0"/>
              <a:buChar char="•"/>
              <a:defRPr lang="en-US" sz="15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1pPr>
            <a:lvl2pPr marL="358775" indent="-215900" algn="l" defTabSz="684213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2pPr>
            <a:lvl3pPr marL="431800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3pPr>
            <a:lvl4pPr marL="503238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4pPr>
            <a:lvl5pPr marL="574675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en-US" sz="1050" dirty="0">
              <a:solidFill>
                <a:srgbClr val="004BA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293174" y="1853267"/>
            <a:ext cx="5374237" cy="26314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400" dirty="0" smtClean="0">
                <a:latin typeface="CiscoSans" charset="0"/>
                <a:ea typeface="CiscoSans" charset="0"/>
                <a:cs typeface="CiscoSans" charset="0"/>
              </a:rPr>
              <a:t>MPLS-enabled backhaul communications to enable resiliency, data segmentation, and security of sensors, traffic lights, and CAVs</a:t>
            </a:r>
            <a:endParaRPr lang="en-US" sz="1400" dirty="0">
              <a:latin typeface="CiscoSans" charset="0"/>
              <a:ea typeface="CiscoSans" charset="0"/>
              <a:cs typeface="CiscoSans" charset="0"/>
            </a:endParaRP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400" dirty="0">
                <a:latin typeface="CiscoSans" charset="0"/>
                <a:ea typeface="CiscoSans" charset="0"/>
                <a:cs typeface="CiscoSans" charset="0"/>
              </a:rPr>
              <a:t>I</a:t>
            </a:r>
            <a:r>
              <a:rPr lang="en-US" sz="1400" dirty="0" smtClean="0">
                <a:latin typeface="CiscoSans" charset="0"/>
                <a:ea typeface="CiscoSans" charset="0"/>
                <a:cs typeface="CiscoSans" charset="0"/>
              </a:rPr>
              <a:t>ntegrated </a:t>
            </a:r>
            <a:r>
              <a:rPr lang="en-US" sz="1400" dirty="0">
                <a:latin typeface="CiscoSans" charset="0"/>
                <a:ea typeface="CiscoSans" charset="0"/>
                <a:cs typeface="CiscoSans" charset="0"/>
              </a:rPr>
              <a:t>s</a:t>
            </a:r>
            <a:r>
              <a:rPr lang="en-US" sz="1400" dirty="0" smtClean="0">
                <a:latin typeface="CiscoSans" charset="0"/>
                <a:ea typeface="CiscoSans" charset="0"/>
                <a:cs typeface="CiscoSans" charset="0"/>
              </a:rPr>
              <a:t>ecurity architecture based on NIST framework for threat detection, identity management, and network segmentation firewalls</a:t>
            </a:r>
            <a:endParaRPr lang="en-US" sz="1400" dirty="0">
              <a:latin typeface="CiscoSans" charset="0"/>
              <a:ea typeface="CiscoSans" charset="0"/>
              <a:cs typeface="CiscoSans" charset="0"/>
            </a:endParaRP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400" dirty="0" smtClean="0">
                <a:latin typeface="CiscoSans" charset="0"/>
                <a:ea typeface="CiscoSans" charset="0"/>
                <a:cs typeface="CiscoSans" charset="0"/>
              </a:rPr>
              <a:t>Distributed compute and central data storage 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400" dirty="0" smtClean="0">
                <a:latin typeface="CiscoSans" charset="0"/>
                <a:ea typeface="CiscoSans" charset="0"/>
                <a:cs typeface="CiscoSans" charset="0"/>
              </a:rPr>
              <a:t>Service access points and industrialized Ethernet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400" dirty="0" smtClean="0">
                <a:latin typeface="CiscoSans" charset="0"/>
                <a:ea typeface="CiscoSans" charset="0"/>
                <a:cs typeface="CiscoSans" charset="0"/>
              </a:rPr>
              <a:t>DSRC gateways</a:t>
            </a:r>
          </a:p>
          <a:p>
            <a:pPr marL="285750" indent="-285750">
              <a:spcAft>
                <a:spcPts val="600"/>
              </a:spcAft>
              <a:buFont typeface="Arial" charset="0"/>
              <a:buChar char="•"/>
            </a:pPr>
            <a:r>
              <a:rPr lang="en-US" sz="1400" dirty="0" smtClean="0">
                <a:latin typeface="CiscoSans" charset="0"/>
                <a:ea typeface="CiscoSans" charset="0"/>
                <a:cs typeface="CiscoSans" charset="0"/>
              </a:rPr>
              <a:t>Application security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1160" y="4094826"/>
            <a:ext cx="1536804" cy="644466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6231096" y="4581374"/>
            <a:ext cx="179693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>
                <a:solidFill>
                  <a:srgbClr val="00B050"/>
                </a:solidFill>
              </a:rPr>
              <a:t>Cisco Industrial </a:t>
            </a:r>
            <a:r>
              <a:rPr lang="en-US" sz="1050" b="1" dirty="0" smtClean="0">
                <a:solidFill>
                  <a:srgbClr val="00B050"/>
                </a:solidFill>
              </a:rPr>
              <a:t>Mobile Router</a:t>
            </a:r>
          </a:p>
        </p:txBody>
      </p:sp>
    </p:spTree>
    <p:extLst>
      <p:ext uri="{BB962C8B-B14F-4D97-AF65-F5344CB8AC3E}">
        <p14:creationId xmlns:p14="http://schemas.microsoft.com/office/powerpoint/2010/main" val="667263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Table 64"/>
          <p:cNvGraphicFramePr>
            <a:graphicFrameLocks noGrp="1"/>
          </p:cNvGraphicFramePr>
          <p:nvPr>
            <p:extLst/>
          </p:nvPr>
        </p:nvGraphicFramePr>
        <p:xfrm>
          <a:off x="320712" y="1264008"/>
          <a:ext cx="8506806" cy="3291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35602"/>
                <a:gridCol w="2835602"/>
                <a:gridCol w="2835602"/>
              </a:tblGrid>
              <a:tr h="0">
                <a:tc>
                  <a:txBody>
                    <a:bodyPr/>
                    <a:lstStyle/>
                    <a:p>
                      <a:pPr algn="ctr"/>
                      <a:endParaRPr lang="en-US" sz="1200" b="0" dirty="0">
                        <a:solidFill>
                          <a:schemeClr val="bg2"/>
                        </a:solidFill>
                        <a:latin typeface="CiscoSans" charset="0"/>
                        <a:ea typeface="CiscoSans" charset="0"/>
                        <a:cs typeface="CiscoSans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6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bg2"/>
                          </a:solidFill>
                          <a:latin typeface="CiscoSans" charset="0"/>
                          <a:ea typeface="CiscoSans" charset="0"/>
                          <a:cs typeface="CiscoSans" charset="0"/>
                        </a:rPr>
                        <a:t>Dat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6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 smtClean="0">
                        <a:solidFill>
                          <a:schemeClr val="bg2"/>
                        </a:solidFill>
                        <a:latin typeface="CiscoSans" charset="0"/>
                        <a:ea typeface="CiscoSans" charset="0"/>
                        <a:cs typeface="CiscoSans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8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  <a:p>
                      <a:pPr algn="ctr"/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6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 smtClean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6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 smtClean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27536" y="292137"/>
            <a:ext cx="4798192" cy="65116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000" spc="-67" dirty="0" smtClean="0">
                <a:latin typeface="CiscoSans" pitchFamily="34" charset="0"/>
              </a:rPr>
              <a:t>Cisco Kinetic: </a:t>
            </a:r>
            <a:br>
              <a:rPr lang="en-US" sz="2000" spc="-67" dirty="0" smtClean="0">
                <a:latin typeface="CiscoSans" pitchFamily="34" charset="0"/>
              </a:rPr>
            </a:br>
            <a:r>
              <a:rPr lang="en-US" sz="2000" spc="-67" dirty="0" smtClean="0">
                <a:latin typeface="CiscoSans" pitchFamily="34" charset="0"/>
              </a:rPr>
              <a:t>- Smart+Connected™ Digital Platform </a:t>
            </a:r>
            <a:br>
              <a:rPr lang="en-US" sz="2000" spc="-67" dirty="0" smtClean="0">
                <a:latin typeface="CiscoSans" pitchFamily="34" charset="0"/>
              </a:rPr>
            </a:br>
            <a:r>
              <a:rPr lang="en-US" sz="2000" spc="-67" dirty="0" smtClean="0">
                <a:latin typeface="CiscoSans" pitchFamily="34" charset="0"/>
              </a:rPr>
              <a:t>- Edge and Fog </a:t>
            </a:r>
            <a:r>
              <a:rPr lang="en-US" sz="2000" spc="-67" dirty="0" smtClean="0">
                <a:latin typeface="CiscoSans" pitchFamily="34" charset="0"/>
              </a:rPr>
              <a:t>Fabric</a:t>
            </a:r>
            <a:endParaRPr lang="en-US" sz="2000" spc="-67" dirty="0">
              <a:latin typeface="CiscoSans" pitchFamily="34" charset="0"/>
            </a:endParaRPr>
          </a:p>
        </p:txBody>
      </p:sp>
      <p:grpSp>
        <p:nvGrpSpPr>
          <p:cNvPr id="24" name="Group 23"/>
          <p:cNvGrpSpPr/>
          <p:nvPr/>
        </p:nvGrpSpPr>
        <p:grpSpPr>
          <a:xfrm>
            <a:off x="3700038" y="3031426"/>
            <a:ext cx="1817185" cy="1096821"/>
            <a:chOff x="1300686" y="1222516"/>
            <a:chExt cx="5384129" cy="3249765"/>
          </a:xfrm>
        </p:grpSpPr>
        <p:sp>
          <p:nvSpPr>
            <p:cNvPr id="25" name="Oval 24"/>
            <p:cNvSpPr/>
            <p:nvPr/>
          </p:nvSpPr>
          <p:spPr>
            <a:xfrm>
              <a:off x="1909279" y="1222516"/>
              <a:ext cx="608593" cy="608593"/>
            </a:xfrm>
            <a:prstGeom prst="ellipse">
              <a:avLst/>
            </a:pr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latin typeface="CiscoSans" pitchFamily="34" charset="0"/>
              </a:endParaRPr>
            </a:p>
          </p:txBody>
        </p:sp>
        <p:sp>
          <p:nvSpPr>
            <p:cNvPr id="26" name="Oval 25"/>
            <p:cNvSpPr/>
            <p:nvPr/>
          </p:nvSpPr>
          <p:spPr>
            <a:xfrm>
              <a:off x="1300688" y="1744795"/>
              <a:ext cx="608593" cy="608593"/>
            </a:xfrm>
            <a:prstGeom prst="ellipse">
              <a:avLst/>
            </a:pr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latin typeface="CiscoSans" pitchFamily="34" charset="0"/>
              </a:endParaRPr>
            </a:p>
          </p:txBody>
        </p:sp>
        <p:sp>
          <p:nvSpPr>
            <p:cNvPr id="27" name="Oval 26"/>
            <p:cNvSpPr/>
            <p:nvPr/>
          </p:nvSpPr>
          <p:spPr>
            <a:xfrm>
              <a:off x="1300687" y="2552525"/>
              <a:ext cx="608593" cy="608593"/>
            </a:xfrm>
            <a:prstGeom prst="ellipse">
              <a:avLst/>
            </a:pr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latin typeface="CiscoSans" pitchFamily="34" charset="0"/>
              </a:endParaRPr>
            </a:p>
          </p:txBody>
        </p:sp>
        <p:sp>
          <p:nvSpPr>
            <p:cNvPr id="28" name="Oval 27"/>
            <p:cNvSpPr/>
            <p:nvPr/>
          </p:nvSpPr>
          <p:spPr>
            <a:xfrm>
              <a:off x="1300686" y="3360255"/>
              <a:ext cx="608593" cy="608593"/>
            </a:xfrm>
            <a:prstGeom prst="ellipse">
              <a:avLst/>
            </a:pr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latin typeface="CiscoSans" pitchFamily="34" charset="0"/>
              </a:endParaRPr>
            </a:p>
          </p:txBody>
        </p:sp>
        <p:sp>
          <p:nvSpPr>
            <p:cNvPr id="29" name="Oval 28"/>
            <p:cNvSpPr/>
            <p:nvPr/>
          </p:nvSpPr>
          <p:spPr>
            <a:xfrm>
              <a:off x="1909279" y="3863688"/>
              <a:ext cx="608593" cy="608593"/>
            </a:xfrm>
            <a:prstGeom prst="ellipse">
              <a:avLst/>
            </a:pr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latin typeface="CiscoSans" pitchFamily="34" charset="0"/>
              </a:endParaRPr>
            </a:p>
          </p:txBody>
        </p:sp>
        <p:sp>
          <p:nvSpPr>
            <p:cNvPr id="30" name="Oval 29"/>
            <p:cNvSpPr/>
            <p:nvPr/>
          </p:nvSpPr>
          <p:spPr>
            <a:xfrm>
              <a:off x="2517872" y="1744795"/>
              <a:ext cx="608593" cy="608593"/>
            </a:xfrm>
            <a:prstGeom prst="ellipse">
              <a:avLst/>
            </a:pr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latin typeface="CiscoSans" pitchFamily="34" charset="0"/>
              </a:endParaRPr>
            </a:p>
          </p:txBody>
        </p:sp>
        <p:sp>
          <p:nvSpPr>
            <p:cNvPr id="31" name="Oval 30"/>
            <p:cNvSpPr/>
            <p:nvPr/>
          </p:nvSpPr>
          <p:spPr>
            <a:xfrm>
              <a:off x="2517872" y="3360255"/>
              <a:ext cx="608593" cy="608593"/>
            </a:xfrm>
            <a:prstGeom prst="ellipse">
              <a:avLst/>
            </a:pr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latin typeface="CiscoSans" pitchFamily="34" charset="0"/>
              </a:endParaRPr>
            </a:p>
          </p:txBody>
        </p:sp>
        <p:sp>
          <p:nvSpPr>
            <p:cNvPr id="32" name="Oval 31"/>
            <p:cNvSpPr/>
            <p:nvPr/>
          </p:nvSpPr>
          <p:spPr>
            <a:xfrm>
              <a:off x="1909279" y="2049091"/>
              <a:ext cx="608593" cy="608593"/>
            </a:xfrm>
            <a:prstGeom prst="ellipse">
              <a:avLst/>
            </a:pr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latin typeface="CiscoSans" pitchFamily="34" charset="0"/>
              </a:endParaRPr>
            </a:p>
          </p:txBody>
        </p:sp>
        <p:sp>
          <p:nvSpPr>
            <p:cNvPr id="33" name="Oval 32"/>
            <p:cNvSpPr/>
            <p:nvPr/>
          </p:nvSpPr>
          <p:spPr>
            <a:xfrm>
              <a:off x="1909279" y="3055958"/>
              <a:ext cx="608593" cy="608593"/>
            </a:xfrm>
            <a:prstGeom prst="ellipse">
              <a:avLst/>
            </a:pr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latin typeface="CiscoSans" pitchFamily="34" charset="0"/>
              </a:endParaRPr>
            </a:p>
          </p:txBody>
        </p:sp>
        <p:sp>
          <p:nvSpPr>
            <p:cNvPr id="34" name="Right Arrow 33"/>
            <p:cNvSpPr/>
            <p:nvPr/>
          </p:nvSpPr>
          <p:spPr>
            <a:xfrm>
              <a:off x="2822168" y="2353387"/>
              <a:ext cx="1613042" cy="1119041"/>
            </a:xfrm>
            <a:prstGeom prst="rightArrow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latin typeface="CiscoSans" pitchFamily="34" charset="0"/>
              </a:endParaRPr>
            </a:p>
          </p:txBody>
        </p:sp>
        <p:sp>
          <p:nvSpPr>
            <p:cNvPr id="35" name="Oval 34"/>
            <p:cNvSpPr/>
            <p:nvPr/>
          </p:nvSpPr>
          <p:spPr>
            <a:xfrm>
              <a:off x="4619976" y="3318250"/>
              <a:ext cx="608593" cy="608593"/>
            </a:xfrm>
            <a:prstGeom prst="ellipse">
              <a:avLst/>
            </a:pr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latin typeface="CiscoSans" pitchFamily="34" charset="0"/>
              </a:endParaRPr>
            </a:p>
          </p:txBody>
        </p:sp>
        <p:sp>
          <p:nvSpPr>
            <p:cNvPr id="36" name="Oval 35"/>
            <p:cNvSpPr/>
            <p:nvPr/>
          </p:nvSpPr>
          <p:spPr>
            <a:xfrm>
              <a:off x="5348099" y="3318250"/>
              <a:ext cx="608593" cy="608593"/>
            </a:xfrm>
            <a:prstGeom prst="ellipse">
              <a:avLst/>
            </a:pr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latin typeface="CiscoSans" pitchFamily="34" charset="0"/>
              </a:endParaRPr>
            </a:p>
          </p:txBody>
        </p:sp>
        <p:sp>
          <p:nvSpPr>
            <p:cNvPr id="37" name="Oval 36"/>
            <p:cNvSpPr/>
            <p:nvPr/>
          </p:nvSpPr>
          <p:spPr>
            <a:xfrm>
              <a:off x="6076222" y="3318250"/>
              <a:ext cx="608593" cy="608593"/>
            </a:xfrm>
            <a:prstGeom prst="ellipse">
              <a:avLst/>
            </a:pr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latin typeface="CiscoSans" pitchFamily="34" charset="0"/>
              </a:endParaRPr>
            </a:p>
          </p:txBody>
        </p:sp>
        <p:sp>
          <p:nvSpPr>
            <p:cNvPr id="38" name="Oval 37"/>
            <p:cNvSpPr/>
            <p:nvPr/>
          </p:nvSpPr>
          <p:spPr>
            <a:xfrm>
              <a:off x="4619975" y="2615680"/>
              <a:ext cx="608593" cy="608593"/>
            </a:xfrm>
            <a:prstGeom prst="ellipse">
              <a:avLst/>
            </a:pr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latin typeface="CiscoSans" pitchFamily="34" charset="0"/>
              </a:endParaRPr>
            </a:p>
          </p:txBody>
        </p:sp>
        <p:sp>
          <p:nvSpPr>
            <p:cNvPr id="39" name="Oval 38"/>
            <p:cNvSpPr/>
            <p:nvPr/>
          </p:nvSpPr>
          <p:spPr>
            <a:xfrm>
              <a:off x="5348098" y="2615680"/>
              <a:ext cx="608593" cy="608593"/>
            </a:xfrm>
            <a:prstGeom prst="ellipse">
              <a:avLst/>
            </a:pr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latin typeface="CiscoSans" pitchFamily="34" charset="0"/>
              </a:endParaRPr>
            </a:p>
          </p:txBody>
        </p:sp>
        <p:sp>
          <p:nvSpPr>
            <p:cNvPr id="40" name="Oval 39"/>
            <p:cNvSpPr/>
            <p:nvPr/>
          </p:nvSpPr>
          <p:spPr>
            <a:xfrm>
              <a:off x="6076221" y="2615680"/>
              <a:ext cx="608593" cy="608593"/>
            </a:xfrm>
            <a:prstGeom prst="ellipse">
              <a:avLst/>
            </a:pr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latin typeface="CiscoSans" pitchFamily="34" charset="0"/>
              </a:endParaRPr>
            </a:p>
          </p:txBody>
        </p:sp>
        <p:sp>
          <p:nvSpPr>
            <p:cNvPr id="41" name="Oval 40"/>
            <p:cNvSpPr/>
            <p:nvPr/>
          </p:nvSpPr>
          <p:spPr>
            <a:xfrm>
              <a:off x="4619974" y="1913110"/>
              <a:ext cx="608593" cy="608593"/>
            </a:xfrm>
            <a:prstGeom prst="ellipse">
              <a:avLst/>
            </a:pr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latin typeface="CiscoSans" pitchFamily="34" charset="0"/>
              </a:endParaRPr>
            </a:p>
          </p:txBody>
        </p:sp>
        <p:sp>
          <p:nvSpPr>
            <p:cNvPr id="42" name="Oval 41"/>
            <p:cNvSpPr/>
            <p:nvPr/>
          </p:nvSpPr>
          <p:spPr>
            <a:xfrm>
              <a:off x="5348097" y="1913110"/>
              <a:ext cx="608593" cy="608593"/>
            </a:xfrm>
            <a:prstGeom prst="ellipse">
              <a:avLst/>
            </a:pr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latin typeface="CiscoSans" pitchFamily="34" charset="0"/>
              </a:endParaRPr>
            </a:p>
          </p:txBody>
        </p:sp>
        <p:sp>
          <p:nvSpPr>
            <p:cNvPr id="43" name="Oval 42"/>
            <p:cNvSpPr/>
            <p:nvPr/>
          </p:nvSpPr>
          <p:spPr>
            <a:xfrm>
              <a:off x="6076220" y="1913110"/>
              <a:ext cx="608593" cy="608593"/>
            </a:xfrm>
            <a:prstGeom prst="ellipse">
              <a:avLst/>
            </a:pr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latin typeface="CiscoSans" pitchFamily="34" charset="0"/>
              </a:endParaRPr>
            </a:p>
          </p:txBody>
        </p:sp>
      </p:grpSp>
      <p:sp>
        <p:nvSpPr>
          <p:cNvPr id="58" name="Rounded Rectangle 57"/>
          <p:cNvSpPr/>
          <p:nvPr/>
        </p:nvSpPr>
        <p:spPr>
          <a:xfrm>
            <a:off x="3504779" y="1918296"/>
            <a:ext cx="2270588" cy="904126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bg2"/>
                </a:solidFill>
                <a:latin typeface="CiscoSans" pitchFamily="34" charset="0"/>
                <a:ea typeface="CiscoSans" charset="0"/>
                <a:cs typeface="CiscoSans" charset="0"/>
              </a:rPr>
              <a:t>Collect and normalize sensor and DSRC data</a:t>
            </a:r>
            <a:endParaRPr lang="en-US" sz="1400" dirty="0">
              <a:solidFill>
                <a:schemeClr val="bg2"/>
              </a:solidFill>
              <a:latin typeface="CiscoSans" pitchFamily="34" charset="0"/>
              <a:ea typeface="CiscoSans" charset="0"/>
              <a:cs typeface="CiscoSans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227536" y="4216841"/>
            <a:ext cx="8825074" cy="523220"/>
          </a:xfrm>
          <a:prstGeom prst="rect">
            <a:avLst/>
          </a:prstGeom>
          <a:noFill/>
          <a:ln w="38100">
            <a:noFill/>
          </a:ln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 smtClean="0">
                <a:solidFill>
                  <a:schemeClr val="tx2"/>
                </a:solidFill>
                <a:latin typeface="CiscoSans" pitchFamily="34" charset="0"/>
                <a:ea typeface="CiscoSans" charset="0"/>
                <a:cs typeface="CiscoSans" charset="0"/>
              </a:rPr>
              <a:t>“</a:t>
            </a:r>
            <a:r>
              <a:rPr lang="en-US" sz="1400" i="1" dirty="0" smtClean="0">
                <a:solidFill>
                  <a:schemeClr val="tx2"/>
                </a:solidFill>
                <a:latin typeface="CiscoSans" pitchFamily="34" charset="0"/>
                <a:ea typeface="CiscoSans" charset="0"/>
                <a:cs typeface="CiscoSans" charset="0"/>
              </a:rPr>
              <a:t>CV and ITS deployments should be aligned with agency performance standards and holistic data requirements so that DOTs can leverage data sources across the organization.” </a:t>
            </a:r>
            <a:r>
              <a:rPr lang="en-US" sz="1050" dirty="0" smtClean="0">
                <a:solidFill>
                  <a:schemeClr val="tx2"/>
                </a:solidFill>
                <a:latin typeface="CiscoSans" pitchFamily="34" charset="0"/>
                <a:ea typeface="CiscoSans" charset="0"/>
                <a:cs typeface="CiscoSans" charset="0"/>
              </a:rPr>
              <a:t>USDOT JPO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6053431" y="1958388"/>
            <a:ext cx="2729821" cy="1400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69863" indent="-169863">
              <a:spcAft>
                <a:spcPts val="600"/>
              </a:spcAft>
              <a:buFont typeface="Arial" charset="0"/>
              <a:buChar char="•"/>
            </a:pPr>
            <a:r>
              <a:rPr lang="en-US" sz="1400" dirty="0" smtClean="0">
                <a:latin typeface="CiscoSans" pitchFamily="34" charset="0"/>
                <a:ea typeface="CiscoSans" charset="0"/>
                <a:cs typeface="CiscoSans" charset="0"/>
              </a:rPr>
              <a:t>Automated data distribution</a:t>
            </a:r>
          </a:p>
          <a:p>
            <a:pPr marL="169863" indent="-169863">
              <a:spcAft>
                <a:spcPts val="600"/>
              </a:spcAft>
              <a:buFont typeface="Arial" charset="0"/>
              <a:buChar char="•"/>
            </a:pPr>
            <a:r>
              <a:rPr lang="en-US" sz="1400" dirty="0" smtClean="0">
                <a:latin typeface="CiscoSans" pitchFamily="34" charset="0"/>
                <a:ea typeface="CiscoSans" charset="0"/>
                <a:cs typeface="CiscoSans" charset="0"/>
              </a:rPr>
              <a:t>Real-time dashboard</a:t>
            </a:r>
          </a:p>
          <a:p>
            <a:pPr marL="169863" indent="-169863">
              <a:spcAft>
                <a:spcPts val="600"/>
              </a:spcAft>
              <a:buFont typeface="Arial" charset="0"/>
              <a:buChar char="•"/>
            </a:pPr>
            <a:r>
              <a:rPr lang="en-US" sz="1400" dirty="0" smtClean="0">
                <a:latin typeface="CiscoSans" pitchFamily="34" charset="0"/>
                <a:ea typeface="CiscoSans" charset="0"/>
                <a:cs typeface="CiscoSans" charset="0"/>
              </a:rPr>
              <a:t>Single data presentation layer</a:t>
            </a:r>
          </a:p>
          <a:p>
            <a:pPr marL="169863" indent="-169863">
              <a:spcAft>
                <a:spcPts val="600"/>
              </a:spcAft>
              <a:buFont typeface="Arial" charset="0"/>
              <a:buChar char="•"/>
            </a:pPr>
            <a:r>
              <a:rPr lang="en-US" sz="1400" dirty="0" smtClean="0">
                <a:latin typeface="CiscoSans" pitchFamily="34" charset="0"/>
                <a:ea typeface="CiscoSans" charset="0"/>
                <a:cs typeface="CiscoSans" charset="0"/>
              </a:rPr>
              <a:t>Data lake</a:t>
            </a:r>
          </a:p>
        </p:txBody>
      </p:sp>
      <p:pic>
        <p:nvPicPr>
          <p:cNvPr id="46" name="Picture 4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002" y="1870229"/>
            <a:ext cx="3250800" cy="1686813"/>
          </a:xfrm>
          <a:prstGeom prst="rect">
            <a:avLst/>
          </a:prstGeom>
        </p:spPr>
      </p:pic>
      <p:sp>
        <p:nvSpPr>
          <p:cNvPr id="2" name="AutoShape 3" descr="cid:image002.png@01D32B1A.D6A073A0"/>
          <p:cNvSpPr>
            <a:spLocks noChangeAspect="1" noChangeArrowheads="1"/>
          </p:cNvSpPr>
          <p:nvPr/>
        </p:nvSpPr>
        <p:spPr bwMode="auto">
          <a:xfrm>
            <a:off x="0" y="0"/>
            <a:ext cx="2971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AutoShape 2" descr="cid:image001.png@01D32B1A.D6A073A0"/>
          <p:cNvSpPr>
            <a:spLocks noChangeAspect="1" noChangeArrowheads="1"/>
          </p:cNvSpPr>
          <p:nvPr/>
        </p:nvSpPr>
        <p:spPr bwMode="auto">
          <a:xfrm>
            <a:off x="0" y="0"/>
            <a:ext cx="4219575" cy="638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3022" y="47242"/>
            <a:ext cx="3959588" cy="1147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6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Table 64"/>
          <p:cNvGraphicFramePr>
            <a:graphicFrameLocks noGrp="1"/>
          </p:cNvGraphicFramePr>
          <p:nvPr>
            <p:extLst/>
          </p:nvPr>
        </p:nvGraphicFramePr>
        <p:xfrm>
          <a:off x="320712" y="715368"/>
          <a:ext cx="8506806" cy="548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35602"/>
                <a:gridCol w="2835602"/>
                <a:gridCol w="2835602"/>
              </a:tblGrid>
              <a:tr h="0">
                <a:tc>
                  <a:txBody>
                    <a:bodyPr/>
                    <a:lstStyle/>
                    <a:p>
                      <a:pPr algn="ctr"/>
                      <a:endParaRPr lang="en-US" sz="1200" b="0" dirty="0">
                        <a:solidFill>
                          <a:schemeClr val="bg2"/>
                        </a:solidFill>
                        <a:latin typeface="CiscoSans" charset="0"/>
                        <a:ea typeface="CiscoSans" charset="0"/>
                        <a:cs typeface="CiscoSans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6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 smtClean="0">
                        <a:solidFill>
                          <a:schemeClr val="bg2"/>
                        </a:solidFill>
                        <a:latin typeface="CiscoSans" charset="0"/>
                        <a:ea typeface="CiscoSans" charset="0"/>
                        <a:cs typeface="CiscoSans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6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bg2"/>
                          </a:solidFill>
                          <a:latin typeface="CiscoSans" charset="0"/>
                          <a:ea typeface="CiscoSans" charset="0"/>
                          <a:cs typeface="CiscoSans" charset="0"/>
                        </a:rPr>
                        <a:t>Applicatio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6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 smtClean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60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 smtClean="0"/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20712" y="199096"/>
            <a:ext cx="8345488" cy="41592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3200" spc="-67" dirty="0" smtClean="0"/>
              <a:t>Applications Based on Agency Goals</a:t>
            </a:r>
            <a:endParaRPr lang="en-US" sz="3200" spc="-67" dirty="0"/>
          </a:p>
        </p:txBody>
      </p:sp>
      <p:sp>
        <p:nvSpPr>
          <p:cNvPr id="59" name="Rounded Rectangle 58"/>
          <p:cNvSpPr/>
          <p:nvPr/>
        </p:nvSpPr>
        <p:spPr>
          <a:xfrm>
            <a:off x="6307490" y="1918296"/>
            <a:ext cx="2270588" cy="904126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 smtClean="0">
                <a:solidFill>
                  <a:schemeClr val="bg2"/>
                </a:solidFill>
                <a:latin typeface="CiscoSans" charset="0"/>
                <a:ea typeface="CiscoSans" charset="0"/>
                <a:cs typeface="CiscoSans" charset="0"/>
              </a:rPr>
              <a:t>Improve safety, mobility, and environmental performance and manage system</a:t>
            </a:r>
            <a:endParaRPr lang="en-US" sz="1400" dirty="0">
              <a:solidFill>
                <a:schemeClr val="bg2"/>
              </a:solidFill>
              <a:latin typeface="CiscoSans" charset="0"/>
              <a:ea typeface="CiscoSans" charset="0"/>
              <a:cs typeface="CiscoSans" charset="0"/>
            </a:endParaRPr>
          </a:p>
        </p:txBody>
      </p:sp>
      <p:sp>
        <p:nvSpPr>
          <p:cNvPr id="63" name="Text Placeholder 6"/>
          <p:cNvSpPr txBox="1">
            <a:spLocks/>
          </p:cNvSpPr>
          <p:nvPr/>
        </p:nvSpPr>
        <p:spPr>
          <a:xfrm>
            <a:off x="4792935" y="3135964"/>
            <a:ext cx="3872386" cy="981906"/>
          </a:xfrm>
          <a:prstGeom prst="rect">
            <a:avLst/>
          </a:prstGeom>
        </p:spPr>
        <p:txBody>
          <a:bodyPr/>
          <a:lstStyle>
            <a:lvl1pPr marL="169863" indent="-169863" algn="l" defTabSz="684213" rtl="0" eaLnBrk="1" fontAlgn="base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charset="0"/>
              <a:buChar char="•"/>
              <a:defRPr lang="en-US" sz="15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1pPr>
            <a:lvl2pPr marL="358775" indent="-215900" algn="l" defTabSz="684213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2pPr>
            <a:lvl3pPr marL="431800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3pPr>
            <a:lvl4pPr marL="503238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4pPr>
            <a:lvl5pPr marL="574675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en-US" sz="1050" dirty="0">
              <a:solidFill>
                <a:srgbClr val="004BA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6" name="Picture 5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7607" y="2983979"/>
            <a:ext cx="1285875" cy="1285875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757238" y="1257291"/>
            <a:ext cx="5143500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latin typeface="+mn-lt"/>
              </a:rPr>
              <a:t>Smart </a:t>
            </a:r>
            <a:r>
              <a:rPr lang="en-US" sz="2400" b="1" dirty="0" smtClean="0">
                <a:latin typeface="+mn-lt"/>
              </a:rPr>
              <a:t>Mobility</a:t>
            </a:r>
            <a:endParaRPr lang="en-US" dirty="0">
              <a:latin typeface="+mn-lt"/>
            </a:endParaRPr>
          </a:p>
          <a:p>
            <a:pPr marL="285750" indent="-285750">
              <a:buFont typeface="Arial" charset="0"/>
              <a:buChar char="•"/>
            </a:pPr>
            <a:r>
              <a:rPr lang="en-US" sz="2000" b="1" dirty="0" smtClean="0">
                <a:latin typeface="+mn-lt"/>
              </a:rPr>
              <a:t>Real-time operations </a:t>
            </a:r>
            <a:r>
              <a:rPr lang="en-US" sz="2000" dirty="0" smtClean="0">
                <a:latin typeface="+mn-lt"/>
              </a:rPr>
              <a:t>for: </a:t>
            </a:r>
            <a:r>
              <a:rPr lang="en-US" sz="2000" dirty="0" smtClean="0">
                <a:latin typeface="+mn-lt"/>
              </a:rPr>
              <a:t>variable speed, traffic re-routing, emergency response, collision avoidance, road-weather, and work zone </a:t>
            </a:r>
            <a:r>
              <a:rPr lang="en-US" sz="2000" dirty="0" smtClean="0">
                <a:latin typeface="+mn-lt"/>
              </a:rPr>
              <a:t>safety and awareness.</a:t>
            </a:r>
          </a:p>
          <a:p>
            <a:pPr marL="285750" indent="-285750">
              <a:buFont typeface="Arial" charset="0"/>
              <a:buChar char="•"/>
            </a:pPr>
            <a:endParaRPr lang="en-US" sz="2000" dirty="0" smtClean="0">
              <a:latin typeface="+mn-lt"/>
            </a:endParaRPr>
          </a:p>
          <a:p>
            <a:pPr marL="285750" indent="-285750">
              <a:buFont typeface="Arial" charset="0"/>
              <a:buChar char="•"/>
            </a:pPr>
            <a:r>
              <a:rPr lang="en-US" sz="2000" b="1" dirty="0" smtClean="0">
                <a:latin typeface="+mn-lt"/>
              </a:rPr>
              <a:t>Planning and asset management </a:t>
            </a:r>
            <a:r>
              <a:rPr lang="en-US" sz="2000" dirty="0" smtClean="0">
                <a:latin typeface="+mn-lt"/>
              </a:rPr>
              <a:t>applications including predictive analytics, traveler information, logistics and freight</a:t>
            </a:r>
          </a:p>
          <a:p>
            <a:pPr marL="285750" indent="-285750">
              <a:buFont typeface="Arial" charset="0"/>
              <a:buChar char="•"/>
            </a:pPr>
            <a:endParaRPr lang="en-US" i="1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30790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10"/>
  <p:tag name="MMPROD_UIDATA" val="&lt;database version=&quot;11.0&quot;&gt;&lt;object type=&quot;1&quot; unique_id=&quot;10001&quot;&gt;&lt;object type=&quot;2&quot; unique_id=&quot;10002&quot;&gt;&lt;/object&gt;&lt;object type=&quot;8&quot; unique_id=&quot;10268&quot;&gt;&lt;/object&gt;&lt;/object&gt;&lt;/database&gt;"/>
  <p:tag name="SECTOMILLISECCONVERT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ue theme 2015 16x9">
  <a:themeElements>
    <a:clrScheme name="Cisco Dark Template Colors_FINAL">
      <a:dk1>
        <a:srgbClr val="FFFFFF"/>
      </a:dk1>
      <a:lt1>
        <a:srgbClr val="005073"/>
      </a:lt1>
      <a:dk2>
        <a:srgbClr val="00BCEB"/>
      </a:dk2>
      <a:lt2>
        <a:srgbClr val="005073"/>
      </a:lt2>
      <a:accent1>
        <a:srgbClr val="00BCEB"/>
      </a:accent1>
      <a:accent2>
        <a:srgbClr val="6EBE4A"/>
      </a:accent2>
      <a:accent3>
        <a:srgbClr val="CDEBF9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 Corporate Template Prototype_Aug_2017" id="{4E692306-BB5E-4389-8512-B70B45577D04}" vid="{BDAD62F5-9CDD-42BF-A677-E02F4F07310C}"/>
    </a:ext>
  </a:extLst>
</a:theme>
</file>

<file path=ppt/theme/theme2.xml><?xml version="1.0" encoding="utf-8"?>
<a:theme xmlns:a="http://schemas.openxmlformats.org/drawingml/2006/main" name="Latest PPT Template - palette to match Digital Color_Updated">
  <a:themeElements>
    <a:clrScheme name="Blue Theme 2016 Updated">
      <a:dk1>
        <a:srgbClr val="39393B"/>
      </a:dk1>
      <a:lt1>
        <a:srgbClr val="FFFFFF"/>
      </a:lt1>
      <a:dk2>
        <a:srgbClr val="555558"/>
      </a:dk2>
      <a:lt2>
        <a:srgbClr val="049CD4"/>
      </a:lt2>
      <a:accent1>
        <a:srgbClr val="014093"/>
      </a:accent1>
      <a:accent2>
        <a:srgbClr val="0498D1"/>
      </a:accent2>
      <a:accent3>
        <a:srgbClr val="CACCD2"/>
      </a:accent3>
      <a:accent4>
        <a:srgbClr val="ABC333"/>
      </a:accent4>
      <a:accent5>
        <a:srgbClr val="64BAE2"/>
      </a:accent5>
      <a:accent6>
        <a:srgbClr val="0B6B75"/>
      </a:accent6>
      <a:hlink>
        <a:srgbClr val="049BD3"/>
      </a:hlink>
      <a:folHlink>
        <a:srgbClr val="01449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DC503DE1-91F3-4E06-9D47-79C2309E909B}" vid="{C266BCD2-BF24-49DE-B4C0-2E591CE22960}"/>
    </a:ext>
  </a:extLst>
</a:theme>
</file>

<file path=ppt/theme/theme3.xml><?xml version="1.0" encoding="utf-8"?>
<a:theme xmlns:a="http://schemas.openxmlformats.org/drawingml/2006/main" name="2_Blue theme 2015 16x9">
  <a:themeElements>
    <a:clrScheme name="Cisco White Template Colors_FINAL">
      <a:dk1>
        <a:srgbClr val="282828"/>
      </a:dk1>
      <a:lt1>
        <a:srgbClr val="005073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 Corporate Template Prototype_Aug_2017" id="{4E692306-BB5E-4389-8512-B70B45577D04}" vid="{BDAD62F5-9CDD-42BF-A677-E02F4F07310C}"/>
    </a:ext>
  </a:extLst>
</a:theme>
</file>

<file path=ppt/theme/theme4.xml><?xml version="1.0" encoding="utf-8"?>
<a:theme xmlns:a="http://schemas.openxmlformats.org/drawingml/2006/main" name="2017 deck theme">
  <a:themeElements>
    <a:clrScheme name="Corprate Color Palette">
      <a:dk1>
        <a:srgbClr val="282828"/>
      </a:dk1>
      <a:lt1>
        <a:srgbClr val="FFFFFF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ExtraLight">
      <a:majorFont>
        <a:latin typeface="CiscoSans ExtraLight"/>
        <a:ea typeface=""/>
        <a:cs typeface=""/>
      </a:majorFont>
      <a:minorFont>
        <a:latin typeface="CiscoSans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2017 deck theme" id="{DD7CC628-4E16-47C1-A7C4-99667BB96383}" vid="{E24A9961-280E-48FE-9B36-668CD3520A85}"/>
    </a:ext>
  </a:extLst>
</a:theme>
</file>

<file path=ppt/theme/theme5.xml><?xml version="1.0" encoding="utf-8"?>
<a:theme xmlns:a="http://schemas.openxmlformats.org/drawingml/2006/main" name="8_Blue theme 2015 16x9">
  <a:themeElements>
    <a:clrScheme name="Cisco White Template Colors_FINAL">
      <a:dk1>
        <a:srgbClr val="282828"/>
      </a:dk1>
      <a:lt1>
        <a:srgbClr val="005073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 Corporate Template Prototype_Aug_2017" id="{4E692306-BB5E-4389-8512-B70B45577D04}" vid="{BDAD62F5-9CDD-42BF-A677-E02F4F07310C}"/>
    </a:ext>
  </a:extLst>
</a:theme>
</file>

<file path=ppt/theme/theme6.xml><?xml version="1.0" encoding="utf-8"?>
<a:theme xmlns:a="http://schemas.openxmlformats.org/drawingml/2006/main" name="1_Blue theme 2015 16x9">
  <a:themeElements>
    <a:clrScheme name="Cisco White Template Colors_FINAL">
      <a:dk1>
        <a:srgbClr val="282828"/>
      </a:dk1>
      <a:lt1>
        <a:srgbClr val="005073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 Corporate Template Prototype_Aug_2017" id="{4E692306-BB5E-4389-8512-B70B45577D04}" vid="{BDAD62F5-9CDD-42BF-A677-E02F4F07310C}"/>
    </a:ext>
  </a:extLst>
</a:theme>
</file>

<file path=ppt/theme/theme7.xml><?xml version="1.0" encoding="utf-8"?>
<a:theme xmlns:a="http://schemas.openxmlformats.org/drawingml/2006/main" name="Security Template">
  <a:themeElements>
    <a:clrScheme name="Cisco Blue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1655</TotalTime>
  <Words>1397</Words>
  <Application>Microsoft Macintosh PowerPoint</Application>
  <PresentationFormat>On-screen Show (16:9)</PresentationFormat>
  <Paragraphs>380</Paragraphs>
  <Slides>26</Slides>
  <Notes>25</Notes>
  <HiddenSlides>0</HiddenSlides>
  <MMClips>0</MMClips>
  <ScaleCrop>false</ScaleCrop>
  <HeadingPairs>
    <vt:vector size="8" baseType="variant">
      <vt:variant>
        <vt:lpstr>Fonts Used</vt:lpstr>
      </vt:variant>
      <vt:variant>
        <vt:i4>18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52" baseType="lpstr">
      <vt:lpstr>Arial Unicode MS</vt:lpstr>
      <vt:lpstr>Broadway</vt:lpstr>
      <vt:lpstr>Calibri</vt:lpstr>
      <vt:lpstr>Ciscolight</vt:lpstr>
      <vt:lpstr>CiscoSans</vt:lpstr>
      <vt:lpstr>CiscoSans ExtraLight</vt:lpstr>
      <vt:lpstr>CiscoSans Thin</vt:lpstr>
      <vt:lpstr>CiscoSansTT</vt:lpstr>
      <vt:lpstr>CiscoSansTT ExtraLight</vt:lpstr>
      <vt:lpstr>CiscoSansTT Light</vt:lpstr>
      <vt:lpstr>CiscoSansTT Thin</vt:lpstr>
      <vt:lpstr>Helvetica Neue</vt:lpstr>
      <vt:lpstr>Helvetica Neue Medium</vt:lpstr>
      <vt:lpstr>ＭＳ Ｐゴシック</vt:lpstr>
      <vt:lpstr>Times New Roman</vt:lpstr>
      <vt:lpstr>Tipo de letra del sistema Fina</vt:lpstr>
      <vt:lpstr>Wingdings</vt:lpstr>
      <vt:lpstr>Arial</vt:lpstr>
      <vt:lpstr>Blue theme 2015 16x9</vt:lpstr>
      <vt:lpstr>Latest PPT Template - palette to match Digital Color_Updated</vt:lpstr>
      <vt:lpstr>2_Blue theme 2015 16x9</vt:lpstr>
      <vt:lpstr>2017 deck theme</vt:lpstr>
      <vt:lpstr>8_Blue theme 2015 16x9</vt:lpstr>
      <vt:lpstr>1_Blue theme 2015 16x9</vt:lpstr>
      <vt:lpstr>Security Template</vt:lpstr>
      <vt:lpstr>think-cell Slide</vt:lpstr>
      <vt:lpstr>Michigan DOT</vt:lpstr>
      <vt:lpstr>Real-time data decision making</vt:lpstr>
      <vt:lpstr>Defining Digital Roadway Architecture </vt:lpstr>
      <vt:lpstr>PowerPoint Presentation</vt:lpstr>
      <vt:lpstr>What makes mobility “smart” ?</vt:lpstr>
      <vt:lpstr>Steps to Success</vt:lpstr>
      <vt:lpstr>Connected Roadways Foundation</vt:lpstr>
      <vt:lpstr>Cisco Kinetic:  - Smart+Connected™ Digital Platform  - Edge and Fog Fabric</vt:lpstr>
      <vt:lpstr>Applications Based on Agency Goals</vt:lpstr>
      <vt:lpstr>Initial Approach</vt:lpstr>
      <vt:lpstr>Focus Areas Roadway Monitoring, Maintenance &amp; Safety Automation</vt:lpstr>
      <vt:lpstr>Connected Roadway Sites</vt:lpstr>
      <vt:lpstr>1. Interchange I-96 -&gt; I-696</vt:lpstr>
      <vt:lpstr>2. I-94</vt:lpstr>
      <vt:lpstr>3. Stationary Work Zone </vt:lpstr>
      <vt:lpstr>4. Mobile Work Zone</vt:lpstr>
      <vt:lpstr>Location Components</vt:lpstr>
      <vt:lpstr>Needs from MDOT</vt:lpstr>
      <vt:lpstr>PowerPoint Presentation</vt:lpstr>
      <vt:lpstr>PowerPoint Presentation</vt:lpstr>
      <vt:lpstr>PowerPoint Presentation</vt:lpstr>
      <vt:lpstr>Traction Control Intelligence</vt:lpstr>
      <vt:lpstr>PowerPoint Presentation</vt:lpstr>
      <vt:lpstr>PowerPoint Presentation</vt:lpstr>
      <vt:lpstr>PowerPoint Presentation</vt:lpstr>
      <vt:lpstr>Connected Roadway Architecture</vt:lpstr>
    </vt:vector>
  </TitlesOfParts>
  <Company>NDS Limited</Company>
  <LinksUpToDate>false</LinksUpToDate>
  <SharedDoc>false</SharedDoc>
  <HyperlinksChanged>false</HyperlinksChanged>
  <AppVersion>15.0032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ius@cisco.com</dc:creator>
  <cp:lastModifiedBy>Michael Doenges (Administrator)</cp:lastModifiedBy>
  <cp:revision>920</cp:revision>
  <cp:lastPrinted>2016-04-29T20:31:14Z</cp:lastPrinted>
  <dcterms:created xsi:type="dcterms:W3CDTF">2014-07-09T19:55:36Z</dcterms:created>
  <dcterms:modified xsi:type="dcterms:W3CDTF">2017-10-09T12:46:18Z</dcterms:modified>
</cp:coreProperties>
</file>